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376.xml" ContentType="application/vnd.openxmlformats-officedocument.presentationml.tags+xml"/>
  <Override PartName="/ppt/notesSlides/notesSlide1.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notesSlides/notesSlide2.xml" ContentType="application/vnd.openxmlformats-officedocument.presentationml.notesSlide+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notesSlides/notesSlide3.xml" ContentType="application/vnd.openxmlformats-officedocument.presentationml.notesSlide+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95" r:id="rId5"/>
    <p:sldMasterId id="2147484015" r:id="rId6"/>
    <p:sldMasterId id="2147484041" r:id="rId7"/>
    <p:sldMasterId id="2147484047" r:id="rId8"/>
  </p:sldMasterIdLst>
  <p:notesMasterIdLst>
    <p:notesMasterId r:id="rId55"/>
  </p:notesMasterIdLst>
  <p:handoutMasterIdLst>
    <p:handoutMasterId r:id="rId56"/>
  </p:handoutMasterIdLst>
  <p:sldIdLst>
    <p:sldId id="2147481630" r:id="rId9"/>
    <p:sldId id="2147482591" r:id="rId10"/>
    <p:sldId id="2147482635" r:id="rId11"/>
    <p:sldId id="2147482594" r:id="rId12"/>
    <p:sldId id="2147482595" r:id="rId13"/>
    <p:sldId id="2147482596" r:id="rId14"/>
    <p:sldId id="2147482597" r:id="rId15"/>
    <p:sldId id="2147482598" r:id="rId16"/>
    <p:sldId id="2147482599" r:id="rId17"/>
    <p:sldId id="2147482600" r:id="rId18"/>
    <p:sldId id="2147482601" r:id="rId19"/>
    <p:sldId id="2147482602" r:id="rId20"/>
    <p:sldId id="2147482603" r:id="rId21"/>
    <p:sldId id="2147482604" r:id="rId22"/>
    <p:sldId id="2147482605" r:id="rId23"/>
    <p:sldId id="2147482606" r:id="rId24"/>
    <p:sldId id="2147482607" r:id="rId25"/>
    <p:sldId id="2147482608" r:id="rId26"/>
    <p:sldId id="2147482609" r:id="rId27"/>
    <p:sldId id="2147482610" r:id="rId28"/>
    <p:sldId id="2147482611" r:id="rId29"/>
    <p:sldId id="2147482612" r:id="rId30"/>
    <p:sldId id="2147482613" r:id="rId31"/>
    <p:sldId id="2147482614" r:id="rId32"/>
    <p:sldId id="2147482615" r:id="rId33"/>
    <p:sldId id="2147482616" r:id="rId34"/>
    <p:sldId id="2147482617" r:id="rId35"/>
    <p:sldId id="2147482618" r:id="rId36"/>
    <p:sldId id="2147482619" r:id="rId37"/>
    <p:sldId id="2147482620" r:id="rId38"/>
    <p:sldId id="2147482621" r:id="rId39"/>
    <p:sldId id="2147482622" r:id="rId40"/>
    <p:sldId id="2147482623" r:id="rId41"/>
    <p:sldId id="2147482625" r:id="rId42"/>
    <p:sldId id="2147482626" r:id="rId43"/>
    <p:sldId id="2147482634" r:id="rId44"/>
    <p:sldId id="2147482627" r:id="rId45"/>
    <p:sldId id="2147482628" r:id="rId46"/>
    <p:sldId id="2147482629" r:id="rId47"/>
    <p:sldId id="2147482630" r:id="rId48"/>
    <p:sldId id="2147482631" r:id="rId49"/>
    <p:sldId id="2147482632" r:id="rId50"/>
    <p:sldId id="2147482633" r:id="rId51"/>
    <p:sldId id="2147482032" r:id="rId52"/>
    <p:sldId id="2147482636" r:id="rId53"/>
    <p:sldId id="3732" r:id="rId54"/>
  </p:sldIdLst>
  <p:sldSz cx="12192000" cy="6858000"/>
  <p:notesSz cx="6858000" cy="9144000"/>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IPR 2025 Transition Forecast Policy Evidence Annex" id="{D241B557-A030-473D-AE61-19E24B56E6D9}">
          <p14:sldIdLst>
            <p14:sldId id="2147481630"/>
          </p14:sldIdLst>
        </p14:section>
        <p14:section name="Net Zero" id="{2C3AA3FE-7F36-4426-A387-A5596B81482B}">
          <p14:sldIdLst>
            <p14:sldId id="2147482591"/>
            <p14:sldId id="2147482635"/>
            <p14:sldId id="2147482594"/>
          </p14:sldIdLst>
        </p14:section>
        <p14:section name="Carbon Price" id="{C4314F57-58D5-45E4-ABCD-05D229E69551}">
          <p14:sldIdLst>
            <p14:sldId id="2147482595"/>
            <p14:sldId id="2147482596"/>
            <p14:sldId id="2147482597"/>
          </p14:sldIdLst>
        </p14:section>
        <p14:section name="All Coal Phase Out" id="{9B99F7D8-5B2D-4C03-A853-25B0A29B81FA}">
          <p14:sldIdLst>
            <p14:sldId id="2147482598"/>
            <p14:sldId id="2147482599"/>
            <p14:sldId id="2147482600"/>
          </p14:sldIdLst>
        </p14:section>
        <p14:section name="Clean Power" id="{7A9E16A7-B61C-465D-8C00-2C88B19E860B}">
          <p14:sldIdLst>
            <p14:sldId id="2147482601"/>
            <p14:sldId id="2147482602"/>
            <p14:sldId id="2147482603"/>
          </p14:sldIdLst>
        </p14:section>
        <p14:section name="Light-Duty Vehicles" id="{F6C6470F-5B66-4F78-8869-16DD2D4A4505}">
          <p14:sldIdLst>
            <p14:sldId id="2147482604"/>
            <p14:sldId id="2147482605"/>
            <p14:sldId id="2147482606"/>
          </p14:sldIdLst>
        </p14:section>
        <p14:section name="Heavy-Duty Vehicles" id="{29EB8D8C-9CD2-4BE3-8B14-4F5007051A6B}">
          <p14:sldIdLst>
            <p14:sldId id="2147482607"/>
            <p14:sldId id="2147482608"/>
            <p14:sldId id="2147482609"/>
          </p14:sldIdLst>
        </p14:section>
        <p14:section name="Low-Carbon Heating" id="{5F2AEB43-5378-48F8-8205-1123B367D185}">
          <p14:sldIdLst>
            <p14:sldId id="2147482610"/>
            <p14:sldId id="2147482611"/>
            <p14:sldId id="2147482612"/>
          </p14:sldIdLst>
        </p14:section>
        <p14:section name="Industry Decarbonization" id="{E471DB9D-DD6A-4B68-B6E4-076623532288}">
          <p14:sldIdLst>
            <p14:sldId id="2147482613"/>
            <p14:sldId id="2147482614"/>
            <p14:sldId id="2147482615"/>
            <p14:sldId id="2147482616"/>
          </p14:sldIdLst>
        </p14:section>
        <p14:section name="Low-Carbon Agriculture" id="{69FB1A7B-23E2-4E46-A70F-7AB802598A6A}">
          <p14:sldIdLst>
            <p14:sldId id="2147482617"/>
            <p14:sldId id="2147482618"/>
            <p14:sldId id="2147482619"/>
            <p14:sldId id="2147482620"/>
          </p14:sldIdLst>
        </p14:section>
        <p14:section name="Net Deforestation" id="{149FB563-1E64-4571-91A0-F6D2BFCF4D0E}">
          <p14:sldIdLst>
            <p14:sldId id="2147482621"/>
            <p14:sldId id="2147482622"/>
            <p14:sldId id="2147482623"/>
          </p14:sldIdLst>
        </p14:section>
        <p14:section name="Land Protection" id="{705ABCC8-E8BB-4E31-8C34-EB12F2E2716C}">
          <p14:sldIdLst>
            <p14:sldId id="2147482625"/>
            <p14:sldId id="2147482626"/>
            <p14:sldId id="2147482634"/>
            <p14:sldId id="2147482627"/>
            <p14:sldId id="2147482628"/>
          </p14:sldIdLst>
        </p14:section>
        <p14:section name="Nature Incentives" id="{F1C8F043-97E4-456B-9289-99610753367D}">
          <p14:sldIdLst>
            <p14:sldId id="2147482629"/>
            <p14:sldId id="2147482630"/>
            <p14:sldId id="2147482631"/>
            <p14:sldId id="2147482632"/>
            <p14:sldId id="2147482633"/>
            <p14:sldId id="2147482032"/>
            <p14:sldId id="2147482636"/>
            <p14:sldId id="3732"/>
          </p14:sldIdLst>
        </p14:section>
      </p14:sectionLst>
    </p:ext>
    <p:ext uri="{EFAFB233-063F-42B5-8137-9DF3F51BA10A}">
      <p15:sldGuideLst xmlns:p15="http://schemas.microsoft.com/office/powerpoint/2012/main">
        <p15:guide id="2" pos="3160" userDrawn="1">
          <p15:clr>
            <a:srgbClr val="A4A3A4"/>
          </p15:clr>
        </p15:guide>
        <p15:guide id="3" orient="horz" pos="2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35810F-1302-8DD0-7D33-5CE691AE848B}" name="Roettmer, Nicole" initials="RN" userId="S::nroettmer@deloitte.de::824ef174-b489-4331-8d73-9598cbb250fc" providerId="AD"/>
  <p188:author id="{9E57E924-34F4-DE65-58C3-9AC88D1B3007}" name="Hermeyer, Arthur" initials="HA" userId="S::ahermeyer@deloitte.de::7ce3b16b-023f-427a-9dde-47dff7a10e94" providerId="AD"/>
  <p188:author id="{05A0E026-F04E-4241-45AB-974081199957}" name="andrew.whiley" initials="" userId="S::andrew.whiley@inevitablepolicyresponse.org::48d9d4d9-5253-45a0-b941-e57550c8e8d0" providerId="AD"/>
  <p188:author id="{DB07442A-60B8-BA3C-8A21-13AD0BD3D1F3}" name="Wojcik, Anna" initials="AW" userId="S::anwojcik@deloittece.com::852b37bb-d0c8-4720-a30b-1f648bb9dd4f" providerId="AD"/>
  <p188:author id="{0472F748-B87D-7DEB-430C-3B88C686D08A}" name="Mark Fulton" initials="MF" userId="S::mfulton@carbontracker.org::c35f0552-f145-4b91-a41a-16aaeabccf74" providerId="AD"/>
  <p188:author id="{85E16167-7DC2-EDAA-0FE1-9B71F95E543D}" name="Hallmeyer, Karoline" initials="HK" userId="S::khallmeyer@deloitte.de::d9586d66-1474-45df-9c33-e59fdb316f78" providerId="AD"/>
  <p188:author id="{BD56B369-1C4B-3F41-7B7C-3B6546565739}" name="Denfeld, Paul Justus" initials="DPJ" userId="S::pdenfeld@deloitte.de::911706a3-3697-4c58-97cf-bf4a5930b86a" providerId="AD"/>
  <p188:author id="{EA22CD77-86B9-D8B4-87AD-F97F7A704F05}" name="Knoedler-Thoma, Fabian" initials="FK" userId="S::fknoedler-thoma@deloitte.de::2aaf4037-51c2-4a83-8fa7-23814973fab1" providerId="AD"/>
  <p188:author id="{E6914D80-BA76-97B6-DEA9-D71EF6EB5D89}" name="Hamborg, Martin Benjamin" initials="HMB" userId="S::mhamborg@deloitte.de::9b0713e7-f364-4cae-97b7-b32cae1245d0" providerId="AD"/>
  <p188:author id="{2EB7339E-21C2-1D25-5A41-710281027E9C}" name="Eckert, Ben" initials="BE" userId="S::beckert@deloitte.de::1d6f2681-b298-4904-ad8b-117d9f376ef5" providerId="AD"/>
  <p188:author id="{AAC2BABB-F99D-8534-D26A-528CF3C7FF01}" name="Kavita Srinivasan" initials="KS" userId="17974a2f7ac7af2e" providerId="Windows Live"/>
  <p188:author id="{06B04FC6-FA57-80B2-DD2D-928DAB1CE558}" name="Asam, Jolina Katharina" initials="AJK" userId="S::jasam@deloitte.de::6f382d6e-e27a-4b44-aef1-f43b9e70ebd5" providerId="AD"/>
  <p188:author id="{B6995ED5-B8DC-7BA9-C0E1-D85EF8E9FDDE}" name="Mark Fulton" initials="MF" userId="03159b177b6916c6" providerId="Windows Live"/>
  <p188:author id="{CE56CCDA-A992-6B55-48F3-674099087CFA}" name="Kavita Srinivasan" initials="KS" userId="b474052b0178dee8" providerId="Windows Live"/>
  <p188:author id="{80E4E0E4-5CB1-55F9-910B-9B3CBE7AD435}" name="Jakob Thomae" initials="JT" userId="d7a1db70879a9a0a"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8FB0"/>
    <a:srgbClr val="FFFFFF"/>
    <a:srgbClr val="FFEEB7"/>
    <a:srgbClr val="FFE48F"/>
    <a:srgbClr val="297B75"/>
    <a:srgbClr val="EBF6F5"/>
    <a:srgbClr val="44546A"/>
    <a:srgbClr val="CEEEEC"/>
    <a:srgbClr val="72BA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8F6498-51F3-4BC4-99F7-37686ED3AAC9}" v="3831" dt="2025-03-05T19:45:24.998"/>
    <p1510:client id="{98B1D322-169F-4338-94A6-9C75A03E3594}" v="4164" dt="2025-03-05T16:29:55.3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65" autoAdjust="0"/>
    <p:restoredTop sz="92900" autoAdjust="0"/>
  </p:normalViewPr>
  <p:slideViewPr>
    <p:cSldViewPr snapToGrid="0">
      <p:cViewPr varScale="1">
        <p:scale>
          <a:sx n="104" d="100"/>
          <a:sy n="104" d="100"/>
        </p:scale>
        <p:origin x="828" y="96"/>
      </p:cViewPr>
      <p:guideLst>
        <p:guide pos="3160"/>
        <p:guide orient="horz" pos="23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notesMaster" Target="notesMasters/notesMaster1.xml"/><Relationship Id="rId63"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handoutMaster" Target="handoutMasters/handoutMaster1.xml"/><Relationship Id="rId64"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am, Jolina Katharina" userId="6f382d6e-e27a-4b44-aef1-f43b9e70ebd5" providerId="ADAL" clId="{0C8F6498-51F3-4BC4-99F7-37686ED3AAC9}"/>
    <pc:docChg chg="undo custSel modSld">
      <pc:chgData name="Asam, Jolina Katharina" userId="6f382d6e-e27a-4b44-aef1-f43b9e70ebd5" providerId="ADAL" clId="{0C8F6498-51F3-4BC4-99F7-37686ED3AAC9}" dt="2025-03-05T19:47:14.353" v="5892" actId="20577"/>
      <pc:docMkLst>
        <pc:docMk/>
      </pc:docMkLst>
      <pc:sldChg chg="addSp delSp modSp mod">
        <pc:chgData name="Asam, Jolina Katharina" userId="6f382d6e-e27a-4b44-aef1-f43b9e70ebd5" providerId="ADAL" clId="{0C8F6498-51F3-4BC4-99F7-37686ED3AAC9}" dt="2025-03-05T19:05:38.624" v="5390" actId="478"/>
        <pc:sldMkLst>
          <pc:docMk/>
          <pc:sldMk cId="1222578026" sldId="2147481630"/>
        </pc:sldMkLst>
        <pc:spChg chg="mod">
          <ac:chgData name="Asam, Jolina Katharina" userId="6f382d6e-e27a-4b44-aef1-f43b9e70ebd5" providerId="ADAL" clId="{0C8F6498-51F3-4BC4-99F7-37686ED3AAC9}" dt="2025-03-05T10:59:29.039" v="9" actId="207"/>
          <ac:spMkLst>
            <pc:docMk/>
            <pc:sldMk cId="1222578026" sldId="2147481630"/>
            <ac:spMk id="2" creationId="{32DE0B5C-34CD-48AB-4779-5BE829188EBA}"/>
          </ac:spMkLst>
        </pc:spChg>
        <pc:spChg chg="add del mod">
          <ac:chgData name="Asam, Jolina Katharina" userId="6f382d6e-e27a-4b44-aef1-f43b9e70ebd5" providerId="ADAL" clId="{0C8F6498-51F3-4BC4-99F7-37686ED3AAC9}" dt="2025-03-05T16:49:15.500" v="4439" actId="478"/>
          <ac:spMkLst>
            <pc:docMk/>
            <pc:sldMk cId="1222578026" sldId="2147481630"/>
            <ac:spMk id="3" creationId="{1A636C26-B29C-E004-F0EB-D657DDAB9D33}"/>
          </ac:spMkLst>
        </pc:spChg>
        <pc:spChg chg="add del mod">
          <ac:chgData name="Asam, Jolina Katharina" userId="6f382d6e-e27a-4b44-aef1-f43b9e70ebd5" providerId="ADAL" clId="{0C8F6498-51F3-4BC4-99F7-37686ED3AAC9}" dt="2025-03-05T19:05:38.624" v="5390" actId="478"/>
          <ac:spMkLst>
            <pc:docMk/>
            <pc:sldMk cId="1222578026" sldId="2147481630"/>
            <ac:spMk id="7" creationId="{5911F922-F88C-9469-C0DF-0F386251D765}"/>
          </ac:spMkLst>
        </pc:spChg>
      </pc:sldChg>
      <pc:sldChg chg="modSp mod">
        <pc:chgData name="Asam, Jolina Katharina" userId="6f382d6e-e27a-4b44-aef1-f43b9e70ebd5" providerId="ADAL" clId="{0C8F6498-51F3-4BC4-99F7-37686ED3AAC9}" dt="2025-03-05T18:22:23.522" v="4570" actId="113"/>
        <pc:sldMkLst>
          <pc:docMk/>
          <pc:sldMk cId="3085089317" sldId="2147482591"/>
        </pc:sldMkLst>
        <pc:spChg chg="mod">
          <ac:chgData name="Asam, Jolina Katharina" userId="6f382d6e-e27a-4b44-aef1-f43b9e70ebd5" providerId="ADAL" clId="{0C8F6498-51F3-4BC4-99F7-37686ED3AAC9}" dt="2025-03-05T12:48:18.528" v="926" actId="20577"/>
          <ac:spMkLst>
            <pc:docMk/>
            <pc:sldMk cId="3085089317" sldId="2147482591"/>
            <ac:spMk id="16" creationId="{71A9303A-95BB-D9FE-B177-D109E8E0F339}"/>
          </ac:spMkLst>
        </pc:spChg>
        <pc:spChg chg="mod">
          <ac:chgData name="Asam, Jolina Katharina" userId="6f382d6e-e27a-4b44-aef1-f43b9e70ebd5" providerId="ADAL" clId="{0C8F6498-51F3-4BC4-99F7-37686ED3AAC9}" dt="2025-03-05T18:20:52.716" v="4533" actId="113"/>
          <ac:spMkLst>
            <pc:docMk/>
            <pc:sldMk cId="3085089317" sldId="2147482591"/>
            <ac:spMk id="19" creationId="{D8CE7914-CBBC-5E99-3C4E-C5765617CC71}"/>
          </ac:spMkLst>
        </pc:spChg>
        <pc:spChg chg="mod">
          <ac:chgData name="Asam, Jolina Katharina" userId="6f382d6e-e27a-4b44-aef1-f43b9e70ebd5" providerId="ADAL" clId="{0C8F6498-51F3-4BC4-99F7-37686ED3AAC9}" dt="2025-03-05T15:47:59.042" v="3219" actId="1035"/>
          <ac:spMkLst>
            <pc:docMk/>
            <pc:sldMk cId="3085089317" sldId="2147482591"/>
            <ac:spMk id="20" creationId="{B0D5819D-69F1-A952-719B-C21EBA2347B1}"/>
          </ac:spMkLst>
        </pc:spChg>
        <pc:spChg chg="mod">
          <ac:chgData name="Asam, Jolina Katharina" userId="6f382d6e-e27a-4b44-aef1-f43b9e70ebd5" providerId="ADAL" clId="{0C8F6498-51F3-4BC4-99F7-37686ED3AAC9}" dt="2025-03-05T18:21:00.729" v="4534" actId="113"/>
          <ac:spMkLst>
            <pc:docMk/>
            <pc:sldMk cId="3085089317" sldId="2147482591"/>
            <ac:spMk id="22" creationId="{24A8C74C-491F-3135-9168-31168889F6C2}"/>
          </ac:spMkLst>
        </pc:spChg>
        <pc:spChg chg="mod">
          <ac:chgData name="Asam, Jolina Katharina" userId="6f382d6e-e27a-4b44-aef1-f43b9e70ebd5" providerId="ADAL" clId="{0C8F6498-51F3-4BC4-99F7-37686ED3AAC9}" dt="2025-03-05T15:47:59.042" v="3219" actId="1035"/>
          <ac:spMkLst>
            <pc:docMk/>
            <pc:sldMk cId="3085089317" sldId="2147482591"/>
            <ac:spMk id="23" creationId="{3195ABAB-67CE-F714-1604-528A4C8CEAA4}"/>
          </ac:spMkLst>
        </pc:spChg>
        <pc:spChg chg="mod">
          <ac:chgData name="Asam, Jolina Katharina" userId="6f382d6e-e27a-4b44-aef1-f43b9e70ebd5" providerId="ADAL" clId="{0C8F6498-51F3-4BC4-99F7-37686ED3AAC9}" dt="2025-03-05T18:21:12.803" v="4536" actId="113"/>
          <ac:spMkLst>
            <pc:docMk/>
            <pc:sldMk cId="3085089317" sldId="2147482591"/>
            <ac:spMk id="25" creationId="{3AF7F11E-CC97-D96C-595A-28C6B90225CE}"/>
          </ac:spMkLst>
        </pc:spChg>
        <pc:spChg chg="mod">
          <ac:chgData name="Asam, Jolina Katharina" userId="6f382d6e-e27a-4b44-aef1-f43b9e70ebd5" providerId="ADAL" clId="{0C8F6498-51F3-4BC4-99F7-37686ED3AAC9}" dt="2025-03-05T15:48:21.040" v="3227" actId="1035"/>
          <ac:spMkLst>
            <pc:docMk/>
            <pc:sldMk cId="3085089317" sldId="2147482591"/>
            <ac:spMk id="26" creationId="{6A581ED3-601C-A044-A72C-7EED9696B2DB}"/>
          </ac:spMkLst>
        </pc:spChg>
        <pc:spChg chg="mod">
          <ac:chgData name="Asam, Jolina Katharina" userId="6f382d6e-e27a-4b44-aef1-f43b9e70ebd5" providerId="ADAL" clId="{0C8F6498-51F3-4BC4-99F7-37686ED3AAC9}" dt="2025-03-05T18:21:18.962" v="4538" actId="113"/>
          <ac:spMkLst>
            <pc:docMk/>
            <pc:sldMk cId="3085089317" sldId="2147482591"/>
            <ac:spMk id="28" creationId="{AADF7B53-9E4C-8056-7221-86277A45CD44}"/>
          </ac:spMkLst>
        </pc:spChg>
        <pc:spChg chg="mod">
          <ac:chgData name="Asam, Jolina Katharina" userId="6f382d6e-e27a-4b44-aef1-f43b9e70ebd5" providerId="ADAL" clId="{0C8F6498-51F3-4BC4-99F7-37686ED3AAC9}" dt="2025-03-05T15:48:21.040" v="3227" actId="1035"/>
          <ac:spMkLst>
            <pc:docMk/>
            <pc:sldMk cId="3085089317" sldId="2147482591"/>
            <ac:spMk id="29" creationId="{FFCD6AA0-DC23-0E27-AE73-415D18660094}"/>
          </ac:spMkLst>
        </pc:spChg>
        <pc:spChg chg="mod">
          <ac:chgData name="Asam, Jolina Katharina" userId="6f382d6e-e27a-4b44-aef1-f43b9e70ebd5" providerId="ADAL" clId="{0C8F6498-51F3-4BC4-99F7-37686ED3AAC9}" dt="2025-03-05T18:21:26.890" v="4540" actId="113"/>
          <ac:spMkLst>
            <pc:docMk/>
            <pc:sldMk cId="3085089317" sldId="2147482591"/>
            <ac:spMk id="31" creationId="{223E6373-1FD2-8938-AFF2-CBED861BB861}"/>
          </ac:spMkLst>
        </pc:spChg>
        <pc:spChg chg="mod">
          <ac:chgData name="Asam, Jolina Katharina" userId="6f382d6e-e27a-4b44-aef1-f43b9e70ebd5" providerId="ADAL" clId="{0C8F6498-51F3-4BC4-99F7-37686ED3AAC9}" dt="2025-03-05T15:48:21.040" v="3227" actId="1035"/>
          <ac:spMkLst>
            <pc:docMk/>
            <pc:sldMk cId="3085089317" sldId="2147482591"/>
            <ac:spMk id="32" creationId="{9828C3F1-4E39-BBB9-603A-D4A23446A554}"/>
          </ac:spMkLst>
        </pc:spChg>
        <pc:spChg chg="mod">
          <ac:chgData name="Asam, Jolina Katharina" userId="6f382d6e-e27a-4b44-aef1-f43b9e70ebd5" providerId="ADAL" clId="{0C8F6498-51F3-4BC4-99F7-37686ED3AAC9}" dt="2025-03-05T18:22:14.605" v="4568" actId="113"/>
          <ac:spMkLst>
            <pc:docMk/>
            <pc:sldMk cId="3085089317" sldId="2147482591"/>
            <ac:spMk id="34" creationId="{D4588552-0F6F-D87D-A7FD-8FDCAEBA242F}"/>
          </ac:spMkLst>
        </pc:spChg>
        <pc:spChg chg="mod">
          <ac:chgData name="Asam, Jolina Katharina" userId="6f382d6e-e27a-4b44-aef1-f43b9e70ebd5" providerId="ADAL" clId="{0C8F6498-51F3-4BC4-99F7-37686ED3AAC9}" dt="2025-03-05T15:48:21.040" v="3227" actId="1035"/>
          <ac:spMkLst>
            <pc:docMk/>
            <pc:sldMk cId="3085089317" sldId="2147482591"/>
            <ac:spMk id="35" creationId="{2E057132-9E88-C186-8B26-2DDE5A5CE540}"/>
          </ac:spMkLst>
        </pc:spChg>
        <pc:spChg chg="mod">
          <ac:chgData name="Asam, Jolina Katharina" userId="6f382d6e-e27a-4b44-aef1-f43b9e70ebd5" providerId="ADAL" clId="{0C8F6498-51F3-4BC4-99F7-37686ED3AAC9}" dt="2025-03-05T18:22:23.522" v="4570" actId="113"/>
          <ac:spMkLst>
            <pc:docMk/>
            <pc:sldMk cId="3085089317" sldId="2147482591"/>
            <ac:spMk id="37" creationId="{D3581E4D-BB4A-7910-DCB5-51234CCD2082}"/>
          </ac:spMkLst>
        </pc:spChg>
        <pc:picChg chg="mod">
          <ac:chgData name="Asam, Jolina Katharina" userId="6f382d6e-e27a-4b44-aef1-f43b9e70ebd5" providerId="ADAL" clId="{0C8F6498-51F3-4BC4-99F7-37686ED3AAC9}" dt="2025-03-05T15:47:59.042" v="3219" actId="1035"/>
          <ac:picMkLst>
            <pc:docMk/>
            <pc:sldMk cId="3085089317" sldId="2147482591"/>
            <ac:picMk id="21" creationId="{6F0200FA-C9AD-4128-BA5D-C95F26946D93}"/>
          </ac:picMkLst>
        </pc:picChg>
        <pc:picChg chg="mod">
          <ac:chgData name="Asam, Jolina Katharina" userId="6f382d6e-e27a-4b44-aef1-f43b9e70ebd5" providerId="ADAL" clId="{0C8F6498-51F3-4BC4-99F7-37686ED3AAC9}" dt="2025-03-05T15:47:59.042" v="3219" actId="1035"/>
          <ac:picMkLst>
            <pc:docMk/>
            <pc:sldMk cId="3085089317" sldId="2147482591"/>
            <ac:picMk id="24" creationId="{97E332C5-AADC-31ED-F3FB-3796BAF272B1}"/>
          </ac:picMkLst>
        </pc:picChg>
        <pc:picChg chg="mod">
          <ac:chgData name="Asam, Jolina Katharina" userId="6f382d6e-e27a-4b44-aef1-f43b9e70ebd5" providerId="ADAL" clId="{0C8F6498-51F3-4BC4-99F7-37686ED3AAC9}" dt="2025-03-05T15:48:21.040" v="3227" actId="1035"/>
          <ac:picMkLst>
            <pc:docMk/>
            <pc:sldMk cId="3085089317" sldId="2147482591"/>
            <ac:picMk id="27" creationId="{7D780F7A-E41F-C1A1-A548-75ECBE33A29F}"/>
          </ac:picMkLst>
        </pc:picChg>
        <pc:picChg chg="mod">
          <ac:chgData name="Asam, Jolina Katharina" userId="6f382d6e-e27a-4b44-aef1-f43b9e70ebd5" providerId="ADAL" clId="{0C8F6498-51F3-4BC4-99F7-37686ED3AAC9}" dt="2025-03-05T15:48:21.040" v="3227" actId="1035"/>
          <ac:picMkLst>
            <pc:docMk/>
            <pc:sldMk cId="3085089317" sldId="2147482591"/>
            <ac:picMk id="30" creationId="{6575DA6A-5CE2-8FA1-0810-73C758EEFB05}"/>
          </ac:picMkLst>
        </pc:picChg>
        <pc:picChg chg="mod">
          <ac:chgData name="Asam, Jolina Katharina" userId="6f382d6e-e27a-4b44-aef1-f43b9e70ebd5" providerId="ADAL" clId="{0C8F6498-51F3-4BC4-99F7-37686ED3AAC9}" dt="2025-03-05T15:48:21.040" v="3227" actId="1035"/>
          <ac:picMkLst>
            <pc:docMk/>
            <pc:sldMk cId="3085089317" sldId="2147482591"/>
            <ac:picMk id="33" creationId="{07ACE7E4-3D70-7490-2512-7A5195A71D59}"/>
          </ac:picMkLst>
        </pc:picChg>
        <pc:picChg chg="mod">
          <ac:chgData name="Asam, Jolina Katharina" userId="6f382d6e-e27a-4b44-aef1-f43b9e70ebd5" providerId="ADAL" clId="{0C8F6498-51F3-4BC4-99F7-37686ED3AAC9}" dt="2025-03-05T15:48:21.040" v="3227" actId="1035"/>
          <ac:picMkLst>
            <pc:docMk/>
            <pc:sldMk cId="3085089317" sldId="2147482591"/>
            <ac:picMk id="36" creationId="{31AC89BC-8B85-21C7-116C-D4D11D1EF2A2}"/>
          </ac:picMkLst>
        </pc:picChg>
        <pc:cxnChg chg="mod">
          <ac:chgData name="Asam, Jolina Katharina" userId="6f382d6e-e27a-4b44-aef1-f43b9e70ebd5" providerId="ADAL" clId="{0C8F6498-51F3-4BC4-99F7-37686ED3AAC9}" dt="2025-03-05T15:48:21.040" v="3227" actId="1035"/>
          <ac:cxnSpMkLst>
            <pc:docMk/>
            <pc:sldMk cId="3085089317" sldId="2147482591"/>
            <ac:cxnSpMk id="9" creationId="{2F1AD679-3446-0A79-C228-D2E3A9893797}"/>
          </ac:cxnSpMkLst>
        </pc:cxnChg>
        <pc:cxnChg chg="mod">
          <ac:chgData name="Asam, Jolina Katharina" userId="6f382d6e-e27a-4b44-aef1-f43b9e70ebd5" providerId="ADAL" clId="{0C8F6498-51F3-4BC4-99F7-37686ED3AAC9}" dt="2025-03-05T15:48:21.040" v="3227" actId="1035"/>
          <ac:cxnSpMkLst>
            <pc:docMk/>
            <pc:sldMk cId="3085089317" sldId="2147482591"/>
            <ac:cxnSpMk id="10" creationId="{369B7892-BCCA-04CD-FCF9-9E945B809B7E}"/>
          </ac:cxnSpMkLst>
        </pc:cxnChg>
        <pc:cxnChg chg="mod">
          <ac:chgData name="Asam, Jolina Katharina" userId="6f382d6e-e27a-4b44-aef1-f43b9e70ebd5" providerId="ADAL" clId="{0C8F6498-51F3-4BC4-99F7-37686ED3AAC9}" dt="2025-03-05T15:48:21.040" v="3227" actId="1035"/>
          <ac:cxnSpMkLst>
            <pc:docMk/>
            <pc:sldMk cId="3085089317" sldId="2147482591"/>
            <ac:cxnSpMk id="11" creationId="{93A8B580-DBC6-BAFE-DCA8-825C65ED17A5}"/>
          </ac:cxnSpMkLst>
        </pc:cxnChg>
        <pc:cxnChg chg="mod">
          <ac:chgData name="Asam, Jolina Katharina" userId="6f382d6e-e27a-4b44-aef1-f43b9e70ebd5" providerId="ADAL" clId="{0C8F6498-51F3-4BC4-99F7-37686ED3AAC9}" dt="2025-03-05T15:48:21.040" v="3227" actId="1035"/>
          <ac:cxnSpMkLst>
            <pc:docMk/>
            <pc:sldMk cId="3085089317" sldId="2147482591"/>
            <ac:cxnSpMk id="12" creationId="{7C29100F-61B6-D099-8FB7-9534A7BF27A0}"/>
          </ac:cxnSpMkLst>
        </pc:cxnChg>
        <pc:cxnChg chg="mod">
          <ac:chgData name="Asam, Jolina Katharina" userId="6f382d6e-e27a-4b44-aef1-f43b9e70ebd5" providerId="ADAL" clId="{0C8F6498-51F3-4BC4-99F7-37686ED3AAC9}" dt="2025-03-05T15:47:59.042" v="3219" actId="1035"/>
          <ac:cxnSpMkLst>
            <pc:docMk/>
            <pc:sldMk cId="3085089317" sldId="2147482591"/>
            <ac:cxnSpMk id="13" creationId="{2231C7CB-87EE-41DB-915C-B913F7C77FB1}"/>
          </ac:cxnSpMkLst>
        </pc:cxnChg>
        <pc:cxnChg chg="mod">
          <ac:chgData name="Asam, Jolina Katharina" userId="6f382d6e-e27a-4b44-aef1-f43b9e70ebd5" providerId="ADAL" clId="{0C8F6498-51F3-4BC4-99F7-37686ED3AAC9}" dt="2025-03-05T15:47:59.042" v="3219" actId="1035"/>
          <ac:cxnSpMkLst>
            <pc:docMk/>
            <pc:sldMk cId="3085089317" sldId="2147482591"/>
            <ac:cxnSpMk id="14" creationId="{C4E7A8FD-6175-8F3E-BA29-58924B33BE67}"/>
          </ac:cxnSpMkLst>
        </pc:cxnChg>
      </pc:sldChg>
      <pc:sldChg chg="modSp mod">
        <pc:chgData name="Asam, Jolina Katharina" userId="6f382d6e-e27a-4b44-aef1-f43b9e70ebd5" providerId="ADAL" clId="{0C8F6498-51F3-4BC4-99F7-37686ED3AAC9}" dt="2025-03-05T18:24:31.259" v="4595" actId="113"/>
        <pc:sldMkLst>
          <pc:docMk/>
          <pc:sldMk cId="2689224473" sldId="2147482594"/>
        </pc:sldMkLst>
        <pc:spChg chg="mod">
          <ac:chgData name="Asam, Jolina Katharina" userId="6f382d6e-e27a-4b44-aef1-f43b9e70ebd5" providerId="ADAL" clId="{0C8F6498-51F3-4BC4-99F7-37686ED3AAC9}" dt="2025-03-05T12:38:33.153" v="804" actId="20577"/>
          <ac:spMkLst>
            <pc:docMk/>
            <pc:sldMk cId="2689224473" sldId="2147482594"/>
            <ac:spMk id="16" creationId="{71A9303A-95BB-D9FE-B177-D109E8E0F339}"/>
          </ac:spMkLst>
        </pc:spChg>
        <pc:spChg chg="mod">
          <ac:chgData name="Asam, Jolina Katharina" userId="6f382d6e-e27a-4b44-aef1-f43b9e70ebd5" providerId="ADAL" clId="{0C8F6498-51F3-4BC4-99F7-37686ED3AAC9}" dt="2025-03-05T18:23:42.785" v="4584" actId="113"/>
          <ac:spMkLst>
            <pc:docMk/>
            <pc:sldMk cId="2689224473" sldId="2147482594"/>
            <ac:spMk id="19" creationId="{D8CE7914-CBBC-5E99-3C4E-C5765617CC71}"/>
          </ac:spMkLst>
        </pc:spChg>
        <pc:spChg chg="mod">
          <ac:chgData name="Asam, Jolina Katharina" userId="6f382d6e-e27a-4b44-aef1-f43b9e70ebd5" providerId="ADAL" clId="{0C8F6498-51F3-4BC4-99F7-37686ED3AAC9}" dt="2025-03-05T12:28:46.860" v="628" actId="1036"/>
          <ac:spMkLst>
            <pc:docMk/>
            <pc:sldMk cId="2689224473" sldId="2147482594"/>
            <ac:spMk id="20" creationId="{B0D5819D-69F1-A952-719B-C21EBA2347B1}"/>
          </ac:spMkLst>
        </pc:spChg>
        <pc:spChg chg="mod">
          <ac:chgData name="Asam, Jolina Katharina" userId="6f382d6e-e27a-4b44-aef1-f43b9e70ebd5" providerId="ADAL" clId="{0C8F6498-51F3-4BC4-99F7-37686ED3AAC9}" dt="2025-03-05T18:23:53.889" v="4586" actId="113"/>
          <ac:spMkLst>
            <pc:docMk/>
            <pc:sldMk cId="2689224473" sldId="2147482594"/>
            <ac:spMk id="22" creationId="{24A8C74C-491F-3135-9168-31168889F6C2}"/>
          </ac:spMkLst>
        </pc:spChg>
        <pc:spChg chg="mod">
          <ac:chgData name="Asam, Jolina Katharina" userId="6f382d6e-e27a-4b44-aef1-f43b9e70ebd5" providerId="ADAL" clId="{0C8F6498-51F3-4BC4-99F7-37686ED3AAC9}" dt="2025-03-05T12:28:46.860" v="628" actId="1036"/>
          <ac:spMkLst>
            <pc:docMk/>
            <pc:sldMk cId="2689224473" sldId="2147482594"/>
            <ac:spMk id="23" creationId="{3195ABAB-67CE-F714-1604-528A4C8CEAA4}"/>
          </ac:spMkLst>
        </pc:spChg>
        <pc:spChg chg="mod">
          <ac:chgData name="Asam, Jolina Katharina" userId="6f382d6e-e27a-4b44-aef1-f43b9e70ebd5" providerId="ADAL" clId="{0C8F6498-51F3-4BC4-99F7-37686ED3AAC9}" dt="2025-03-05T18:24:04.975" v="4589" actId="113"/>
          <ac:spMkLst>
            <pc:docMk/>
            <pc:sldMk cId="2689224473" sldId="2147482594"/>
            <ac:spMk id="25" creationId="{3AF7F11E-CC97-D96C-595A-28C6B90225CE}"/>
          </ac:spMkLst>
        </pc:spChg>
        <pc:spChg chg="mod">
          <ac:chgData name="Asam, Jolina Katharina" userId="6f382d6e-e27a-4b44-aef1-f43b9e70ebd5" providerId="ADAL" clId="{0C8F6498-51F3-4BC4-99F7-37686ED3AAC9}" dt="2025-03-05T12:28:46.860" v="628" actId="1036"/>
          <ac:spMkLst>
            <pc:docMk/>
            <pc:sldMk cId="2689224473" sldId="2147482594"/>
            <ac:spMk id="26" creationId="{6A581ED3-601C-A044-A72C-7EED9696B2DB}"/>
          </ac:spMkLst>
        </pc:spChg>
        <pc:spChg chg="mod">
          <ac:chgData name="Asam, Jolina Katharina" userId="6f382d6e-e27a-4b44-aef1-f43b9e70ebd5" providerId="ADAL" clId="{0C8F6498-51F3-4BC4-99F7-37686ED3AAC9}" dt="2025-03-05T18:24:10.630" v="4590" actId="113"/>
          <ac:spMkLst>
            <pc:docMk/>
            <pc:sldMk cId="2689224473" sldId="2147482594"/>
            <ac:spMk id="28" creationId="{AADF7B53-9E4C-8056-7221-86277A45CD44}"/>
          </ac:spMkLst>
        </pc:spChg>
        <pc:spChg chg="mod">
          <ac:chgData name="Asam, Jolina Katharina" userId="6f382d6e-e27a-4b44-aef1-f43b9e70ebd5" providerId="ADAL" clId="{0C8F6498-51F3-4BC4-99F7-37686ED3AAC9}" dt="2025-03-05T12:28:46.860" v="628" actId="1036"/>
          <ac:spMkLst>
            <pc:docMk/>
            <pc:sldMk cId="2689224473" sldId="2147482594"/>
            <ac:spMk id="29" creationId="{FFCD6AA0-DC23-0E27-AE73-415D18660094}"/>
          </ac:spMkLst>
        </pc:spChg>
        <pc:spChg chg="mod">
          <ac:chgData name="Asam, Jolina Katharina" userId="6f382d6e-e27a-4b44-aef1-f43b9e70ebd5" providerId="ADAL" clId="{0C8F6498-51F3-4BC4-99F7-37686ED3AAC9}" dt="2025-03-05T18:24:18.106" v="4592" actId="113"/>
          <ac:spMkLst>
            <pc:docMk/>
            <pc:sldMk cId="2689224473" sldId="2147482594"/>
            <ac:spMk id="31" creationId="{223E6373-1FD2-8938-AFF2-CBED861BB861}"/>
          </ac:spMkLst>
        </pc:spChg>
        <pc:spChg chg="mod">
          <ac:chgData name="Asam, Jolina Katharina" userId="6f382d6e-e27a-4b44-aef1-f43b9e70ebd5" providerId="ADAL" clId="{0C8F6498-51F3-4BC4-99F7-37686ED3AAC9}" dt="2025-03-05T12:28:46.860" v="628" actId="1036"/>
          <ac:spMkLst>
            <pc:docMk/>
            <pc:sldMk cId="2689224473" sldId="2147482594"/>
            <ac:spMk id="32" creationId="{9828C3F1-4E39-BBB9-603A-D4A23446A554}"/>
          </ac:spMkLst>
        </pc:spChg>
        <pc:spChg chg="mod">
          <ac:chgData name="Asam, Jolina Katharina" userId="6f382d6e-e27a-4b44-aef1-f43b9e70ebd5" providerId="ADAL" clId="{0C8F6498-51F3-4BC4-99F7-37686ED3AAC9}" dt="2025-03-05T18:24:21.681" v="4593" actId="113"/>
          <ac:spMkLst>
            <pc:docMk/>
            <pc:sldMk cId="2689224473" sldId="2147482594"/>
            <ac:spMk id="34" creationId="{D4588552-0F6F-D87D-A7FD-8FDCAEBA242F}"/>
          </ac:spMkLst>
        </pc:spChg>
        <pc:spChg chg="mod">
          <ac:chgData name="Asam, Jolina Katharina" userId="6f382d6e-e27a-4b44-aef1-f43b9e70ebd5" providerId="ADAL" clId="{0C8F6498-51F3-4BC4-99F7-37686ED3AAC9}" dt="2025-03-05T12:28:46.860" v="628" actId="1036"/>
          <ac:spMkLst>
            <pc:docMk/>
            <pc:sldMk cId="2689224473" sldId="2147482594"/>
            <ac:spMk id="35" creationId="{2E057132-9E88-C186-8B26-2DDE5A5CE540}"/>
          </ac:spMkLst>
        </pc:spChg>
        <pc:spChg chg="mod">
          <ac:chgData name="Asam, Jolina Katharina" userId="6f382d6e-e27a-4b44-aef1-f43b9e70ebd5" providerId="ADAL" clId="{0C8F6498-51F3-4BC4-99F7-37686ED3AAC9}" dt="2025-03-05T18:24:31.259" v="4595" actId="113"/>
          <ac:spMkLst>
            <pc:docMk/>
            <pc:sldMk cId="2689224473" sldId="2147482594"/>
            <ac:spMk id="37" creationId="{D3581E4D-BB4A-7910-DCB5-51234CCD2082}"/>
          </ac:spMkLst>
        </pc:spChg>
        <pc:picChg chg="mod">
          <ac:chgData name="Asam, Jolina Katharina" userId="6f382d6e-e27a-4b44-aef1-f43b9e70ebd5" providerId="ADAL" clId="{0C8F6498-51F3-4BC4-99F7-37686ED3AAC9}" dt="2025-03-05T12:28:46.860" v="628" actId="1036"/>
          <ac:picMkLst>
            <pc:docMk/>
            <pc:sldMk cId="2689224473" sldId="2147482594"/>
            <ac:picMk id="21" creationId="{BCDD6320-3030-C1DD-05BB-34BBAA4C62B6}"/>
          </ac:picMkLst>
        </pc:picChg>
        <pc:picChg chg="mod">
          <ac:chgData name="Asam, Jolina Katharina" userId="6f382d6e-e27a-4b44-aef1-f43b9e70ebd5" providerId="ADAL" clId="{0C8F6498-51F3-4BC4-99F7-37686ED3AAC9}" dt="2025-03-05T12:28:46.860" v="628" actId="1036"/>
          <ac:picMkLst>
            <pc:docMk/>
            <pc:sldMk cId="2689224473" sldId="2147482594"/>
            <ac:picMk id="24" creationId="{86C50BF3-2854-DF87-075F-06FE60441472}"/>
          </ac:picMkLst>
        </pc:picChg>
        <pc:picChg chg="mod">
          <ac:chgData name="Asam, Jolina Katharina" userId="6f382d6e-e27a-4b44-aef1-f43b9e70ebd5" providerId="ADAL" clId="{0C8F6498-51F3-4BC4-99F7-37686ED3AAC9}" dt="2025-03-05T12:28:46.860" v="628" actId="1036"/>
          <ac:picMkLst>
            <pc:docMk/>
            <pc:sldMk cId="2689224473" sldId="2147482594"/>
            <ac:picMk id="27" creationId="{8F1A43CC-E236-7E9D-3705-E258596F8203}"/>
          </ac:picMkLst>
        </pc:picChg>
        <pc:picChg chg="mod">
          <ac:chgData name="Asam, Jolina Katharina" userId="6f382d6e-e27a-4b44-aef1-f43b9e70ebd5" providerId="ADAL" clId="{0C8F6498-51F3-4BC4-99F7-37686ED3AAC9}" dt="2025-03-05T12:28:46.860" v="628" actId="1036"/>
          <ac:picMkLst>
            <pc:docMk/>
            <pc:sldMk cId="2689224473" sldId="2147482594"/>
            <ac:picMk id="30" creationId="{7F69A124-3C6D-F1BD-111A-F5722BF7BE4F}"/>
          </ac:picMkLst>
        </pc:picChg>
        <pc:picChg chg="mod">
          <ac:chgData name="Asam, Jolina Katharina" userId="6f382d6e-e27a-4b44-aef1-f43b9e70ebd5" providerId="ADAL" clId="{0C8F6498-51F3-4BC4-99F7-37686ED3AAC9}" dt="2025-03-05T12:28:46.860" v="628" actId="1036"/>
          <ac:picMkLst>
            <pc:docMk/>
            <pc:sldMk cId="2689224473" sldId="2147482594"/>
            <ac:picMk id="33" creationId="{B8F58D75-066A-73F0-2713-CD62E641BA0A}"/>
          </ac:picMkLst>
        </pc:picChg>
        <pc:picChg chg="mod">
          <ac:chgData name="Asam, Jolina Katharina" userId="6f382d6e-e27a-4b44-aef1-f43b9e70ebd5" providerId="ADAL" clId="{0C8F6498-51F3-4BC4-99F7-37686ED3AAC9}" dt="2025-03-05T12:28:46.860" v="628" actId="1036"/>
          <ac:picMkLst>
            <pc:docMk/>
            <pc:sldMk cId="2689224473" sldId="2147482594"/>
            <ac:picMk id="36" creationId="{A5BEF462-DECF-1468-D175-AFF744AB0D6F}"/>
          </ac:picMkLst>
        </pc:picChg>
        <pc:cxnChg chg="mod">
          <ac:chgData name="Asam, Jolina Katharina" userId="6f382d6e-e27a-4b44-aef1-f43b9e70ebd5" providerId="ADAL" clId="{0C8F6498-51F3-4BC4-99F7-37686ED3AAC9}" dt="2025-03-05T12:28:46.860" v="628" actId="1036"/>
          <ac:cxnSpMkLst>
            <pc:docMk/>
            <pc:sldMk cId="2689224473" sldId="2147482594"/>
            <ac:cxnSpMk id="9" creationId="{2F1AD679-3446-0A79-C228-D2E3A9893797}"/>
          </ac:cxnSpMkLst>
        </pc:cxnChg>
        <pc:cxnChg chg="mod">
          <ac:chgData name="Asam, Jolina Katharina" userId="6f382d6e-e27a-4b44-aef1-f43b9e70ebd5" providerId="ADAL" clId="{0C8F6498-51F3-4BC4-99F7-37686ED3AAC9}" dt="2025-03-05T12:28:46.860" v="628" actId="1036"/>
          <ac:cxnSpMkLst>
            <pc:docMk/>
            <pc:sldMk cId="2689224473" sldId="2147482594"/>
            <ac:cxnSpMk id="10" creationId="{369B7892-BCCA-04CD-FCF9-9E945B809B7E}"/>
          </ac:cxnSpMkLst>
        </pc:cxnChg>
        <pc:cxnChg chg="mod">
          <ac:chgData name="Asam, Jolina Katharina" userId="6f382d6e-e27a-4b44-aef1-f43b9e70ebd5" providerId="ADAL" clId="{0C8F6498-51F3-4BC4-99F7-37686ED3AAC9}" dt="2025-03-05T12:28:46.860" v="628" actId="1036"/>
          <ac:cxnSpMkLst>
            <pc:docMk/>
            <pc:sldMk cId="2689224473" sldId="2147482594"/>
            <ac:cxnSpMk id="11" creationId="{93A8B580-DBC6-BAFE-DCA8-825C65ED17A5}"/>
          </ac:cxnSpMkLst>
        </pc:cxnChg>
        <pc:cxnChg chg="mod">
          <ac:chgData name="Asam, Jolina Katharina" userId="6f382d6e-e27a-4b44-aef1-f43b9e70ebd5" providerId="ADAL" clId="{0C8F6498-51F3-4BC4-99F7-37686ED3AAC9}" dt="2025-03-05T12:28:46.860" v="628" actId="1036"/>
          <ac:cxnSpMkLst>
            <pc:docMk/>
            <pc:sldMk cId="2689224473" sldId="2147482594"/>
            <ac:cxnSpMk id="12" creationId="{7C29100F-61B6-D099-8FB7-9534A7BF27A0}"/>
          </ac:cxnSpMkLst>
        </pc:cxnChg>
        <pc:cxnChg chg="mod">
          <ac:chgData name="Asam, Jolina Katharina" userId="6f382d6e-e27a-4b44-aef1-f43b9e70ebd5" providerId="ADAL" clId="{0C8F6498-51F3-4BC4-99F7-37686ED3AAC9}" dt="2025-03-05T12:28:46.860" v="628" actId="1036"/>
          <ac:cxnSpMkLst>
            <pc:docMk/>
            <pc:sldMk cId="2689224473" sldId="2147482594"/>
            <ac:cxnSpMk id="13" creationId="{2231C7CB-87EE-41DB-915C-B913F7C77FB1}"/>
          </ac:cxnSpMkLst>
        </pc:cxnChg>
        <pc:cxnChg chg="mod">
          <ac:chgData name="Asam, Jolina Katharina" userId="6f382d6e-e27a-4b44-aef1-f43b9e70ebd5" providerId="ADAL" clId="{0C8F6498-51F3-4BC4-99F7-37686ED3AAC9}" dt="2025-03-05T12:28:46.860" v="628" actId="1036"/>
          <ac:cxnSpMkLst>
            <pc:docMk/>
            <pc:sldMk cId="2689224473" sldId="2147482594"/>
            <ac:cxnSpMk id="14" creationId="{C4E7A8FD-6175-8F3E-BA29-58924B33BE67}"/>
          </ac:cxnSpMkLst>
        </pc:cxnChg>
      </pc:sldChg>
      <pc:sldChg chg="modSp mod">
        <pc:chgData name="Asam, Jolina Katharina" userId="6f382d6e-e27a-4b44-aef1-f43b9e70ebd5" providerId="ADAL" clId="{0C8F6498-51F3-4BC4-99F7-37686ED3AAC9}" dt="2025-03-05T19:13:33.585" v="5395" actId="20577"/>
        <pc:sldMkLst>
          <pc:docMk/>
          <pc:sldMk cId="2875674751" sldId="2147482595"/>
        </pc:sldMkLst>
        <pc:spChg chg="mod">
          <ac:chgData name="Asam, Jolina Katharina" userId="6f382d6e-e27a-4b44-aef1-f43b9e70ebd5" providerId="ADAL" clId="{0C8F6498-51F3-4BC4-99F7-37686ED3AAC9}" dt="2025-03-05T13:47:58.565" v="1141" actId="20577"/>
          <ac:spMkLst>
            <pc:docMk/>
            <pc:sldMk cId="2875674751" sldId="2147482595"/>
            <ac:spMk id="16" creationId="{71A9303A-95BB-D9FE-B177-D109E8E0F339}"/>
          </ac:spMkLst>
        </pc:spChg>
        <pc:spChg chg="mod">
          <ac:chgData name="Asam, Jolina Katharina" userId="6f382d6e-e27a-4b44-aef1-f43b9e70ebd5" providerId="ADAL" clId="{0C8F6498-51F3-4BC4-99F7-37686ED3AAC9}" dt="2025-03-05T13:46:47.984" v="1115" actId="20577"/>
          <ac:spMkLst>
            <pc:docMk/>
            <pc:sldMk cId="2875674751" sldId="2147482595"/>
            <ac:spMk id="31" creationId="{223E6373-1FD2-8938-AFF2-CBED861BB861}"/>
          </ac:spMkLst>
        </pc:spChg>
        <pc:spChg chg="mod">
          <ac:chgData name="Asam, Jolina Katharina" userId="6f382d6e-e27a-4b44-aef1-f43b9e70ebd5" providerId="ADAL" clId="{0C8F6498-51F3-4BC4-99F7-37686ED3AAC9}" dt="2025-03-05T13:46:56.994" v="1128" actId="1036"/>
          <ac:spMkLst>
            <pc:docMk/>
            <pc:sldMk cId="2875674751" sldId="2147482595"/>
            <ac:spMk id="32" creationId="{9828C3F1-4E39-BBB9-603A-D4A23446A554}"/>
          </ac:spMkLst>
        </pc:spChg>
        <pc:spChg chg="mod">
          <ac:chgData name="Asam, Jolina Katharina" userId="6f382d6e-e27a-4b44-aef1-f43b9e70ebd5" providerId="ADAL" clId="{0C8F6498-51F3-4BC4-99F7-37686ED3AAC9}" dt="2025-03-05T13:46:56.994" v="1128" actId="1036"/>
          <ac:spMkLst>
            <pc:docMk/>
            <pc:sldMk cId="2875674751" sldId="2147482595"/>
            <ac:spMk id="34" creationId="{D4588552-0F6F-D87D-A7FD-8FDCAEBA242F}"/>
          </ac:spMkLst>
        </pc:spChg>
        <pc:spChg chg="mod">
          <ac:chgData name="Asam, Jolina Katharina" userId="6f382d6e-e27a-4b44-aef1-f43b9e70ebd5" providerId="ADAL" clId="{0C8F6498-51F3-4BC4-99F7-37686ED3AAC9}" dt="2025-03-05T13:46:56.994" v="1128" actId="1036"/>
          <ac:spMkLst>
            <pc:docMk/>
            <pc:sldMk cId="2875674751" sldId="2147482595"/>
            <ac:spMk id="35" creationId="{2E057132-9E88-C186-8B26-2DDE5A5CE540}"/>
          </ac:spMkLst>
        </pc:spChg>
        <pc:spChg chg="mod">
          <ac:chgData name="Asam, Jolina Katharina" userId="6f382d6e-e27a-4b44-aef1-f43b9e70ebd5" providerId="ADAL" clId="{0C8F6498-51F3-4BC4-99F7-37686ED3AAC9}" dt="2025-03-05T19:13:33.585" v="5395" actId="20577"/>
          <ac:spMkLst>
            <pc:docMk/>
            <pc:sldMk cId="2875674751" sldId="2147482595"/>
            <ac:spMk id="37" creationId="{D3581E4D-BB4A-7910-DCB5-51234CCD2082}"/>
          </ac:spMkLst>
        </pc:spChg>
        <pc:picChg chg="mod">
          <ac:chgData name="Asam, Jolina Katharina" userId="6f382d6e-e27a-4b44-aef1-f43b9e70ebd5" providerId="ADAL" clId="{0C8F6498-51F3-4BC4-99F7-37686ED3AAC9}" dt="2025-03-05T13:46:56.994" v="1128" actId="1036"/>
          <ac:picMkLst>
            <pc:docMk/>
            <pc:sldMk cId="2875674751" sldId="2147482595"/>
            <ac:picMk id="27" creationId="{203391D0-8D4E-5AC8-CD34-786CECC14D64}"/>
          </ac:picMkLst>
        </pc:picChg>
        <pc:picChg chg="mod">
          <ac:chgData name="Asam, Jolina Katharina" userId="6f382d6e-e27a-4b44-aef1-f43b9e70ebd5" providerId="ADAL" clId="{0C8F6498-51F3-4BC4-99F7-37686ED3AAC9}" dt="2025-03-05T13:46:56.994" v="1128" actId="1036"/>
          <ac:picMkLst>
            <pc:docMk/>
            <pc:sldMk cId="2875674751" sldId="2147482595"/>
            <ac:picMk id="30" creationId="{B1787D1E-A41F-2012-E83E-41E2C7F59017}"/>
          </ac:picMkLst>
        </pc:picChg>
        <pc:cxnChg chg="mod">
          <ac:chgData name="Asam, Jolina Katharina" userId="6f382d6e-e27a-4b44-aef1-f43b9e70ebd5" providerId="ADAL" clId="{0C8F6498-51F3-4BC4-99F7-37686ED3AAC9}" dt="2025-03-05T13:46:56.994" v="1128" actId="1036"/>
          <ac:cxnSpMkLst>
            <pc:docMk/>
            <pc:sldMk cId="2875674751" sldId="2147482595"/>
            <ac:cxnSpMk id="9" creationId="{2F1AD679-3446-0A79-C228-D2E3A9893797}"/>
          </ac:cxnSpMkLst>
        </pc:cxnChg>
        <pc:cxnChg chg="mod">
          <ac:chgData name="Asam, Jolina Katharina" userId="6f382d6e-e27a-4b44-aef1-f43b9e70ebd5" providerId="ADAL" clId="{0C8F6498-51F3-4BC4-99F7-37686ED3AAC9}" dt="2025-03-05T13:46:56.994" v="1128" actId="1036"/>
          <ac:cxnSpMkLst>
            <pc:docMk/>
            <pc:sldMk cId="2875674751" sldId="2147482595"/>
            <ac:cxnSpMk id="10" creationId="{369B7892-BCCA-04CD-FCF9-9E945B809B7E}"/>
          </ac:cxnSpMkLst>
        </pc:cxnChg>
      </pc:sldChg>
      <pc:sldChg chg="modSp mod">
        <pc:chgData name="Asam, Jolina Katharina" userId="6f382d6e-e27a-4b44-aef1-f43b9e70ebd5" providerId="ADAL" clId="{0C8F6498-51F3-4BC4-99F7-37686ED3AAC9}" dt="2025-03-05T19:18:01.854" v="5425" actId="20577"/>
        <pc:sldMkLst>
          <pc:docMk/>
          <pc:sldMk cId="4061681901" sldId="2147482596"/>
        </pc:sldMkLst>
        <pc:spChg chg="mod">
          <ac:chgData name="Asam, Jolina Katharina" userId="6f382d6e-e27a-4b44-aef1-f43b9e70ebd5" providerId="ADAL" clId="{0C8F6498-51F3-4BC4-99F7-37686ED3AAC9}" dt="2025-03-05T13:49:22.486" v="1176" actId="6549"/>
          <ac:spMkLst>
            <pc:docMk/>
            <pc:sldMk cId="4061681901" sldId="2147482596"/>
            <ac:spMk id="19" creationId="{D8CE7914-CBBC-5E99-3C4E-C5765617CC71}"/>
          </ac:spMkLst>
        </pc:spChg>
        <pc:spChg chg="mod">
          <ac:chgData name="Asam, Jolina Katharina" userId="6f382d6e-e27a-4b44-aef1-f43b9e70ebd5" providerId="ADAL" clId="{0C8F6498-51F3-4BC4-99F7-37686ED3AAC9}" dt="2025-03-05T19:18:01.854" v="5425" actId="20577"/>
          <ac:spMkLst>
            <pc:docMk/>
            <pc:sldMk cId="4061681901" sldId="2147482596"/>
            <ac:spMk id="34" creationId="{D4588552-0F6F-D87D-A7FD-8FDCAEBA242F}"/>
          </ac:spMkLst>
        </pc:spChg>
        <pc:spChg chg="mod">
          <ac:chgData name="Asam, Jolina Katharina" userId="6f382d6e-e27a-4b44-aef1-f43b9e70ebd5" providerId="ADAL" clId="{0C8F6498-51F3-4BC4-99F7-37686ED3AAC9}" dt="2025-03-05T13:51:09.120" v="1197" actId="20577"/>
          <ac:spMkLst>
            <pc:docMk/>
            <pc:sldMk cId="4061681901" sldId="2147482596"/>
            <ac:spMk id="37" creationId="{D3581E4D-BB4A-7910-DCB5-51234CCD2082}"/>
          </ac:spMkLst>
        </pc:spChg>
      </pc:sldChg>
      <pc:sldChg chg="modSp mod">
        <pc:chgData name="Asam, Jolina Katharina" userId="6f382d6e-e27a-4b44-aef1-f43b9e70ebd5" providerId="ADAL" clId="{0C8F6498-51F3-4BC4-99F7-37686ED3AAC9}" dt="2025-03-05T19:16:27.489" v="5422" actId="20577"/>
        <pc:sldMkLst>
          <pc:docMk/>
          <pc:sldMk cId="2047943169" sldId="2147482597"/>
        </pc:sldMkLst>
        <pc:spChg chg="mod">
          <ac:chgData name="Asam, Jolina Katharina" userId="6f382d6e-e27a-4b44-aef1-f43b9e70ebd5" providerId="ADAL" clId="{0C8F6498-51F3-4BC4-99F7-37686ED3AAC9}" dt="2025-03-05T19:16:27.489" v="5422" actId="20577"/>
          <ac:spMkLst>
            <pc:docMk/>
            <pc:sldMk cId="2047943169" sldId="2147482597"/>
            <ac:spMk id="16" creationId="{71A9303A-95BB-D9FE-B177-D109E8E0F339}"/>
          </ac:spMkLst>
        </pc:spChg>
        <pc:spChg chg="mod">
          <ac:chgData name="Asam, Jolina Katharina" userId="6f382d6e-e27a-4b44-aef1-f43b9e70ebd5" providerId="ADAL" clId="{0C8F6498-51F3-4BC4-99F7-37686ED3AAC9}" dt="2025-03-05T19:16:06.895" v="5404" actId="20577"/>
          <ac:spMkLst>
            <pc:docMk/>
            <pc:sldMk cId="2047943169" sldId="2147482597"/>
            <ac:spMk id="19" creationId="{D8CE7914-CBBC-5E99-3C4E-C5765617CC71}"/>
          </ac:spMkLst>
        </pc:spChg>
        <pc:spChg chg="mod">
          <ac:chgData name="Asam, Jolina Katharina" userId="6f382d6e-e27a-4b44-aef1-f43b9e70ebd5" providerId="ADAL" clId="{0C8F6498-51F3-4BC4-99F7-37686ED3AAC9}" dt="2025-03-05T13:53:17.802" v="1229" actId="20577"/>
          <ac:spMkLst>
            <pc:docMk/>
            <pc:sldMk cId="2047943169" sldId="2147482597"/>
            <ac:spMk id="31" creationId="{223E6373-1FD2-8938-AFF2-CBED861BB861}"/>
          </ac:spMkLst>
        </pc:spChg>
        <pc:spChg chg="mod">
          <ac:chgData name="Asam, Jolina Katharina" userId="6f382d6e-e27a-4b44-aef1-f43b9e70ebd5" providerId="ADAL" clId="{0C8F6498-51F3-4BC4-99F7-37686ED3AAC9}" dt="2025-03-05T13:53:24.280" v="1237" actId="1035"/>
          <ac:spMkLst>
            <pc:docMk/>
            <pc:sldMk cId="2047943169" sldId="2147482597"/>
            <ac:spMk id="32" creationId="{9828C3F1-4E39-BBB9-603A-D4A23446A554}"/>
          </ac:spMkLst>
        </pc:spChg>
        <pc:spChg chg="mod">
          <ac:chgData name="Asam, Jolina Katharina" userId="6f382d6e-e27a-4b44-aef1-f43b9e70ebd5" providerId="ADAL" clId="{0C8F6498-51F3-4BC4-99F7-37686ED3AAC9}" dt="2025-03-05T13:53:24.280" v="1237" actId="1035"/>
          <ac:spMkLst>
            <pc:docMk/>
            <pc:sldMk cId="2047943169" sldId="2147482597"/>
            <ac:spMk id="34" creationId="{D4588552-0F6F-D87D-A7FD-8FDCAEBA242F}"/>
          </ac:spMkLst>
        </pc:spChg>
        <pc:spChg chg="mod">
          <ac:chgData name="Asam, Jolina Katharina" userId="6f382d6e-e27a-4b44-aef1-f43b9e70ebd5" providerId="ADAL" clId="{0C8F6498-51F3-4BC4-99F7-37686ED3AAC9}" dt="2025-03-05T13:53:24.280" v="1237" actId="1035"/>
          <ac:spMkLst>
            <pc:docMk/>
            <pc:sldMk cId="2047943169" sldId="2147482597"/>
            <ac:spMk id="35" creationId="{2E057132-9E88-C186-8B26-2DDE5A5CE540}"/>
          </ac:spMkLst>
        </pc:spChg>
        <pc:spChg chg="mod">
          <ac:chgData name="Asam, Jolina Katharina" userId="6f382d6e-e27a-4b44-aef1-f43b9e70ebd5" providerId="ADAL" clId="{0C8F6498-51F3-4BC4-99F7-37686ED3AAC9}" dt="2025-03-05T13:53:24.280" v="1237" actId="1035"/>
          <ac:spMkLst>
            <pc:docMk/>
            <pc:sldMk cId="2047943169" sldId="2147482597"/>
            <ac:spMk id="37" creationId="{D3581E4D-BB4A-7910-DCB5-51234CCD2082}"/>
          </ac:spMkLst>
        </pc:spChg>
        <pc:picChg chg="mod">
          <ac:chgData name="Asam, Jolina Katharina" userId="6f382d6e-e27a-4b44-aef1-f43b9e70ebd5" providerId="ADAL" clId="{0C8F6498-51F3-4BC4-99F7-37686ED3AAC9}" dt="2025-03-05T13:53:24.280" v="1237" actId="1035"/>
          <ac:picMkLst>
            <pc:docMk/>
            <pc:sldMk cId="2047943169" sldId="2147482597"/>
            <ac:picMk id="33" creationId="{B7D51BBB-5554-04DD-8F56-6864F5AE80D4}"/>
          </ac:picMkLst>
        </pc:picChg>
        <pc:picChg chg="mod">
          <ac:chgData name="Asam, Jolina Katharina" userId="6f382d6e-e27a-4b44-aef1-f43b9e70ebd5" providerId="ADAL" clId="{0C8F6498-51F3-4BC4-99F7-37686ED3AAC9}" dt="2025-03-05T13:53:24.280" v="1237" actId="1035"/>
          <ac:picMkLst>
            <pc:docMk/>
            <pc:sldMk cId="2047943169" sldId="2147482597"/>
            <ac:picMk id="36" creationId="{56F9460E-81B5-31EC-C09D-277B2983A161}"/>
          </ac:picMkLst>
        </pc:picChg>
        <pc:cxnChg chg="mod">
          <ac:chgData name="Asam, Jolina Katharina" userId="6f382d6e-e27a-4b44-aef1-f43b9e70ebd5" providerId="ADAL" clId="{0C8F6498-51F3-4BC4-99F7-37686ED3AAC9}" dt="2025-03-05T13:53:24.280" v="1237" actId="1035"/>
          <ac:cxnSpMkLst>
            <pc:docMk/>
            <pc:sldMk cId="2047943169" sldId="2147482597"/>
            <ac:cxnSpMk id="9" creationId="{2F1AD679-3446-0A79-C228-D2E3A9893797}"/>
          </ac:cxnSpMkLst>
        </pc:cxnChg>
        <pc:cxnChg chg="mod">
          <ac:chgData name="Asam, Jolina Katharina" userId="6f382d6e-e27a-4b44-aef1-f43b9e70ebd5" providerId="ADAL" clId="{0C8F6498-51F3-4BC4-99F7-37686ED3AAC9}" dt="2025-03-05T13:53:24.280" v="1237" actId="1035"/>
          <ac:cxnSpMkLst>
            <pc:docMk/>
            <pc:sldMk cId="2047943169" sldId="2147482597"/>
            <ac:cxnSpMk id="10" creationId="{369B7892-BCCA-04CD-FCF9-9E945B809B7E}"/>
          </ac:cxnSpMkLst>
        </pc:cxnChg>
      </pc:sldChg>
      <pc:sldChg chg="modSp mod">
        <pc:chgData name="Asam, Jolina Katharina" userId="6f382d6e-e27a-4b44-aef1-f43b9e70ebd5" providerId="ADAL" clId="{0C8F6498-51F3-4BC4-99F7-37686ED3AAC9}" dt="2025-03-05T19:43:29.275" v="5721" actId="20577"/>
        <pc:sldMkLst>
          <pc:docMk/>
          <pc:sldMk cId="2894149104" sldId="2147482598"/>
        </pc:sldMkLst>
        <pc:spChg chg="mod">
          <ac:chgData name="Asam, Jolina Katharina" userId="6f382d6e-e27a-4b44-aef1-f43b9e70ebd5" providerId="ADAL" clId="{0C8F6498-51F3-4BC4-99F7-37686ED3AAC9}" dt="2025-03-05T19:43:29.275" v="5721" actId="20577"/>
          <ac:spMkLst>
            <pc:docMk/>
            <pc:sldMk cId="2894149104" sldId="2147482598"/>
            <ac:spMk id="16" creationId="{71A9303A-95BB-D9FE-B177-D109E8E0F339}"/>
          </ac:spMkLst>
        </pc:spChg>
        <pc:spChg chg="mod">
          <ac:chgData name="Asam, Jolina Katharina" userId="6f382d6e-e27a-4b44-aef1-f43b9e70ebd5" providerId="ADAL" clId="{0C8F6498-51F3-4BC4-99F7-37686ED3AAC9}" dt="2025-03-05T19:19:14.061" v="5452" actId="113"/>
          <ac:spMkLst>
            <pc:docMk/>
            <pc:sldMk cId="2894149104" sldId="2147482598"/>
            <ac:spMk id="19" creationId="{D8CE7914-CBBC-5E99-3C4E-C5765617CC71}"/>
          </ac:spMkLst>
        </pc:spChg>
        <pc:spChg chg="mod">
          <ac:chgData name="Asam, Jolina Katharina" userId="6f382d6e-e27a-4b44-aef1-f43b9e70ebd5" providerId="ADAL" clId="{0C8F6498-51F3-4BC4-99F7-37686ED3AAC9}" dt="2025-03-05T18:56:53.751" v="5291" actId="113"/>
          <ac:spMkLst>
            <pc:docMk/>
            <pc:sldMk cId="2894149104" sldId="2147482598"/>
            <ac:spMk id="22" creationId="{24A8C74C-491F-3135-9168-31168889F6C2}"/>
          </ac:spMkLst>
        </pc:spChg>
        <pc:spChg chg="mod">
          <ac:chgData name="Asam, Jolina Katharina" userId="6f382d6e-e27a-4b44-aef1-f43b9e70ebd5" providerId="ADAL" clId="{0C8F6498-51F3-4BC4-99F7-37686ED3AAC9}" dt="2025-03-05T19:43:22.996" v="5718" actId="20577"/>
          <ac:spMkLst>
            <pc:docMk/>
            <pc:sldMk cId="2894149104" sldId="2147482598"/>
            <ac:spMk id="25" creationId="{3AF7F11E-CC97-D96C-595A-28C6B90225CE}"/>
          </ac:spMkLst>
        </pc:spChg>
        <pc:spChg chg="mod">
          <ac:chgData name="Asam, Jolina Katharina" userId="6f382d6e-e27a-4b44-aef1-f43b9e70ebd5" providerId="ADAL" clId="{0C8F6498-51F3-4BC4-99F7-37686ED3AAC9}" dt="2025-03-05T18:57:06.222" v="5293" actId="113"/>
          <ac:spMkLst>
            <pc:docMk/>
            <pc:sldMk cId="2894149104" sldId="2147482598"/>
            <ac:spMk id="28" creationId="{AADF7B53-9E4C-8056-7221-86277A45CD44}"/>
          </ac:spMkLst>
        </pc:spChg>
        <pc:spChg chg="mod">
          <ac:chgData name="Asam, Jolina Katharina" userId="6f382d6e-e27a-4b44-aef1-f43b9e70ebd5" providerId="ADAL" clId="{0C8F6498-51F3-4BC4-99F7-37686ED3AAC9}" dt="2025-03-05T13:59:54.189" v="1390" actId="1036"/>
          <ac:spMkLst>
            <pc:docMk/>
            <pc:sldMk cId="2894149104" sldId="2147482598"/>
            <ac:spMk id="29" creationId="{FFCD6AA0-DC23-0E27-AE73-415D18660094}"/>
          </ac:spMkLst>
        </pc:spChg>
        <pc:spChg chg="mod">
          <ac:chgData name="Asam, Jolina Katharina" userId="6f382d6e-e27a-4b44-aef1-f43b9e70ebd5" providerId="ADAL" clId="{0C8F6498-51F3-4BC4-99F7-37686ED3AAC9}" dt="2025-03-05T13:59:54.189" v="1390" actId="1036"/>
          <ac:spMkLst>
            <pc:docMk/>
            <pc:sldMk cId="2894149104" sldId="2147482598"/>
            <ac:spMk id="31" creationId="{223E6373-1FD2-8938-AFF2-CBED861BB861}"/>
          </ac:spMkLst>
        </pc:spChg>
        <pc:spChg chg="mod">
          <ac:chgData name="Asam, Jolina Katharina" userId="6f382d6e-e27a-4b44-aef1-f43b9e70ebd5" providerId="ADAL" clId="{0C8F6498-51F3-4BC4-99F7-37686ED3AAC9}" dt="2025-03-05T13:59:54.189" v="1390" actId="1036"/>
          <ac:spMkLst>
            <pc:docMk/>
            <pc:sldMk cId="2894149104" sldId="2147482598"/>
            <ac:spMk id="32" creationId="{9828C3F1-4E39-BBB9-603A-D4A23446A554}"/>
          </ac:spMkLst>
        </pc:spChg>
        <pc:spChg chg="mod">
          <ac:chgData name="Asam, Jolina Katharina" userId="6f382d6e-e27a-4b44-aef1-f43b9e70ebd5" providerId="ADAL" clId="{0C8F6498-51F3-4BC4-99F7-37686ED3AAC9}" dt="2025-03-05T18:57:24.585" v="5296" actId="113"/>
          <ac:spMkLst>
            <pc:docMk/>
            <pc:sldMk cId="2894149104" sldId="2147482598"/>
            <ac:spMk id="34" creationId="{D4588552-0F6F-D87D-A7FD-8FDCAEBA242F}"/>
          </ac:spMkLst>
        </pc:spChg>
        <pc:spChg chg="mod">
          <ac:chgData name="Asam, Jolina Katharina" userId="6f382d6e-e27a-4b44-aef1-f43b9e70ebd5" providerId="ADAL" clId="{0C8F6498-51F3-4BC4-99F7-37686ED3AAC9}" dt="2025-03-05T13:59:54.189" v="1390" actId="1036"/>
          <ac:spMkLst>
            <pc:docMk/>
            <pc:sldMk cId="2894149104" sldId="2147482598"/>
            <ac:spMk id="35" creationId="{2E057132-9E88-C186-8B26-2DDE5A5CE540}"/>
          </ac:spMkLst>
        </pc:spChg>
        <pc:spChg chg="mod">
          <ac:chgData name="Asam, Jolina Katharina" userId="6f382d6e-e27a-4b44-aef1-f43b9e70ebd5" providerId="ADAL" clId="{0C8F6498-51F3-4BC4-99F7-37686ED3AAC9}" dt="2025-03-05T18:57:33.617" v="5298" actId="113"/>
          <ac:spMkLst>
            <pc:docMk/>
            <pc:sldMk cId="2894149104" sldId="2147482598"/>
            <ac:spMk id="37" creationId="{D3581E4D-BB4A-7910-DCB5-51234CCD2082}"/>
          </ac:spMkLst>
        </pc:spChg>
        <pc:picChg chg="mod">
          <ac:chgData name="Asam, Jolina Katharina" userId="6f382d6e-e27a-4b44-aef1-f43b9e70ebd5" providerId="ADAL" clId="{0C8F6498-51F3-4BC4-99F7-37686ED3AAC9}" dt="2025-03-05T13:59:54.189" v="1390" actId="1036"/>
          <ac:picMkLst>
            <pc:docMk/>
            <pc:sldMk cId="2894149104" sldId="2147482598"/>
            <ac:picMk id="30" creationId="{8DAA64BB-4167-3E8B-6C42-E28BD1D4CCB7}"/>
          </ac:picMkLst>
        </pc:picChg>
        <pc:picChg chg="mod">
          <ac:chgData name="Asam, Jolina Katharina" userId="6f382d6e-e27a-4b44-aef1-f43b9e70ebd5" providerId="ADAL" clId="{0C8F6498-51F3-4BC4-99F7-37686ED3AAC9}" dt="2025-03-05T13:59:54.189" v="1390" actId="1036"/>
          <ac:picMkLst>
            <pc:docMk/>
            <pc:sldMk cId="2894149104" sldId="2147482598"/>
            <ac:picMk id="33" creationId="{97BB805A-080B-AFA8-FA7C-09933EB69D6D}"/>
          </ac:picMkLst>
        </pc:picChg>
        <pc:picChg chg="mod">
          <ac:chgData name="Asam, Jolina Katharina" userId="6f382d6e-e27a-4b44-aef1-f43b9e70ebd5" providerId="ADAL" clId="{0C8F6498-51F3-4BC4-99F7-37686ED3AAC9}" dt="2025-03-05T13:59:54.189" v="1390" actId="1036"/>
          <ac:picMkLst>
            <pc:docMk/>
            <pc:sldMk cId="2894149104" sldId="2147482598"/>
            <ac:picMk id="38" creationId="{2DDB1742-D623-AB45-7818-9E2BC8B9D14C}"/>
          </ac:picMkLst>
        </pc:picChg>
        <pc:cxnChg chg="mod">
          <ac:chgData name="Asam, Jolina Katharina" userId="6f382d6e-e27a-4b44-aef1-f43b9e70ebd5" providerId="ADAL" clId="{0C8F6498-51F3-4BC4-99F7-37686ED3AAC9}" dt="2025-03-05T13:59:54.189" v="1390" actId="1036"/>
          <ac:cxnSpMkLst>
            <pc:docMk/>
            <pc:sldMk cId="2894149104" sldId="2147482598"/>
            <ac:cxnSpMk id="9" creationId="{2F1AD679-3446-0A79-C228-D2E3A9893797}"/>
          </ac:cxnSpMkLst>
        </pc:cxnChg>
        <pc:cxnChg chg="mod">
          <ac:chgData name="Asam, Jolina Katharina" userId="6f382d6e-e27a-4b44-aef1-f43b9e70ebd5" providerId="ADAL" clId="{0C8F6498-51F3-4BC4-99F7-37686ED3AAC9}" dt="2025-03-05T13:59:54.189" v="1390" actId="1036"/>
          <ac:cxnSpMkLst>
            <pc:docMk/>
            <pc:sldMk cId="2894149104" sldId="2147482598"/>
            <ac:cxnSpMk id="10" creationId="{369B7892-BCCA-04CD-FCF9-9E945B809B7E}"/>
          </ac:cxnSpMkLst>
        </pc:cxnChg>
        <pc:cxnChg chg="mod">
          <ac:chgData name="Asam, Jolina Katharina" userId="6f382d6e-e27a-4b44-aef1-f43b9e70ebd5" providerId="ADAL" clId="{0C8F6498-51F3-4BC4-99F7-37686ED3AAC9}" dt="2025-03-05T13:59:54.189" v="1390" actId="1036"/>
          <ac:cxnSpMkLst>
            <pc:docMk/>
            <pc:sldMk cId="2894149104" sldId="2147482598"/>
            <ac:cxnSpMk id="11" creationId="{93A8B580-DBC6-BAFE-DCA8-825C65ED17A5}"/>
          </ac:cxnSpMkLst>
        </pc:cxnChg>
      </pc:sldChg>
      <pc:sldChg chg="modSp mod">
        <pc:chgData name="Asam, Jolina Katharina" userId="6f382d6e-e27a-4b44-aef1-f43b9e70ebd5" providerId="ADAL" clId="{0C8F6498-51F3-4BC4-99F7-37686ED3AAC9}" dt="2025-03-05T19:45:32.467" v="5777" actId="1035"/>
        <pc:sldMkLst>
          <pc:docMk/>
          <pc:sldMk cId="2662687263" sldId="2147482599"/>
        </pc:sldMkLst>
        <pc:spChg chg="mod">
          <ac:chgData name="Asam, Jolina Katharina" userId="6f382d6e-e27a-4b44-aef1-f43b9e70ebd5" providerId="ADAL" clId="{0C8F6498-51F3-4BC4-99F7-37686ED3AAC9}" dt="2025-03-05T19:45:10.924" v="5764" actId="20577"/>
          <ac:spMkLst>
            <pc:docMk/>
            <pc:sldMk cId="2662687263" sldId="2147482599"/>
            <ac:spMk id="16" creationId="{71A9303A-95BB-D9FE-B177-D109E8E0F339}"/>
          </ac:spMkLst>
        </pc:spChg>
        <pc:spChg chg="mod">
          <ac:chgData name="Asam, Jolina Katharina" userId="6f382d6e-e27a-4b44-aef1-f43b9e70ebd5" providerId="ADAL" clId="{0C8F6498-51F3-4BC4-99F7-37686ED3AAC9}" dt="2025-03-05T19:41:57.495" v="5683" actId="20577"/>
          <ac:spMkLst>
            <pc:docMk/>
            <pc:sldMk cId="2662687263" sldId="2147482599"/>
            <ac:spMk id="22" creationId="{24A8C74C-491F-3135-9168-31168889F6C2}"/>
          </ac:spMkLst>
        </pc:spChg>
        <pc:spChg chg="mod">
          <ac:chgData name="Asam, Jolina Katharina" userId="6f382d6e-e27a-4b44-aef1-f43b9e70ebd5" providerId="ADAL" clId="{0C8F6498-51F3-4BC4-99F7-37686ED3AAC9}" dt="2025-03-05T19:43:17.072" v="5711" actId="20577"/>
          <ac:spMkLst>
            <pc:docMk/>
            <pc:sldMk cId="2662687263" sldId="2147482599"/>
            <ac:spMk id="25" creationId="{3AF7F11E-CC97-D96C-595A-28C6B90225CE}"/>
          </ac:spMkLst>
        </pc:spChg>
        <pc:spChg chg="mod">
          <ac:chgData name="Asam, Jolina Katharina" userId="6f382d6e-e27a-4b44-aef1-f43b9e70ebd5" providerId="ADAL" clId="{0C8F6498-51F3-4BC4-99F7-37686ED3AAC9}" dt="2025-03-05T19:44:10.377" v="5730" actId="1036"/>
          <ac:spMkLst>
            <pc:docMk/>
            <pc:sldMk cId="2662687263" sldId="2147482599"/>
            <ac:spMk id="26" creationId="{6A581ED3-601C-A044-A72C-7EED9696B2DB}"/>
          </ac:spMkLst>
        </pc:spChg>
        <pc:spChg chg="mod">
          <ac:chgData name="Asam, Jolina Katharina" userId="6f382d6e-e27a-4b44-aef1-f43b9e70ebd5" providerId="ADAL" clId="{0C8F6498-51F3-4BC4-99F7-37686ED3AAC9}" dt="2025-03-05T19:45:05.768" v="5761" actId="20577"/>
          <ac:spMkLst>
            <pc:docMk/>
            <pc:sldMk cId="2662687263" sldId="2147482599"/>
            <ac:spMk id="28" creationId="{AADF7B53-9E4C-8056-7221-86277A45CD44}"/>
          </ac:spMkLst>
        </pc:spChg>
        <pc:spChg chg="mod">
          <ac:chgData name="Asam, Jolina Katharina" userId="6f382d6e-e27a-4b44-aef1-f43b9e70ebd5" providerId="ADAL" clId="{0C8F6498-51F3-4BC4-99F7-37686ED3AAC9}" dt="2025-03-05T19:45:32.467" v="5777" actId="1035"/>
          <ac:spMkLst>
            <pc:docMk/>
            <pc:sldMk cId="2662687263" sldId="2147482599"/>
            <ac:spMk id="29" creationId="{FFCD6AA0-DC23-0E27-AE73-415D18660094}"/>
          </ac:spMkLst>
        </pc:spChg>
        <pc:spChg chg="mod">
          <ac:chgData name="Asam, Jolina Katharina" userId="6f382d6e-e27a-4b44-aef1-f43b9e70ebd5" providerId="ADAL" clId="{0C8F6498-51F3-4BC4-99F7-37686ED3AAC9}" dt="2025-03-05T19:45:32.467" v="5777" actId="1035"/>
          <ac:spMkLst>
            <pc:docMk/>
            <pc:sldMk cId="2662687263" sldId="2147482599"/>
            <ac:spMk id="31" creationId="{223E6373-1FD2-8938-AFF2-CBED861BB861}"/>
          </ac:spMkLst>
        </pc:spChg>
        <pc:spChg chg="mod">
          <ac:chgData name="Asam, Jolina Katharina" userId="6f382d6e-e27a-4b44-aef1-f43b9e70ebd5" providerId="ADAL" clId="{0C8F6498-51F3-4BC4-99F7-37686ED3AAC9}" dt="2025-03-05T19:45:32.467" v="5777" actId="1035"/>
          <ac:spMkLst>
            <pc:docMk/>
            <pc:sldMk cId="2662687263" sldId="2147482599"/>
            <ac:spMk id="32" creationId="{9828C3F1-4E39-BBB9-603A-D4A23446A554}"/>
          </ac:spMkLst>
        </pc:spChg>
        <pc:spChg chg="mod">
          <ac:chgData name="Asam, Jolina Katharina" userId="6f382d6e-e27a-4b44-aef1-f43b9e70ebd5" providerId="ADAL" clId="{0C8F6498-51F3-4BC4-99F7-37686ED3AAC9}" dt="2025-03-05T19:45:32.467" v="5777" actId="1035"/>
          <ac:spMkLst>
            <pc:docMk/>
            <pc:sldMk cId="2662687263" sldId="2147482599"/>
            <ac:spMk id="34" creationId="{D4588552-0F6F-D87D-A7FD-8FDCAEBA242F}"/>
          </ac:spMkLst>
        </pc:spChg>
        <pc:spChg chg="mod">
          <ac:chgData name="Asam, Jolina Katharina" userId="6f382d6e-e27a-4b44-aef1-f43b9e70ebd5" providerId="ADAL" clId="{0C8F6498-51F3-4BC4-99F7-37686ED3AAC9}" dt="2025-03-05T19:45:32.467" v="5777" actId="1035"/>
          <ac:spMkLst>
            <pc:docMk/>
            <pc:sldMk cId="2662687263" sldId="2147482599"/>
            <ac:spMk id="35" creationId="{2E057132-9E88-C186-8B26-2DDE5A5CE540}"/>
          </ac:spMkLst>
        </pc:spChg>
        <pc:spChg chg="mod">
          <ac:chgData name="Asam, Jolina Katharina" userId="6f382d6e-e27a-4b44-aef1-f43b9e70ebd5" providerId="ADAL" clId="{0C8F6498-51F3-4BC4-99F7-37686ED3AAC9}" dt="2025-03-05T19:45:32.467" v="5777" actId="1035"/>
          <ac:spMkLst>
            <pc:docMk/>
            <pc:sldMk cId="2662687263" sldId="2147482599"/>
            <ac:spMk id="37" creationId="{D3581E4D-BB4A-7910-DCB5-51234CCD2082}"/>
          </ac:spMkLst>
        </pc:spChg>
        <pc:picChg chg="mod">
          <ac:chgData name="Asam, Jolina Katharina" userId="6f382d6e-e27a-4b44-aef1-f43b9e70ebd5" providerId="ADAL" clId="{0C8F6498-51F3-4BC4-99F7-37686ED3AAC9}" dt="2025-03-05T19:44:10.377" v="5730" actId="1036"/>
          <ac:picMkLst>
            <pc:docMk/>
            <pc:sldMk cId="2662687263" sldId="2147482599"/>
            <ac:picMk id="33" creationId="{1CE3459C-3860-DD7B-9719-E86E14253DC2}"/>
          </ac:picMkLst>
        </pc:picChg>
        <pc:picChg chg="mod">
          <ac:chgData name="Asam, Jolina Katharina" userId="6f382d6e-e27a-4b44-aef1-f43b9e70ebd5" providerId="ADAL" clId="{0C8F6498-51F3-4BC4-99F7-37686ED3AAC9}" dt="2025-03-05T19:45:32.467" v="5777" actId="1035"/>
          <ac:picMkLst>
            <pc:docMk/>
            <pc:sldMk cId="2662687263" sldId="2147482599"/>
            <ac:picMk id="36" creationId="{7297E7B3-7FBE-4DD7-44A4-324EB8DB945A}"/>
          </ac:picMkLst>
        </pc:picChg>
        <pc:picChg chg="mod">
          <ac:chgData name="Asam, Jolina Katharina" userId="6f382d6e-e27a-4b44-aef1-f43b9e70ebd5" providerId="ADAL" clId="{0C8F6498-51F3-4BC4-99F7-37686ED3AAC9}" dt="2025-03-05T19:45:32.467" v="5777" actId="1035"/>
          <ac:picMkLst>
            <pc:docMk/>
            <pc:sldMk cId="2662687263" sldId="2147482599"/>
            <ac:picMk id="38" creationId="{A8954D36-E486-9413-E883-4F4C27016BE2}"/>
          </ac:picMkLst>
        </pc:picChg>
        <pc:picChg chg="mod">
          <ac:chgData name="Asam, Jolina Katharina" userId="6f382d6e-e27a-4b44-aef1-f43b9e70ebd5" providerId="ADAL" clId="{0C8F6498-51F3-4BC4-99F7-37686ED3AAC9}" dt="2025-03-05T19:45:32.467" v="5777" actId="1035"/>
          <ac:picMkLst>
            <pc:docMk/>
            <pc:sldMk cId="2662687263" sldId="2147482599"/>
            <ac:picMk id="39" creationId="{1DC091D3-A6A7-DE3E-5657-233324F21FA7}"/>
          </ac:picMkLst>
        </pc:picChg>
        <pc:cxnChg chg="mod">
          <ac:chgData name="Asam, Jolina Katharina" userId="6f382d6e-e27a-4b44-aef1-f43b9e70ebd5" providerId="ADAL" clId="{0C8F6498-51F3-4BC4-99F7-37686ED3AAC9}" dt="2025-03-05T19:45:32.467" v="5777" actId="1035"/>
          <ac:cxnSpMkLst>
            <pc:docMk/>
            <pc:sldMk cId="2662687263" sldId="2147482599"/>
            <ac:cxnSpMk id="9" creationId="{2F1AD679-3446-0A79-C228-D2E3A9893797}"/>
          </ac:cxnSpMkLst>
        </pc:cxnChg>
        <pc:cxnChg chg="mod">
          <ac:chgData name="Asam, Jolina Katharina" userId="6f382d6e-e27a-4b44-aef1-f43b9e70ebd5" providerId="ADAL" clId="{0C8F6498-51F3-4BC4-99F7-37686ED3AAC9}" dt="2025-03-05T19:45:32.467" v="5777" actId="1035"/>
          <ac:cxnSpMkLst>
            <pc:docMk/>
            <pc:sldMk cId="2662687263" sldId="2147482599"/>
            <ac:cxnSpMk id="10" creationId="{369B7892-BCCA-04CD-FCF9-9E945B809B7E}"/>
          </ac:cxnSpMkLst>
        </pc:cxnChg>
        <pc:cxnChg chg="mod">
          <ac:chgData name="Asam, Jolina Katharina" userId="6f382d6e-e27a-4b44-aef1-f43b9e70ebd5" providerId="ADAL" clId="{0C8F6498-51F3-4BC4-99F7-37686ED3AAC9}" dt="2025-03-05T19:45:32.467" v="5777" actId="1035"/>
          <ac:cxnSpMkLst>
            <pc:docMk/>
            <pc:sldMk cId="2662687263" sldId="2147482599"/>
            <ac:cxnSpMk id="11" creationId="{93A8B580-DBC6-BAFE-DCA8-825C65ED17A5}"/>
          </ac:cxnSpMkLst>
        </pc:cxnChg>
        <pc:cxnChg chg="mod">
          <ac:chgData name="Asam, Jolina Katharina" userId="6f382d6e-e27a-4b44-aef1-f43b9e70ebd5" providerId="ADAL" clId="{0C8F6498-51F3-4BC4-99F7-37686ED3AAC9}" dt="2025-03-05T19:44:10.377" v="5730" actId="1036"/>
          <ac:cxnSpMkLst>
            <pc:docMk/>
            <pc:sldMk cId="2662687263" sldId="2147482599"/>
            <ac:cxnSpMk id="12" creationId="{7C29100F-61B6-D099-8FB7-9534A7BF27A0}"/>
          </ac:cxnSpMkLst>
        </pc:cxnChg>
      </pc:sldChg>
      <pc:sldChg chg="modSp mod">
        <pc:chgData name="Asam, Jolina Katharina" userId="6f382d6e-e27a-4b44-aef1-f43b9e70ebd5" providerId="ADAL" clId="{0C8F6498-51F3-4BC4-99F7-37686ED3AAC9}" dt="2025-03-05T19:44:26.067" v="5752" actId="20577"/>
        <pc:sldMkLst>
          <pc:docMk/>
          <pc:sldMk cId="2676809235" sldId="2147482600"/>
        </pc:sldMkLst>
        <pc:spChg chg="mod">
          <ac:chgData name="Asam, Jolina Katharina" userId="6f382d6e-e27a-4b44-aef1-f43b9e70ebd5" providerId="ADAL" clId="{0C8F6498-51F3-4BC4-99F7-37686ED3AAC9}" dt="2025-03-05T19:44:26.067" v="5752" actId="20577"/>
          <ac:spMkLst>
            <pc:docMk/>
            <pc:sldMk cId="2676809235" sldId="2147482600"/>
            <ac:spMk id="16" creationId="{71A9303A-95BB-D9FE-B177-D109E8E0F339}"/>
          </ac:spMkLst>
        </pc:spChg>
        <pc:spChg chg="mod">
          <ac:chgData name="Asam, Jolina Katharina" userId="6f382d6e-e27a-4b44-aef1-f43b9e70ebd5" providerId="ADAL" clId="{0C8F6498-51F3-4BC4-99F7-37686ED3AAC9}" dt="2025-03-05T18:59:11.054" v="5313" actId="113"/>
          <ac:spMkLst>
            <pc:docMk/>
            <pc:sldMk cId="2676809235" sldId="2147482600"/>
            <ac:spMk id="19" creationId="{D8CE7914-CBBC-5E99-3C4E-C5765617CC71}"/>
          </ac:spMkLst>
        </pc:spChg>
        <pc:spChg chg="mod">
          <ac:chgData name="Asam, Jolina Katharina" userId="6f382d6e-e27a-4b44-aef1-f43b9e70ebd5" providerId="ADAL" clId="{0C8F6498-51F3-4BC4-99F7-37686ED3AAC9}" dt="2025-03-05T14:14:05.316" v="1625" actId="1036"/>
          <ac:spMkLst>
            <pc:docMk/>
            <pc:sldMk cId="2676809235" sldId="2147482600"/>
            <ac:spMk id="20" creationId="{B0D5819D-69F1-A952-719B-C21EBA2347B1}"/>
          </ac:spMkLst>
        </pc:spChg>
        <pc:spChg chg="mod">
          <ac:chgData name="Asam, Jolina Katharina" userId="6f382d6e-e27a-4b44-aef1-f43b9e70ebd5" providerId="ADAL" clId="{0C8F6498-51F3-4BC4-99F7-37686ED3AAC9}" dt="2025-03-05T14:14:05.316" v="1625" actId="1036"/>
          <ac:spMkLst>
            <pc:docMk/>
            <pc:sldMk cId="2676809235" sldId="2147482600"/>
            <ac:spMk id="22" creationId="{24A8C74C-491F-3135-9168-31168889F6C2}"/>
          </ac:spMkLst>
        </pc:spChg>
        <pc:spChg chg="mod">
          <ac:chgData name="Asam, Jolina Katharina" userId="6f382d6e-e27a-4b44-aef1-f43b9e70ebd5" providerId="ADAL" clId="{0C8F6498-51F3-4BC4-99F7-37686ED3AAC9}" dt="2025-03-05T14:14:05.316" v="1625" actId="1036"/>
          <ac:spMkLst>
            <pc:docMk/>
            <pc:sldMk cId="2676809235" sldId="2147482600"/>
            <ac:spMk id="23" creationId="{3195ABAB-67CE-F714-1604-528A4C8CEAA4}"/>
          </ac:spMkLst>
        </pc:spChg>
        <pc:spChg chg="mod">
          <ac:chgData name="Asam, Jolina Katharina" userId="6f382d6e-e27a-4b44-aef1-f43b9e70ebd5" providerId="ADAL" clId="{0C8F6498-51F3-4BC4-99F7-37686ED3AAC9}" dt="2025-03-05T18:59:18.831" v="5314" actId="113"/>
          <ac:spMkLst>
            <pc:docMk/>
            <pc:sldMk cId="2676809235" sldId="2147482600"/>
            <ac:spMk id="25" creationId="{3AF7F11E-CC97-D96C-595A-28C6B90225CE}"/>
          </ac:spMkLst>
        </pc:spChg>
        <pc:spChg chg="mod">
          <ac:chgData name="Asam, Jolina Katharina" userId="6f382d6e-e27a-4b44-aef1-f43b9e70ebd5" providerId="ADAL" clId="{0C8F6498-51F3-4BC4-99F7-37686ED3AAC9}" dt="2025-03-05T14:14:05.316" v="1625" actId="1036"/>
          <ac:spMkLst>
            <pc:docMk/>
            <pc:sldMk cId="2676809235" sldId="2147482600"/>
            <ac:spMk id="26" creationId="{6A581ED3-601C-A044-A72C-7EED9696B2DB}"/>
          </ac:spMkLst>
        </pc:spChg>
        <pc:spChg chg="mod">
          <ac:chgData name="Asam, Jolina Katharina" userId="6f382d6e-e27a-4b44-aef1-f43b9e70ebd5" providerId="ADAL" clId="{0C8F6498-51F3-4BC4-99F7-37686ED3AAC9}" dt="2025-03-05T14:14:05.316" v="1625" actId="1036"/>
          <ac:spMkLst>
            <pc:docMk/>
            <pc:sldMk cId="2676809235" sldId="2147482600"/>
            <ac:spMk id="28" creationId="{AADF7B53-9E4C-8056-7221-86277A45CD44}"/>
          </ac:spMkLst>
        </pc:spChg>
        <pc:spChg chg="mod">
          <ac:chgData name="Asam, Jolina Katharina" userId="6f382d6e-e27a-4b44-aef1-f43b9e70ebd5" providerId="ADAL" clId="{0C8F6498-51F3-4BC4-99F7-37686ED3AAC9}" dt="2025-03-05T14:14:05.316" v="1625" actId="1036"/>
          <ac:spMkLst>
            <pc:docMk/>
            <pc:sldMk cId="2676809235" sldId="2147482600"/>
            <ac:spMk id="29" creationId="{FFCD6AA0-DC23-0E27-AE73-415D18660094}"/>
          </ac:spMkLst>
        </pc:spChg>
        <pc:spChg chg="mod">
          <ac:chgData name="Asam, Jolina Katharina" userId="6f382d6e-e27a-4b44-aef1-f43b9e70ebd5" providerId="ADAL" clId="{0C8F6498-51F3-4BC4-99F7-37686ED3AAC9}" dt="2025-03-05T14:28:44.050" v="1734" actId="20577"/>
          <ac:spMkLst>
            <pc:docMk/>
            <pc:sldMk cId="2676809235" sldId="2147482600"/>
            <ac:spMk id="31" creationId="{223E6373-1FD2-8938-AFF2-CBED861BB861}"/>
          </ac:spMkLst>
        </pc:spChg>
        <pc:spChg chg="mod">
          <ac:chgData name="Asam, Jolina Katharina" userId="6f382d6e-e27a-4b44-aef1-f43b9e70ebd5" providerId="ADAL" clId="{0C8F6498-51F3-4BC4-99F7-37686ED3AAC9}" dt="2025-03-05T14:28:48.405" v="1745" actId="1035"/>
          <ac:spMkLst>
            <pc:docMk/>
            <pc:sldMk cId="2676809235" sldId="2147482600"/>
            <ac:spMk id="32" creationId="{9828C3F1-4E39-BBB9-603A-D4A23446A554}"/>
          </ac:spMkLst>
        </pc:spChg>
        <pc:spChg chg="mod">
          <ac:chgData name="Asam, Jolina Katharina" userId="6f382d6e-e27a-4b44-aef1-f43b9e70ebd5" providerId="ADAL" clId="{0C8F6498-51F3-4BC4-99F7-37686ED3AAC9}" dt="2025-03-05T19:44:19.193" v="5738" actId="20577"/>
          <ac:spMkLst>
            <pc:docMk/>
            <pc:sldMk cId="2676809235" sldId="2147482600"/>
            <ac:spMk id="34" creationId="{D4588552-0F6F-D87D-A7FD-8FDCAEBA242F}"/>
          </ac:spMkLst>
        </pc:spChg>
        <pc:spChg chg="mod">
          <ac:chgData name="Asam, Jolina Katharina" userId="6f382d6e-e27a-4b44-aef1-f43b9e70ebd5" providerId="ADAL" clId="{0C8F6498-51F3-4BC4-99F7-37686ED3AAC9}" dt="2025-03-05T14:28:48.405" v="1745" actId="1035"/>
          <ac:spMkLst>
            <pc:docMk/>
            <pc:sldMk cId="2676809235" sldId="2147482600"/>
            <ac:spMk id="35" creationId="{2E057132-9E88-C186-8B26-2DDE5A5CE540}"/>
          </ac:spMkLst>
        </pc:spChg>
        <pc:spChg chg="mod">
          <ac:chgData name="Asam, Jolina Katharina" userId="6f382d6e-e27a-4b44-aef1-f43b9e70ebd5" providerId="ADAL" clId="{0C8F6498-51F3-4BC4-99F7-37686ED3AAC9}" dt="2025-03-05T18:59:25.995" v="5315" actId="113"/>
          <ac:spMkLst>
            <pc:docMk/>
            <pc:sldMk cId="2676809235" sldId="2147482600"/>
            <ac:spMk id="37" creationId="{D3581E4D-BB4A-7910-DCB5-51234CCD2082}"/>
          </ac:spMkLst>
        </pc:spChg>
        <pc:picChg chg="mod">
          <ac:chgData name="Asam, Jolina Katharina" userId="6f382d6e-e27a-4b44-aef1-f43b9e70ebd5" providerId="ADAL" clId="{0C8F6498-51F3-4BC4-99F7-37686ED3AAC9}" dt="2025-03-05T14:14:05.316" v="1625" actId="1036"/>
          <ac:picMkLst>
            <pc:docMk/>
            <pc:sldMk cId="2676809235" sldId="2147482600"/>
            <ac:picMk id="24" creationId="{44CF7219-F01E-1ABC-B92F-2EF3E6C0AA0E}"/>
          </ac:picMkLst>
        </pc:picChg>
        <pc:picChg chg="mod">
          <ac:chgData name="Asam, Jolina Katharina" userId="6f382d6e-e27a-4b44-aef1-f43b9e70ebd5" providerId="ADAL" clId="{0C8F6498-51F3-4BC4-99F7-37686ED3AAC9}" dt="2025-03-05T14:14:05.316" v="1625" actId="1036"/>
          <ac:picMkLst>
            <pc:docMk/>
            <pc:sldMk cId="2676809235" sldId="2147482600"/>
            <ac:picMk id="27" creationId="{A60BCC5A-BCF3-5877-6E83-56979B33DD5F}"/>
          </ac:picMkLst>
        </pc:picChg>
        <pc:picChg chg="mod">
          <ac:chgData name="Asam, Jolina Katharina" userId="6f382d6e-e27a-4b44-aef1-f43b9e70ebd5" providerId="ADAL" clId="{0C8F6498-51F3-4BC4-99F7-37686ED3AAC9}" dt="2025-03-05T14:14:05.316" v="1625" actId="1036"/>
          <ac:picMkLst>
            <pc:docMk/>
            <pc:sldMk cId="2676809235" sldId="2147482600"/>
            <ac:picMk id="30" creationId="{907E10D2-0D33-9743-EE1F-6466B8B0B823}"/>
          </ac:picMkLst>
        </pc:picChg>
        <pc:picChg chg="mod">
          <ac:chgData name="Asam, Jolina Katharina" userId="6f382d6e-e27a-4b44-aef1-f43b9e70ebd5" providerId="ADAL" clId="{0C8F6498-51F3-4BC4-99F7-37686ED3AAC9}" dt="2025-03-05T14:14:05.316" v="1625" actId="1036"/>
          <ac:picMkLst>
            <pc:docMk/>
            <pc:sldMk cId="2676809235" sldId="2147482600"/>
            <ac:picMk id="33" creationId="{ECD68F4E-8C06-5907-B75B-0C825E47FC4D}"/>
          </ac:picMkLst>
        </pc:picChg>
        <pc:picChg chg="mod">
          <ac:chgData name="Asam, Jolina Katharina" userId="6f382d6e-e27a-4b44-aef1-f43b9e70ebd5" providerId="ADAL" clId="{0C8F6498-51F3-4BC4-99F7-37686ED3AAC9}" dt="2025-03-05T14:28:48.405" v="1745" actId="1035"/>
          <ac:picMkLst>
            <pc:docMk/>
            <pc:sldMk cId="2676809235" sldId="2147482600"/>
            <ac:picMk id="36" creationId="{833A1094-DDB9-FD63-B011-09D9853A9E4D}"/>
          </ac:picMkLst>
        </pc:picChg>
        <pc:picChg chg="mod">
          <ac:chgData name="Asam, Jolina Katharina" userId="6f382d6e-e27a-4b44-aef1-f43b9e70ebd5" providerId="ADAL" clId="{0C8F6498-51F3-4BC4-99F7-37686ED3AAC9}" dt="2025-03-05T14:28:48.405" v="1745" actId="1035"/>
          <ac:picMkLst>
            <pc:docMk/>
            <pc:sldMk cId="2676809235" sldId="2147482600"/>
            <ac:picMk id="38" creationId="{81250524-7ACE-7A0A-23A4-9F278C1DDB90}"/>
          </ac:picMkLst>
        </pc:picChg>
        <pc:cxnChg chg="mod">
          <ac:chgData name="Asam, Jolina Katharina" userId="6f382d6e-e27a-4b44-aef1-f43b9e70ebd5" providerId="ADAL" clId="{0C8F6498-51F3-4BC4-99F7-37686ED3AAC9}" dt="2025-03-05T14:28:48.405" v="1745" actId="1035"/>
          <ac:cxnSpMkLst>
            <pc:docMk/>
            <pc:sldMk cId="2676809235" sldId="2147482600"/>
            <ac:cxnSpMk id="9" creationId="{2F1AD679-3446-0A79-C228-D2E3A9893797}"/>
          </ac:cxnSpMkLst>
        </pc:cxnChg>
        <pc:cxnChg chg="mod">
          <ac:chgData name="Asam, Jolina Katharina" userId="6f382d6e-e27a-4b44-aef1-f43b9e70ebd5" providerId="ADAL" clId="{0C8F6498-51F3-4BC4-99F7-37686ED3AAC9}" dt="2025-03-05T14:28:48.405" v="1745" actId="1035"/>
          <ac:cxnSpMkLst>
            <pc:docMk/>
            <pc:sldMk cId="2676809235" sldId="2147482600"/>
            <ac:cxnSpMk id="10" creationId="{369B7892-BCCA-04CD-FCF9-9E945B809B7E}"/>
          </ac:cxnSpMkLst>
        </pc:cxnChg>
        <pc:cxnChg chg="mod">
          <ac:chgData name="Asam, Jolina Katharina" userId="6f382d6e-e27a-4b44-aef1-f43b9e70ebd5" providerId="ADAL" clId="{0C8F6498-51F3-4BC4-99F7-37686ED3AAC9}" dt="2025-03-05T14:14:05.316" v="1625" actId="1036"/>
          <ac:cxnSpMkLst>
            <pc:docMk/>
            <pc:sldMk cId="2676809235" sldId="2147482600"/>
            <ac:cxnSpMk id="11" creationId="{93A8B580-DBC6-BAFE-DCA8-825C65ED17A5}"/>
          </ac:cxnSpMkLst>
        </pc:cxnChg>
        <pc:cxnChg chg="mod">
          <ac:chgData name="Asam, Jolina Katharina" userId="6f382d6e-e27a-4b44-aef1-f43b9e70ebd5" providerId="ADAL" clId="{0C8F6498-51F3-4BC4-99F7-37686ED3AAC9}" dt="2025-03-05T14:14:05.316" v="1625" actId="1036"/>
          <ac:cxnSpMkLst>
            <pc:docMk/>
            <pc:sldMk cId="2676809235" sldId="2147482600"/>
            <ac:cxnSpMk id="12" creationId="{7C29100F-61B6-D099-8FB7-9534A7BF27A0}"/>
          </ac:cxnSpMkLst>
        </pc:cxnChg>
        <pc:cxnChg chg="mod">
          <ac:chgData name="Asam, Jolina Katharina" userId="6f382d6e-e27a-4b44-aef1-f43b9e70ebd5" providerId="ADAL" clId="{0C8F6498-51F3-4BC4-99F7-37686ED3AAC9}" dt="2025-03-05T14:14:05.316" v="1625" actId="1036"/>
          <ac:cxnSpMkLst>
            <pc:docMk/>
            <pc:sldMk cId="2676809235" sldId="2147482600"/>
            <ac:cxnSpMk id="13" creationId="{2231C7CB-87EE-41DB-915C-B913F7C77FB1}"/>
          </ac:cxnSpMkLst>
        </pc:cxnChg>
        <pc:cxnChg chg="mod">
          <ac:chgData name="Asam, Jolina Katharina" userId="6f382d6e-e27a-4b44-aef1-f43b9e70ebd5" providerId="ADAL" clId="{0C8F6498-51F3-4BC4-99F7-37686ED3AAC9}" dt="2025-03-05T14:14:05.316" v="1625" actId="1036"/>
          <ac:cxnSpMkLst>
            <pc:docMk/>
            <pc:sldMk cId="2676809235" sldId="2147482600"/>
            <ac:cxnSpMk id="14" creationId="{C4E7A8FD-6175-8F3E-BA29-58924B33BE67}"/>
          </ac:cxnSpMkLst>
        </pc:cxnChg>
      </pc:sldChg>
      <pc:sldChg chg="modSp mod">
        <pc:chgData name="Asam, Jolina Katharina" userId="6f382d6e-e27a-4b44-aef1-f43b9e70ebd5" providerId="ADAL" clId="{0C8F6498-51F3-4BC4-99F7-37686ED3AAC9}" dt="2025-03-05T19:47:06.282" v="5875" actId="20577"/>
        <pc:sldMkLst>
          <pc:docMk/>
          <pc:sldMk cId="2343376179" sldId="2147482601"/>
        </pc:sldMkLst>
        <pc:spChg chg="mod">
          <ac:chgData name="Asam, Jolina Katharina" userId="6f382d6e-e27a-4b44-aef1-f43b9e70ebd5" providerId="ADAL" clId="{0C8F6498-51F3-4BC4-99F7-37686ED3AAC9}" dt="2025-03-05T15:30:58.002" v="2960" actId="207"/>
          <ac:spMkLst>
            <pc:docMk/>
            <pc:sldMk cId="2343376179" sldId="2147482601"/>
            <ac:spMk id="16" creationId="{71A9303A-95BB-D9FE-B177-D109E8E0F339}"/>
          </ac:spMkLst>
        </pc:spChg>
        <pc:spChg chg="mod">
          <ac:chgData name="Asam, Jolina Katharina" userId="6f382d6e-e27a-4b44-aef1-f43b9e70ebd5" providerId="ADAL" clId="{0C8F6498-51F3-4BC4-99F7-37686ED3AAC9}" dt="2025-03-05T14:40:27.403" v="1834" actId="20577"/>
          <ac:spMkLst>
            <pc:docMk/>
            <pc:sldMk cId="2343376179" sldId="2147482601"/>
            <ac:spMk id="19" creationId="{D8CE7914-CBBC-5E99-3C4E-C5765617CC71}"/>
          </ac:spMkLst>
        </pc:spChg>
        <pc:spChg chg="mod">
          <ac:chgData name="Asam, Jolina Katharina" userId="6f382d6e-e27a-4b44-aef1-f43b9e70ebd5" providerId="ADAL" clId="{0C8F6498-51F3-4BC4-99F7-37686ED3AAC9}" dt="2025-03-05T14:41:01.681" v="1842" actId="1036"/>
          <ac:spMkLst>
            <pc:docMk/>
            <pc:sldMk cId="2343376179" sldId="2147482601"/>
            <ac:spMk id="20" creationId="{B0D5819D-69F1-A952-719B-C21EBA2347B1}"/>
          </ac:spMkLst>
        </pc:spChg>
        <pc:spChg chg="mod">
          <ac:chgData name="Asam, Jolina Katharina" userId="6f382d6e-e27a-4b44-aef1-f43b9e70ebd5" providerId="ADAL" clId="{0C8F6498-51F3-4BC4-99F7-37686ED3AAC9}" dt="2025-03-05T19:47:06.282" v="5875" actId="20577"/>
          <ac:spMkLst>
            <pc:docMk/>
            <pc:sldMk cId="2343376179" sldId="2147482601"/>
            <ac:spMk id="22" creationId="{24A8C74C-491F-3135-9168-31168889F6C2}"/>
          </ac:spMkLst>
        </pc:spChg>
        <pc:spChg chg="mod">
          <ac:chgData name="Asam, Jolina Katharina" userId="6f382d6e-e27a-4b44-aef1-f43b9e70ebd5" providerId="ADAL" clId="{0C8F6498-51F3-4BC4-99F7-37686ED3AAC9}" dt="2025-03-05T14:42:38.795" v="1899" actId="1035"/>
          <ac:spMkLst>
            <pc:docMk/>
            <pc:sldMk cId="2343376179" sldId="2147482601"/>
            <ac:spMk id="23" creationId="{3195ABAB-67CE-F714-1604-528A4C8CEAA4}"/>
          </ac:spMkLst>
        </pc:spChg>
        <pc:spChg chg="mod">
          <ac:chgData name="Asam, Jolina Katharina" userId="6f382d6e-e27a-4b44-aef1-f43b9e70ebd5" providerId="ADAL" clId="{0C8F6498-51F3-4BC4-99F7-37686ED3AAC9}" dt="2025-03-05T14:49:51.386" v="2290" actId="20577"/>
          <ac:spMkLst>
            <pc:docMk/>
            <pc:sldMk cId="2343376179" sldId="2147482601"/>
            <ac:spMk id="25" creationId="{3AF7F11E-CC97-D96C-595A-28C6B90225CE}"/>
          </ac:spMkLst>
        </pc:spChg>
        <pc:spChg chg="mod">
          <ac:chgData name="Asam, Jolina Katharina" userId="6f382d6e-e27a-4b44-aef1-f43b9e70ebd5" providerId="ADAL" clId="{0C8F6498-51F3-4BC4-99F7-37686ED3AAC9}" dt="2025-03-05T14:49:58.252" v="2293" actId="1036"/>
          <ac:spMkLst>
            <pc:docMk/>
            <pc:sldMk cId="2343376179" sldId="2147482601"/>
            <ac:spMk id="26" creationId="{6A581ED3-601C-A044-A72C-7EED9696B2DB}"/>
          </ac:spMkLst>
        </pc:spChg>
        <pc:spChg chg="mod">
          <ac:chgData name="Asam, Jolina Katharina" userId="6f382d6e-e27a-4b44-aef1-f43b9e70ebd5" providerId="ADAL" clId="{0C8F6498-51F3-4BC4-99F7-37686ED3AAC9}" dt="2025-03-05T14:56:51.656" v="2635" actId="13926"/>
          <ac:spMkLst>
            <pc:docMk/>
            <pc:sldMk cId="2343376179" sldId="2147482601"/>
            <ac:spMk id="28" creationId="{AADF7B53-9E4C-8056-7221-86277A45CD44}"/>
          </ac:spMkLst>
        </pc:spChg>
        <pc:spChg chg="mod">
          <ac:chgData name="Asam, Jolina Katharina" userId="6f382d6e-e27a-4b44-aef1-f43b9e70ebd5" providerId="ADAL" clId="{0C8F6498-51F3-4BC4-99F7-37686ED3AAC9}" dt="2025-03-05T14:59:09.177" v="2708" actId="1035"/>
          <ac:spMkLst>
            <pc:docMk/>
            <pc:sldMk cId="2343376179" sldId="2147482601"/>
            <ac:spMk id="29" creationId="{FFCD6AA0-DC23-0E27-AE73-415D18660094}"/>
          </ac:spMkLst>
        </pc:spChg>
        <pc:spChg chg="mod">
          <ac:chgData name="Asam, Jolina Katharina" userId="6f382d6e-e27a-4b44-aef1-f43b9e70ebd5" providerId="ADAL" clId="{0C8F6498-51F3-4BC4-99F7-37686ED3AAC9}" dt="2025-03-05T15:04:57.317" v="2892" actId="20577"/>
          <ac:spMkLst>
            <pc:docMk/>
            <pc:sldMk cId="2343376179" sldId="2147482601"/>
            <ac:spMk id="31" creationId="{223E6373-1FD2-8938-AFF2-CBED861BB861}"/>
          </ac:spMkLst>
        </pc:spChg>
        <pc:spChg chg="mod">
          <ac:chgData name="Asam, Jolina Katharina" userId="6f382d6e-e27a-4b44-aef1-f43b9e70ebd5" providerId="ADAL" clId="{0C8F6498-51F3-4BC4-99F7-37686ED3AAC9}" dt="2025-03-05T15:05:05.675" v="2908" actId="1036"/>
          <ac:spMkLst>
            <pc:docMk/>
            <pc:sldMk cId="2343376179" sldId="2147482601"/>
            <ac:spMk id="32" creationId="{9828C3F1-4E39-BBB9-603A-D4A23446A554}"/>
          </ac:spMkLst>
        </pc:spChg>
        <pc:spChg chg="mod">
          <ac:chgData name="Asam, Jolina Katharina" userId="6f382d6e-e27a-4b44-aef1-f43b9e70ebd5" providerId="ADAL" clId="{0C8F6498-51F3-4BC4-99F7-37686ED3AAC9}" dt="2025-03-05T15:06:01.990" v="2927" actId="13926"/>
          <ac:spMkLst>
            <pc:docMk/>
            <pc:sldMk cId="2343376179" sldId="2147482601"/>
            <ac:spMk id="34" creationId="{D4588552-0F6F-D87D-A7FD-8FDCAEBA242F}"/>
          </ac:spMkLst>
        </pc:spChg>
        <pc:picChg chg="mod">
          <ac:chgData name="Asam, Jolina Katharina" userId="6f382d6e-e27a-4b44-aef1-f43b9e70ebd5" providerId="ADAL" clId="{0C8F6498-51F3-4BC4-99F7-37686ED3AAC9}" dt="2025-03-05T14:41:01.681" v="1842" actId="1036"/>
          <ac:picMkLst>
            <pc:docMk/>
            <pc:sldMk cId="2343376179" sldId="2147482601"/>
            <ac:picMk id="27" creationId="{AC0C1B9B-2369-0F7A-1A51-9B7B7818FA3E}"/>
          </ac:picMkLst>
        </pc:picChg>
        <pc:picChg chg="mod">
          <ac:chgData name="Asam, Jolina Katharina" userId="6f382d6e-e27a-4b44-aef1-f43b9e70ebd5" providerId="ADAL" clId="{0C8F6498-51F3-4BC4-99F7-37686ED3AAC9}" dt="2025-03-05T14:59:09.177" v="2708" actId="1035"/>
          <ac:picMkLst>
            <pc:docMk/>
            <pc:sldMk cId="2343376179" sldId="2147482601"/>
            <ac:picMk id="30" creationId="{5ABF83A8-2E22-4BF6-E846-7AAC0C9FE94F}"/>
          </ac:picMkLst>
        </pc:picChg>
        <pc:picChg chg="mod">
          <ac:chgData name="Asam, Jolina Katharina" userId="6f382d6e-e27a-4b44-aef1-f43b9e70ebd5" providerId="ADAL" clId="{0C8F6498-51F3-4BC4-99F7-37686ED3AAC9}" dt="2025-03-05T15:05:05.675" v="2908" actId="1036"/>
          <ac:picMkLst>
            <pc:docMk/>
            <pc:sldMk cId="2343376179" sldId="2147482601"/>
            <ac:picMk id="33" creationId="{32413D8C-BA54-EBFC-D301-0466BA349889}"/>
          </ac:picMkLst>
        </pc:picChg>
        <pc:picChg chg="mod">
          <ac:chgData name="Asam, Jolina Katharina" userId="6f382d6e-e27a-4b44-aef1-f43b9e70ebd5" providerId="ADAL" clId="{0C8F6498-51F3-4BC4-99F7-37686ED3AAC9}" dt="2025-03-05T14:49:58.252" v="2293" actId="1036"/>
          <ac:picMkLst>
            <pc:docMk/>
            <pc:sldMk cId="2343376179" sldId="2147482601"/>
            <ac:picMk id="36" creationId="{479BF45B-8D50-3389-6150-F9F4A1E8E2B4}"/>
          </ac:picMkLst>
        </pc:picChg>
        <pc:picChg chg="mod">
          <ac:chgData name="Asam, Jolina Katharina" userId="6f382d6e-e27a-4b44-aef1-f43b9e70ebd5" providerId="ADAL" clId="{0C8F6498-51F3-4BC4-99F7-37686ED3AAC9}" dt="2025-03-05T14:42:38.795" v="1899" actId="1035"/>
          <ac:picMkLst>
            <pc:docMk/>
            <pc:sldMk cId="2343376179" sldId="2147482601"/>
            <ac:picMk id="38" creationId="{C6D32B7D-65A7-EFCF-0D5D-62DBA22BC506}"/>
          </ac:picMkLst>
        </pc:picChg>
        <pc:cxnChg chg="mod">
          <ac:chgData name="Asam, Jolina Katharina" userId="6f382d6e-e27a-4b44-aef1-f43b9e70ebd5" providerId="ADAL" clId="{0C8F6498-51F3-4BC4-99F7-37686ED3AAC9}" dt="2025-03-05T15:05:05.675" v="2908" actId="1036"/>
          <ac:cxnSpMkLst>
            <pc:docMk/>
            <pc:sldMk cId="2343376179" sldId="2147482601"/>
            <ac:cxnSpMk id="10" creationId="{369B7892-BCCA-04CD-FCF9-9E945B809B7E}"/>
          </ac:cxnSpMkLst>
        </pc:cxnChg>
        <pc:cxnChg chg="mod">
          <ac:chgData name="Asam, Jolina Katharina" userId="6f382d6e-e27a-4b44-aef1-f43b9e70ebd5" providerId="ADAL" clId="{0C8F6498-51F3-4BC4-99F7-37686ED3AAC9}" dt="2025-03-05T14:59:09.177" v="2708" actId="1035"/>
          <ac:cxnSpMkLst>
            <pc:docMk/>
            <pc:sldMk cId="2343376179" sldId="2147482601"/>
            <ac:cxnSpMk id="11" creationId="{93A8B580-DBC6-BAFE-DCA8-825C65ED17A5}"/>
          </ac:cxnSpMkLst>
        </pc:cxnChg>
        <pc:cxnChg chg="mod">
          <ac:chgData name="Asam, Jolina Katharina" userId="6f382d6e-e27a-4b44-aef1-f43b9e70ebd5" providerId="ADAL" clId="{0C8F6498-51F3-4BC4-99F7-37686ED3AAC9}" dt="2025-03-05T14:49:58.252" v="2293" actId="1036"/>
          <ac:cxnSpMkLst>
            <pc:docMk/>
            <pc:sldMk cId="2343376179" sldId="2147482601"/>
            <ac:cxnSpMk id="12" creationId="{7C29100F-61B6-D099-8FB7-9534A7BF27A0}"/>
          </ac:cxnSpMkLst>
        </pc:cxnChg>
        <pc:cxnChg chg="mod">
          <ac:chgData name="Asam, Jolina Katharina" userId="6f382d6e-e27a-4b44-aef1-f43b9e70ebd5" providerId="ADAL" clId="{0C8F6498-51F3-4BC4-99F7-37686ED3AAC9}" dt="2025-03-05T14:42:38.795" v="1899" actId="1035"/>
          <ac:cxnSpMkLst>
            <pc:docMk/>
            <pc:sldMk cId="2343376179" sldId="2147482601"/>
            <ac:cxnSpMk id="13" creationId="{2231C7CB-87EE-41DB-915C-B913F7C77FB1}"/>
          </ac:cxnSpMkLst>
        </pc:cxnChg>
        <pc:cxnChg chg="mod">
          <ac:chgData name="Asam, Jolina Katharina" userId="6f382d6e-e27a-4b44-aef1-f43b9e70ebd5" providerId="ADAL" clId="{0C8F6498-51F3-4BC4-99F7-37686ED3AAC9}" dt="2025-03-05T14:41:01.681" v="1842" actId="1036"/>
          <ac:cxnSpMkLst>
            <pc:docMk/>
            <pc:sldMk cId="2343376179" sldId="2147482601"/>
            <ac:cxnSpMk id="14" creationId="{C4E7A8FD-6175-8F3E-BA29-58924B33BE67}"/>
          </ac:cxnSpMkLst>
        </pc:cxnChg>
      </pc:sldChg>
      <pc:sldChg chg="modSp mod">
        <pc:chgData name="Asam, Jolina Katharina" userId="6f382d6e-e27a-4b44-aef1-f43b9e70ebd5" providerId="ADAL" clId="{0C8F6498-51F3-4BC4-99F7-37686ED3AAC9}" dt="2025-03-05T19:47:14.353" v="5892" actId="20577"/>
        <pc:sldMkLst>
          <pc:docMk/>
          <pc:sldMk cId="2899946351" sldId="2147482602"/>
        </pc:sldMkLst>
        <pc:spChg chg="mod">
          <ac:chgData name="Asam, Jolina Katharina" userId="6f382d6e-e27a-4b44-aef1-f43b9e70ebd5" providerId="ADAL" clId="{0C8F6498-51F3-4BC4-99F7-37686ED3AAC9}" dt="2025-03-05T16:45:25.622" v="4353" actId="20577"/>
          <ac:spMkLst>
            <pc:docMk/>
            <pc:sldMk cId="2899946351" sldId="2147482602"/>
            <ac:spMk id="16" creationId="{71A9303A-95BB-D9FE-B177-D109E8E0F339}"/>
          </ac:spMkLst>
        </pc:spChg>
        <pc:spChg chg="mod">
          <ac:chgData name="Asam, Jolina Katharina" userId="6f382d6e-e27a-4b44-aef1-f43b9e70ebd5" providerId="ADAL" clId="{0C8F6498-51F3-4BC4-99F7-37686ED3AAC9}" dt="2025-03-05T15:34:37.388" v="3012" actId="20577"/>
          <ac:spMkLst>
            <pc:docMk/>
            <pc:sldMk cId="2899946351" sldId="2147482602"/>
            <ac:spMk id="19" creationId="{D8CE7914-CBBC-5E99-3C4E-C5765617CC71}"/>
          </ac:spMkLst>
        </pc:spChg>
        <pc:spChg chg="mod">
          <ac:chgData name="Asam, Jolina Katharina" userId="6f382d6e-e27a-4b44-aef1-f43b9e70ebd5" providerId="ADAL" clId="{0C8F6498-51F3-4BC4-99F7-37686ED3AAC9}" dt="2025-03-05T15:32:08.528" v="3004" actId="1036"/>
          <ac:spMkLst>
            <pc:docMk/>
            <pc:sldMk cId="2899946351" sldId="2147482602"/>
            <ac:spMk id="20" creationId="{B0D5819D-69F1-A952-719B-C21EBA2347B1}"/>
          </ac:spMkLst>
        </pc:spChg>
        <pc:spChg chg="mod">
          <ac:chgData name="Asam, Jolina Katharina" userId="6f382d6e-e27a-4b44-aef1-f43b9e70ebd5" providerId="ADAL" clId="{0C8F6498-51F3-4BC4-99F7-37686ED3AAC9}" dt="2025-03-05T15:35:53.266" v="3062" actId="20577"/>
          <ac:spMkLst>
            <pc:docMk/>
            <pc:sldMk cId="2899946351" sldId="2147482602"/>
            <ac:spMk id="22" creationId="{24A8C74C-491F-3135-9168-31168889F6C2}"/>
          </ac:spMkLst>
        </pc:spChg>
        <pc:spChg chg="mod">
          <ac:chgData name="Asam, Jolina Katharina" userId="6f382d6e-e27a-4b44-aef1-f43b9e70ebd5" providerId="ADAL" clId="{0C8F6498-51F3-4BC4-99F7-37686ED3AAC9}" dt="2025-03-05T15:35:59.647" v="3073" actId="1036"/>
          <ac:spMkLst>
            <pc:docMk/>
            <pc:sldMk cId="2899946351" sldId="2147482602"/>
            <ac:spMk id="23" creationId="{3195ABAB-67CE-F714-1604-528A4C8CEAA4}"/>
          </ac:spMkLst>
        </pc:spChg>
        <pc:spChg chg="mod">
          <ac:chgData name="Asam, Jolina Katharina" userId="6f382d6e-e27a-4b44-aef1-f43b9e70ebd5" providerId="ADAL" clId="{0C8F6498-51F3-4BC4-99F7-37686ED3AAC9}" dt="2025-03-05T15:35:59.647" v="3073" actId="1036"/>
          <ac:spMkLst>
            <pc:docMk/>
            <pc:sldMk cId="2899946351" sldId="2147482602"/>
            <ac:spMk id="25" creationId="{3AF7F11E-CC97-D96C-595A-28C6B90225CE}"/>
          </ac:spMkLst>
        </pc:spChg>
        <pc:spChg chg="mod">
          <ac:chgData name="Asam, Jolina Katharina" userId="6f382d6e-e27a-4b44-aef1-f43b9e70ebd5" providerId="ADAL" clId="{0C8F6498-51F3-4BC4-99F7-37686ED3AAC9}" dt="2025-03-05T15:35:59.647" v="3073" actId="1036"/>
          <ac:spMkLst>
            <pc:docMk/>
            <pc:sldMk cId="2899946351" sldId="2147482602"/>
            <ac:spMk id="26" creationId="{6A581ED3-601C-A044-A72C-7EED9696B2DB}"/>
          </ac:spMkLst>
        </pc:spChg>
        <pc:spChg chg="mod">
          <ac:chgData name="Asam, Jolina Katharina" userId="6f382d6e-e27a-4b44-aef1-f43b9e70ebd5" providerId="ADAL" clId="{0C8F6498-51F3-4BC4-99F7-37686ED3AAC9}" dt="2025-03-05T16:48:49.564" v="4429"/>
          <ac:spMkLst>
            <pc:docMk/>
            <pc:sldMk cId="2899946351" sldId="2147482602"/>
            <ac:spMk id="28" creationId="{AADF7B53-9E4C-8056-7221-86277A45CD44}"/>
          </ac:spMkLst>
        </pc:spChg>
        <pc:spChg chg="mod">
          <ac:chgData name="Asam, Jolina Katharina" userId="6f382d6e-e27a-4b44-aef1-f43b9e70ebd5" providerId="ADAL" clId="{0C8F6498-51F3-4BC4-99F7-37686ED3AAC9}" dt="2025-03-05T16:48:57.355" v="4438" actId="1035"/>
          <ac:spMkLst>
            <pc:docMk/>
            <pc:sldMk cId="2899946351" sldId="2147482602"/>
            <ac:spMk id="29" creationId="{FFCD6AA0-DC23-0E27-AE73-415D18660094}"/>
          </ac:spMkLst>
        </pc:spChg>
        <pc:spChg chg="mod">
          <ac:chgData name="Asam, Jolina Katharina" userId="6f382d6e-e27a-4b44-aef1-f43b9e70ebd5" providerId="ADAL" clId="{0C8F6498-51F3-4BC4-99F7-37686ED3AAC9}" dt="2025-03-05T16:48:57.355" v="4438" actId="1035"/>
          <ac:spMkLst>
            <pc:docMk/>
            <pc:sldMk cId="2899946351" sldId="2147482602"/>
            <ac:spMk id="31" creationId="{223E6373-1FD2-8938-AFF2-CBED861BB861}"/>
          </ac:spMkLst>
        </pc:spChg>
        <pc:spChg chg="mod">
          <ac:chgData name="Asam, Jolina Katharina" userId="6f382d6e-e27a-4b44-aef1-f43b9e70ebd5" providerId="ADAL" clId="{0C8F6498-51F3-4BC4-99F7-37686ED3AAC9}" dt="2025-03-05T16:48:57.355" v="4438" actId="1035"/>
          <ac:spMkLst>
            <pc:docMk/>
            <pc:sldMk cId="2899946351" sldId="2147482602"/>
            <ac:spMk id="32" creationId="{9828C3F1-4E39-BBB9-603A-D4A23446A554}"/>
          </ac:spMkLst>
        </pc:spChg>
        <pc:spChg chg="mod">
          <ac:chgData name="Asam, Jolina Katharina" userId="6f382d6e-e27a-4b44-aef1-f43b9e70ebd5" providerId="ADAL" clId="{0C8F6498-51F3-4BC4-99F7-37686ED3AAC9}" dt="2025-03-05T19:47:14.353" v="5892" actId="20577"/>
          <ac:spMkLst>
            <pc:docMk/>
            <pc:sldMk cId="2899946351" sldId="2147482602"/>
            <ac:spMk id="34" creationId="{D4588552-0F6F-D87D-A7FD-8FDCAEBA242F}"/>
          </ac:spMkLst>
        </pc:spChg>
        <pc:spChg chg="mod">
          <ac:chgData name="Asam, Jolina Katharina" userId="6f382d6e-e27a-4b44-aef1-f43b9e70ebd5" providerId="ADAL" clId="{0C8F6498-51F3-4BC4-99F7-37686ED3AAC9}" dt="2025-03-05T16:48:57.355" v="4438" actId="1035"/>
          <ac:spMkLst>
            <pc:docMk/>
            <pc:sldMk cId="2899946351" sldId="2147482602"/>
            <ac:spMk id="35" creationId="{2E057132-9E88-C186-8B26-2DDE5A5CE540}"/>
          </ac:spMkLst>
        </pc:spChg>
        <pc:spChg chg="mod">
          <ac:chgData name="Asam, Jolina Katharina" userId="6f382d6e-e27a-4b44-aef1-f43b9e70ebd5" providerId="ADAL" clId="{0C8F6498-51F3-4BC4-99F7-37686ED3AAC9}" dt="2025-03-05T16:48:57.355" v="4438" actId="1035"/>
          <ac:spMkLst>
            <pc:docMk/>
            <pc:sldMk cId="2899946351" sldId="2147482602"/>
            <ac:spMk id="37" creationId="{D3581E4D-BB4A-7910-DCB5-51234CCD2082}"/>
          </ac:spMkLst>
        </pc:spChg>
        <pc:spChg chg="mod">
          <ac:chgData name="Asam, Jolina Katharina" userId="6f382d6e-e27a-4b44-aef1-f43b9e70ebd5" providerId="ADAL" clId="{0C8F6498-51F3-4BC4-99F7-37686ED3AAC9}" dt="2025-03-05T16:48:57.355" v="4438" actId="1035"/>
          <ac:spMkLst>
            <pc:docMk/>
            <pc:sldMk cId="2899946351" sldId="2147482602"/>
            <ac:spMk id="42" creationId="{D13D6B7A-FA8A-69D2-6571-FD413755C62F}"/>
          </ac:spMkLst>
        </pc:spChg>
        <pc:spChg chg="mod">
          <ac:chgData name="Asam, Jolina Katharina" userId="6f382d6e-e27a-4b44-aef1-f43b9e70ebd5" providerId="ADAL" clId="{0C8F6498-51F3-4BC4-99F7-37686ED3AAC9}" dt="2025-03-05T16:48:57.355" v="4438" actId="1035"/>
          <ac:spMkLst>
            <pc:docMk/>
            <pc:sldMk cId="2899946351" sldId="2147482602"/>
            <ac:spMk id="43" creationId="{54DBB385-1D47-2F89-7F71-529A9E04ECC2}"/>
          </ac:spMkLst>
        </pc:spChg>
        <pc:picChg chg="mod">
          <ac:chgData name="Asam, Jolina Katharina" userId="6f382d6e-e27a-4b44-aef1-f43b9e70ebd5" providerId="ADAL" clId="{0C8F6498-51F3-4BC4-99F7-37686ED3AAC9}" dt="2025-03-05T15:35:59.647" v="3073" actId="1036"/>
          <ac:picMkLst>
            <pc:docMk/>
            <pc:sldMk cId="2899946351" sldId="2147482602"/>
            <ac:picMk id="24" creationId="{720B3301-6724-AE48-7FBE-C76855C096FE}"/>
          </ac:picMkLst>
        </pc:picChg>
        <pc:picChg chg="mod">
          <ac:chgData name="Asam, Jolina Katharina" userId="6f382d6e-e27a-4b44-aef1-f43b9e70ebd5" providerId="ADAL" clId="{0C8F6498-51F3-4BC4-99F7-37686ED3AAC9}" dt="2025-03-05T16:48:57.355" v="4438" actId="1035"/>
          <ac:picMkLst>
            <pc:docMk/>
            <pc:sldMk cId="2899946351" sldId="2147482602"/>
            <ac:picMk id="27" creationId="{75D50C15-18AB-D146-CB4E-0D8B4B85AFA1}"/>
          </ac:picMkLst>
        </pc:picChg>
        <pc:picChg chg="mod">
          <ac:chgData name="Asam, Jolina Katharina" userId="6f382d6e-e27a-4b44-aef1-f43b9e70ebd5" providerId="ADAL" clId="{0C8F6498-51F3-4BC4-99F7-37686ED3AAC9}" dt="2025-03-05T16:48:57.355" v="4438" actId="1035"/>
          <ac:picMkLst>
            <pc:docMk/>
            <pc:sldMk cId="2899946351" sldId="2147482602"/>
            <ac:picMk id="33" creationId="{16AF7F86-450D-3936-DE25-9F7A7B1BD9FD}"/>
          </ac:picMkLst>
        </pc:picChg>
        <pc:picChg chg="mod">
          <ac:chgData name="Asam, Jolina Katharina" userId="6f382d6e-e27a-4b44-aef1-f43b9e70ebd5" providerId="ADAL" clId="{0C8F6498-51F3-4BC4-99F7-37686ED3AAC9}" dt="2025-03-05T15:35:59.647" v="3073" actId="1036"/>
          <ac:picMkLst>
            <pc:docMk/>
            <pc:sldMk cId="2899946351" sldId="2147482602"/>
            <ac:picMk id="36" creationId="{9346E6EF-7D97-1FB6-58CE-CB881178ADD3}"/>
          </ac:picMkLst>
        </pc:picChg>
        <pc:picChg chg="mod">
          <ac:chgData name="Asam, Jolina Katharina" userId="6f382d6e-e27a-4b44-aef1-f43b9e70ebd5" providerId="ADAL" clId="{0C8F6498-51F3-4BC4-99F7-37686ED3AAC9}" dt="2025-03-05T15:32:08.528" v="3004" actId="1036"/>
          <ac:picMkLst>
            <pc:docMk/>
            <pc:sldMk cId="2899946351" sldId="2147482602"/>
            <ac:picMk id="38" creationId="{ED7C1E50-3FB3-40CB-8202-44318D3AC44F}"/>
          </ac:picMkLst>
        </pc:picChg>
        <pc:picChg chg="mod">
          <ac:chgData name="Asam, Jolina Katharina" userId="6f382d6e-e27a-4b44-aef1-f43b9e70ebd5" providerId="ADAL" clId="{0C8F6498-51F3-4BC4-99F7-37686ED3AAC9}" dt="2025-03-05T16:48:57.355" v="4438" actId="1035"/>
          <ac:picMkLst>
            <pc:docMk/>
            <pc:sldMk cId="2899946351" sldId="2147482602"/>
            <ac:picMk id="39" creationId="{1CD32D5E-777C-0F82-ED10-69B9958EBB38}"/>
          </ac:picMkLst>
        </pc:picChg>
        <pc:picChg chg="mod">
          <ac:chgData name="Asam, Jolina Katharina" userId="6f382d6e-e27a-4b44-aef1-f43b9e70ebd5" providerId="ADAL" clId="{0C8F6498-51F3-4BC4-99F7-37686ED3AAC9}" dt="2025-03-05T16:48:57.355" v="4438" actId="1035"/>
          <ac:picMkLst>
            <pc:docMk/>
            <pc:sldMk cId="2899946351" sldId="2147482602"/>
            <ac:picMk id="40" creationId="{05F7C73B-C28A-36DE-EC38-013CCD69817F}"/>
          </ac:picMkLst>
        </pc:picChg>
        <pc:cxnChg chg="mod">
          <ac:chgData name="Asam, Jolina Katharina" userId="6f382d6e-e27a-4b44-aef1-f43b9e70ebd5" providerId="ADAL" clId="{0C8F6498-51F3-4BC4-99F7-37686ED3AAC9}" dt="2025-03-05T16:48:57.355" v="4438" actId="1035"/>
          <ac:cxnSpMkLst>
            <pc:docMk/>
            <pc:sldMk cId="2899946351" sldId="2147482602"/>
            <ac:cxnSpMk id="9" creationId="{2F1AD679-3446-0A79-C228-D2E3A9893797}"/>
          </ac:cxnSpMkLst>
        </pc:cxnChg>
        <pc:cxnChg chg="mod">
          <ac:chgData name="Asam, Jolina Katharina" userId="6f382d6e-e27a-4b44-aef1-f43b9e70ebd5" providerId="ADAL" clId="{0C8F6498-51F3-4BC4-99F7-37686ED3AAC9}" dt="2025-03-05T16:48:57.355" v="4438" actId="1035"/>
          <ac:cxnSpMkLst>
            <pc:docMk/>
            <pc:sldMk cId="2899946351" sldId="2147482602"/>
            <ac:cxnSpMk id="10" creationId="{369B7892-BCCA-04CD-FCF9-9E945B809B7E}"/>
          </ac:cxnSpMkLst>
        </pc:cxnChg>
        <pc:cxnChg chg="mod">
          <ac:chgData name="Asam, Jolina Katharina" userId="6f382d6e-e27a-4b44-aef1-f43b9e70ebd5" providerId="ADAL" clId="{0C8F6498-51F3-4BC4-99F7-37686ED3AAC9}" dt="2025-03-05T16:48:57.355" v="4438" actId="1035"/>
          <ac:cxnSpMkLst>
            <pc:docMk/>
            <pc:sldMk cId="2899946351" sldId="2147482602"/>
            <ac:cxnSpMk id="11" creationId="{93A8B580-DBC6-BAFE-DCA8-825C65ED17A5}"/>
          </ac:cxnSpMkLst>
        </pc:cxnChg>
        <pc:cxnChg chg="mod">
          <ac:chgData name="Asam, Jolina Katharina" userId="6f382d6e-e27a-4b44-aef1-f43b9e70ebd5" providerId="ADAL" clId="{0C8F6498-51F3-4BC4-99F7-37686ED3AAC9}" dt="2025-03-05T15:35:59.647" v="3073" actId="1036"/>
          <ac:cxnSpMkLst>
            <pc:docMk/>
            <pc:sldMk cId="2899946351" sldId="2147482602"/>
            <ac:cxnSpMk id="12" creationId="{7C29100F-61B6-D099-8FB7-9534A7BF27A0}"/>
          </ac:cxnSpMkLst>
        </pc:cxnChg>
        <pc:cxnChg chg="mod">
          <ac:chgData name="Asam, Jolina Katharina" userId="6f382d6e-e27a-4b44-aef1-f43b9e70ebd5" providerId="ADAL" clId="{0C8F6498-51F3-4BC4-99F7-37686ED3AAC9}" dt="2025-03-05T15:35:59.647" v="3073" actId="1036"/>
          <ac:cxnSpMkLst>
            <pc:docMk/>
            <pc:sldMk cId="2899946351" sldId="2147482602"/>
            <ac:cxnSpMk id="13" creationId="{2231C7CB-87EE-41DB-915C-B913F7C77FB1}"/>
          </ac:cxnSpMkLst>
        </pc:cxnChg>
        <pc:cxnChg chg="mod">
          <ac:chgData name="Asam, Jolina Katharina" userId="6f382d6e-e27a-4b44-aef1-f43b9e70ebd5" providerId="ADAL" clId="{0C8F6498-51F3-4BC4-99F7-37686ED3AAC9}" dt="2025-03-05T15:32:08.528" v="3004" actId="1036"/>
          <ac:cxnSpMkLst>
            <pc:docMk/>
            <pc:sldMk cId="2899946351" sldId="2147482602"/>
            <ac:cxnSpMk id="14" creationId="{C4E7A8FD-6175-8F3E-BA29-58924B33BE67}"/>
          </ac:cxnSpMkLst>
        </pc:cxnChg>
        <pc:cxnChg chg="mod">
          <ac:chgData name="Asam, Jolina Katharina" userId="6f382d6e-e27a-4b44-aef1-f43b9e70ebd5" providerId="ADAL" clId="{0C8F6498-51F3-4BC4-99F7-37686ED3AAC9}" dt="2025-03-05T16:48:57.355" v="4438" actId="1035"/>
          <ac:cxnSpMkLst>
            <pc:docMk/>
            <pc:sldMk cId="2899946351" sldId="2147482602"/>
            <ac:cxnSpMk id="41" creationId="{915203BF-AE74-C977-53E1-15CDD7A60A4E}"/>
          </ac:cxnSpMkLst>
        </pc:cxnChg>
      </pc:sldChg>
      <pc:sldChg chg="modSp mod">
        <pc:chgData name="Asam, Jolina Katharina" userId="6f382d6e-e27a-4b44-aef1-f43b9e70ebd5" providerId="ADAL" clId="{0C8F6498-51F3-4BC4-99F7-37686ED3AAC9}" dt="2025-03-05T19:21:55.710" v="5467" actId="1035"/>
        <pc:sldMkLst>
          <pc:docMk/>
          <pc:sldMk cId="136679111" sldId="2147482603"/>
        </pc:sldMkLst>
        <pc:spChg chg="mod">
          <ac:chgData name="Asam, Jolina Katharina" userId="6f382d6e-e27a-4b44-aef1-f43b9e70ebd5" providerId="ADAL" clId="{0C8F6498-51F3-4BC4-99F7-37686ED3AAC9}" dt="2025-03-05T16:43:02.207" v="4148" actId="20577"/>
          <ac:spMkLst>
            <pc:docMk/>
            <pc:sldMk cId="136679111" sldId="2147482603"/>
            <ac:spMk id="16" creationId="{71A9303A-95BB-D9FE-B177-D109E8E0F339}"/>
          </ac:spMkLst>
        </pc:spChg>
        <pc:spChg chg="mod">
          <ac:chgData name="Asam, Jolina Katharina" userId="6f382d6e-e27a-4b44-aef1-f43b9e70ebd5" providerId="ADAL" clId="{0C8F6498-51F3-4BC4-99F7-37686ED3AAC9}" dt="2025-03-05T16:42:51.851" v="4138" actId="20577"/>
          <ac:spMkLst>
            <pc:docMk/>
            <pc:sldMk cId="136679111" sldId="2147482603"/>
            <ac:spMk id="19" creationId="{D8CE7914-CBBC-5E99-3C4E-C5765617CC71}"/>
          </ac:spMkLst>
        </pc:spChg>
        <pc:spChg chg="mod">
          <ac:chgData name="Asam, Jolina Katharina" userId="6f382d6e-e27a-4b44-aef1-f43b9e70ebd5" providerId="ADAL" clId="{0C8F6498-51F3-4BC4-99F7-37686ED3AAC9}" dt="2025-03-05T16:26:02.506" v="4080" actId="20577"/>
          <ac:spMkLst>
            <pc:docMk/>
            <pc:sldMk cId="136679111" sldId="2147482603"/>
            <ac:spMk id="22" creationId="{24A8C74C-491F-3135-9168-31168889F6C2}"/>
          </ac:spMkLst>
        </pc:spChg>
        <pc:spChg chg="mod">
          <ac:chgData name="Asam, Jolina Katharina" userId="6f382d6e-e27a-4b44-aef1-f43b9e70ebd5" providerId="ADAL" clId="{0C8F6498-51F3-4BC4-99F7-37686ED3AAC9}" dt="2025-03-05T16:26:09.159" v="4093" actId="1035"/>
          <ac:spMkLst>
            <pc:docMk/>
            <pc:sldMk cId="136679111" sldId="2147482603"/>
            <ac:spMk id="23" creationId="{3195ABAB-67CE-F714-1604-528A4C8CEAA4}"/>
          </ac:spMkLst>
        </pc:spChg>
        <pc:spChg chg="mod">
          <ac:chgData name="Asam, Jolina Katharina" userId="6f382d6e-e27a-4b44-aef1-f43b9e70ebd5" providerId="ADAL" clId="{0C8F6498-51F3-4BC4-99F7-37686ED3AAC9}" dt="2025-03-05T16:42:03.411" v="4103" actId="20577"/>
          <ac:spMkLst>
            <pc:docMk/>
            <pc:sldMk cId="136679111" sldId="2147482603"/>
            <ac:spMk id="25" creationId="{3AF7F11E-CC97-D96C-595A-28C6B90225CE}"/>
          </ac:spMkLst>
        </pc:spChg>
        <pc:spChg chg="mod">
          <ac:chgData name="Asam, Jolina Katharina" userId="6f382d6e-e27a-4b44-aef1-f43b9e70ebd5" providerId="ADAL" clId="{0C8F6498-51F3-4BC4-99F7-37686ED3AAC9}" dt="2025-03-05T16:26:09.159" v="4093" actId="1035"/>
          <ac:spMkLst>
            <pc:docMk/>
            <pc:sldMk cId="136679111" sldId="2147482603"/>
            <ac:spMk id="26" creationId="{6A581ED3-601C-A044-A72C-7EED9696B2DB}"/>
          </ac:spMkLst>
        </pc:spChg>
        <pc:spChg chg="mod">
          <ac:chgData name="Asam, Jolina Katharina" userId="6f382d6e-e27a-4b44-aef1-f43b9e70ebd5" providerId="ADAL" clId="{0C8F6498-51F3-4BC4-99F7-37686ED3AAC9}" dt="2025-03-05T16:26:09.159" v="4093" actId="1035"/>
          <ac:spMkLst>
            <pc:docMk/>
            <pc:sldMk cId="136679111" sldId="2147482603"/>
            <ac:spMk id="28" creationId="{AADF7B53-9E4C-8056-7221-86277A45CD44}"/>
          </ac:spMkLst>
        </pc:spChg>
        <pc:spChg chg="mod">
          <ac:chgData name="Asam, Jolina Katharina" userId="6f382d6e-e27a-4b44-aef1-f43b9e70ebd5" providerId="ADAL" clId="{0C8F6498-51F3-4BC4-99F7-37686ED3AAC9}" dt="2025-03-05T16:26:09.159" v="4093" actId="1035"/>
          <ac:spMkLst>
            <pc:docMk/>
            <pc:sldMk cId="136679111" sldId="2147482603"/>
            <ac:spMk id="29" creationId="{FFCD6AA0-DC23-0E27-AE73-415D18660094}"/>
          </ac:spMkLst>
        </pc:spChg>
        <pc:spChg chg="mod">
          <ac:chgData name="Asam, Jolina Katharina" userId="6f382d6e-e27a-4b44-aef1-f43b9e70ebd5" providerId="ADAL" clId="{0C8F6498-51F3-4BC4-99F7-37686ED3AAC9}" dt="2025-03-05T16:26:09.159" v="4093" actId="1035"/>
          <ac:spMkLst>
            <pc:docMk/>
            <pc:sldMk cId="136679111" sldId="2147482603"/>
            <ac:spMk id="31" creationId="{223E6373-1FD2-8938-AFF2-CBED861BB861}"/>
          </ac:spMkLst>
        </pc:spChg>
        <pc:spChg chg="mod">
          <ac:chgData name="Asam, Jolina Katharina" userId="6f382d6e-e27a-4b44-aef1-f43b9e70ebd5" providerId="ADAL" clId="{0C8F6498-51F3-4BC4-99F7-37686ED3AAC9}" dt="2025-03-05T16:26:09.159" v="4093" actId="1035"/>
          <ac:spMkLst>
            <pc:docMk/>
            <pc:sldMk cId="136679111" sldId="2147482603"/>
            <ac:spMk id="32" creationId="{9828C3F1-4E39-BBB9-603A-D4A23446A554}"/>
          </ac:spMkLst>
        </pc:spChg>
        <pc:spChg chg="mod">
          <ac:chgData name="Asam, Jolina Katharina" userId="6f382d6e-e27a-4b44-aef1-f43b9e70ebd5" providerId="ADAL" clId="{0C8F6498-51F3-4BC4-99F7-37686ED3AAC9}" dt="2025-03-05T19:21:51.469" v="5457" actId="113"/>
          <ac:spMkLst>
            <pc:docMk/>
            <pc:sldMk cId="136679111" sldId="2147482603"/>
            <ac:spMk id="34" creationId="{D4588552-0F6F-D87D-A7FD-8FDCAEBA242F}"/>
          </ac:spMkLst>
        </pc:spChg>
        <pc:spChg chg="mod">
          <ac:chgData name="Asam, Jolina Katharina" userId="6f382d6e-e27a-4b44-aef1-f43b9e70ebd5" providerId="ADAL" clId="{0C8F6498-51F3-4BC4-99F7-37686ED3AAC9}" dt="2025-03-05T19:21:55.710" v="5467" actId="1035"/>
          <ac:spMkLst>
            <pc:docMk/>
            <pc:sldMk cId="136679111" sldId="2147482603"/>
            <ac:spMk id="35" creationId="{2E057132-9E88-C186-8B26-2DDE5A5CE540}"/>
          </ac:spMkLst>
        </pc:spChg>
        <pc:spChg chg="mod">
          <ac:chgData name="Asam, Jolina Katharina" userId="6f382d6e-e27a-4b44-aef1-f43b9e70ebd5" providerId="ADAL" clId="{0C8F6498-51F3-4BC4-99F7-37686ED3AAC9}" dt="2025-03-05T19:21:55.710" v="5467" actId="1035"/>
          <ac:spMkLst>
            <pc:docMk/>
            <pc:sldMk cId="136679111" sldId="2147482603"/>
            <ac:spMk id="37" creationId="{D3581E4D-BB4A-7910-DCB5-51234CCD2082}"/>
          </ac:spMkLst>
        </pc:spChg>
        <pc:picChg chg="mod">
          <ac:chgData name="Asam, Jolina Katharina" userId="6f382d6e-e27a-4b44-aef1-f43b9e70ebd5" providerId="ADAL" clId="{0C8F6498-51F3-4BC4-99F7-37686ED3AAC9}" dt="2025-03-05T19:21:55.710" v="5467" actId="1035"/>
          <ac:picMkLst>
            <pc:docMk/>
            <pc:sldMk cId="136679111" sldId="2147482603"/>
            <ac:picMk id="21" creationId="{AD78523E-55B6-2C92-F033-F0FB073EDCE1}"/>
          </ac:picMkLst>
        </pc:picChg>
        <pc:picChg chg="mod">
          <ac:chgData name="Asam, Jolina Katharina" userId="6f382d6e-e27a-4b44-aef1-f43b9e70ebd5" providerId="ADAL" clId="{0C8F6498-51F3-4BC4-99F7-37686ED3AAC9}" dt="2025-03-05T16:26:09.159" v="4093" actId="1035"/>
          <ac:picMkLst>
            <pc:docMk/>
            <pc:sldMk cId="136679111" sldId="2147482603"/>
            <ac:picMk id="24" creationId="{E9CF52DC-A23B-7065-DD83-DA2261D64DBB}"/>
          </ac:picMkLst>
        </pc:picChg>
        <pc:picChg chg="mod">
          <ac:chgData name="Asam, Jolina Katharina" userId="6f382d6e-e27a-4b44-aef1-f43b9e70ebd5" providerId="ADAL" clId="{0C8F6498-51F3-4BC4-99F7-37686ED3AAC9}" dt="2025-03-05T16:26:09.159" v="4093" actId="1035"/>
          <ac:picMkLst>
            <pc:docMk/>
            <pc:sldMk cId="136679111" sldId="2147482603"/>
            <ac:picMk id="27" creationId="{37421A8A-C7BB-BED1-3FA6-31D4CFFFB783}"/>
          </ac:picMkLst>
        </pc:picChg>
        <pc:picChg chg="mod">
          <ac:chgData name="Asam, Jolina Katharina" userId="6f382d6e-e27a-4b44-aef1-f43b9e70ebd5" providerId="ADAL" clId="{0C8F6498-51F3-4BC4-99F7-37686ED3AAC9}" dt="2025-03-05T16:26:09.159" v="4093" actId="1035"/>
          <ac:picMkLst>
            <pc:docMk/>
            <pc:sldMk cId="136679111" sldId="2147482603"/>
            <ac:picMk id="30" creationId="{9E293F4D-DBF2-961C-31F6-B65E3A978173}"/>
          </ac:picMkLst>
        </pc:picChg>
        <pc:picChg chg="mod">
          <ac:chgData name="Asam, Jolina Katharina" userId="6f382d6e-e27a-4b44-aef1-f43b9e70ebd5" providerId="ADAL" clId="{0C8F6498-51F3-4BC4-99F7-37686ED3AAC9}" dt="2025-03-05T16:26:09.159" v="4093" actId="1035"/>
          <ac:picMkLst>
            <pc:docMk/>
            <pc:sldMk cId="136679111" sldId="2147482603"/>
            <ac:picMk id="33" creationId="{BDCF08D8-B5A0-6B30-15D5-03F011709A1A}"/>
          </ac:picMkLst>
        </pc:picChg>
        <pc:cxnChg chg="mod">
          <ac:chgData name="Asam, Jolina Katharina" userId="6f382d6e-e27a-4b44-aef1-f43b9e70ebd5" providerId="ADAL" clId="{0C8F6498-51F3-4BC4-99F7-37686ED3AAC9}" dt="2025-03-05T19:21:55.710" v="5467" actId="1035"/>
          <ac:cxnSpMkLst>
            <pc:docMk/>
            <pc:sldMk cId="136679111" sldId="2147482603"/>
            <ac:cxnSpMk id="9" creationId="{2F1AD679-3446-0A79-C228-D2E3A9893797}"/>
          </ac:cxnSpMkLst>
        </pc:cxnChg>
        <pc:cxnChg chg="mod">
          <ac:chgData name="Asam, Jolina Katharina" userId="6f382d6e-e27a-4b44-aef1-f43b9e70ebd5" providerId="ADAL" clId="{0C8F6498-51F3-4BC4-99F7-37686ED3AAC9}" dt="2025-03-05T16:26:09.159" v="4093" actId="1035"/>
          <ac:cxnSpMkLst>
            <pc:docMk/>
            <pc:sldMk cId="136679111" sldId="2147482603"/>
            <ac:cxnSpMk id="10" creationId="{369B7892-BCCA-04CD-FCF9-9E945B809B7E}"/>
          </ac:cxnSpMkLst>
        </pc:cxnChg>
        <pc:cxnChg chg="mod">
          <ac:chgData name="Asam, Jolina Katharina" userId="6f382d6e-e27a-4b44-aef1-f43b9e70ebd5" providerId="ADAL" clId="{0C8F6498-51F3-4BC4-99F7-37686ED3AAC9}" dt="2025-03-05T16:26:09.159" v="4093" actId="1035"/>
          <ac:cxnSpMkLst>
            <pc:docMk/>
            <pc:sldMk cId="136679111" sldId="2147482603"/>
            <ac:cxnSpMk id="11" creationId="{93A8B580-DBC6-BAFE-DCA8-825C65ED17A5}"/>
          </ac:cxnSpMkLst>
        </pc:cxnChg>
        <pc:cxnChg chg="mod">
          <ac:chgData name="Asam, Jolina Katharina" userId="6f382d6e-e27a-4b44-aef1-f43b9e70ebd5" providerId="ADAL" clId="{0C8F6498-51F3-4BC4-99F7-37686ED3AAC9}" dt="2025-03-05T16:26:09.159" v="4093" actId="1035"/>
          <ac:cxnSpMkLst>
            <pc:docMk/>
            <pc:sldMk cId="136679111" sldId="2147482603"/>
            <ac:cxnSpMk id="12" creationId="{7C29100F-61B6-D099-8FB7-9534A7BF27A0}"/>
          </ac:cxnSpMkLst>
        </pc:cxnChg>
        <pc:cxnChg chg="mod">
          <ac:chgData name="Asam, Jolina Katharina" userId="6f382d6e-e27a-4b44-aef1-f43b9e70ebd5" providerId="ADAL" clId="{0C8F6498-51F3-4BC4-99F7-37686ED3AAC9}" dt="2025-03-05T16:26:09.159" v="4093" actId="1035"/>
          <ac:cxnSpMkLst>
            <pc:docMk/>
            <pc:sldMk cId="136679111" sldId="2147482603"/>
            <ac:cxnSpMk id="13" creationId="{2231C7CB-87EE-41DB-915C-B913F7C77FB1}"/>
          </ac:cxnSpMkLst>
        </pc:cxnChg>
      </pc:sldChg>
      <pc:sldChg chg="modSp mod">
        <pc:chgData name="Asam, Jolina Katharina" userId="6f382d6e-e27a-4b44-aef1-f43b9e70ebd5" providerId="ADAL" clId="{0C8F6498-51F3-4BC4-99F7-37686ED3AAC9}" dt="2025-03-05T19:00:22.031" v="5317" actId="113"/>
        <pc:sldMkLst>
          <pc:docMk/>
          <pc:sldMk cId="3386919135" sldId="2147482604"/>
        </pc:sldMkLst>
        <pc:spChg chg="mod">
          <ac:chgData name="Asam, Jolina Katharina" userId="6f382d6e-e27a-4b44-aef1-f43b9e70ebd5" providerId="ADAL" clId="{0C8F6498-51F3-4BC4-99F7-37686ED3AAC9}" dt="2025-03-05T19:00:22.031" v="5317" actId="113"/>
          <ac:spMkLst>
            <pc:docMk/>
            <pc:sldMk cId="3386919135" sldId="2147482604"/>
            <ac:spMk id="19" creationId="{D8CE7914-CBBC-5E99-3C4E-C5765617CC71}"/>
          </ac:spMkLst>
        </pc:spChg>
      </pc:sldChg>
      <pc:sldChg chg="modSp mod">
        <pc:chgData name="Asam, Jolina Katharina" userId="6f382d6e-e27a-4b44-aef1-f43b9e70ebd5" providerId="ADAL" clId="{0C8F6498-51F3-4BC4-99F7-37686ED3AAC9}" dt="2025-03-05T19:00:36.408" v="5318" actId="113"/>
        <pc:sldMkLst>
          <pc:docMk/>
          <pc:sldMk cId="881330902" sldId="2147482605"/>
        </pc:sldMkLst>
        <pc:spChg chg="mod">
          <ac:chgData name="Asam, Jolina Katharina" userId="6f382d6e-e27a-4b44-aef1-f43b9e70ebd5" providerId="ADAL" clId="{0C8F6498-51F3-4BC4-99F7-37686ED3AAC9}" dt="2025-03-05T19:00:36.408" v="5318" actId="113"/>
          <ac:spMkLst>
            <pc:docMk/>
            <pc:sldMk cId="881330902" sldId="2147482605"/>
            <ac:spMk id="22" creationId="{24A8C74C-491F-3135-9168-31168889F6C2}"/>
          </ac:spMkLst>
        </pc:spChg>
        <pc:spChg chg="mod">
          <ac:chgData name="Asam, Jolina Katharina" userId="6f382d6e-e27a-4b44-aef1-f43b9e70ebd5" providerId="ADAL" clId="{0C8F6498-51F3-4BC4-99F7-37686ED3AAC9}" dt="2025-03-05T18:59:54.599" v="5316" actId="113"/>
          <ac:spMkLst>
            <pc:docMk/>
            <pc:sldMk cId="881330902" sldId="2147482605"/>
            <ac:spMk id="25" creationId="{3AF7F11E-CC97-D96C-595A-28C6B90225CE}"/>
          </ac:spMkLst>
        </pc:spChg>
      </pc:sldChg>
      <pc:sldChg chg="modSp mod">
        <pc:chgData name="Asam, Jolina Katharina" userId="6f382d6e-e27a-4b44-aef1-f43b9e70ebd5" providerId="ADAL" clId="{0C8F6498-51F3-4BC4-99F7-37686ED3AAC9}" dt="2025-03-05T19:01:50.003" v="5325" actId="20577"/>
        <pc:sldMkLst>
          <pc:docMk/>
          <pc:sldMk cId="1987510105" sldId="2147482610"/>
        </pc:sldMkLst>
        <pc:spChg chg="mod">
          <ac:chgData name="Asam, Jolina Katharina" userId="6f382d6e-e27a-4b44-aef1-f43b9e70ebd5" providerId="ADAL" clId="{0C8F6498-51F3-4BC4-99F7-37686ED3AAC9}" dt="2025-03-05T19:01:14.724" v="5320" actId="113"/>
          <ac:spMkLst>
            <pc:docMk/>
            <pc:sldMk cId="1987510105" sldId="2147482610"/>
            <ac:spMk id="19" creationId="{D8CE7914-CBBC-5E99-3C4E-C5765617CC71}"/>
          </ac:spMkLst>
        </pc:spChg>
        <pc:spChg chg="mod">
          <ac:chgData name="Asam, Jolina Katharina" userId="6f382d6e-e27a-4b44-aef1-f43b9e70ebd5" providerId="ADAL" clId="{0C8F6498-51F3-4BC4-99F7-37686ED3AAC9}" dt="2025-03-05T19:01:23.142" v="5321" actId="113"/>
          <ac:spMkLst>
            <pc:docMk/>
            <pc:sldMk cId="1987510105" sldId="2147482610"/>
            <ac:spMk id="25" creationId="{3AF7F11E-CC97-D96C-595A-28C6B90225CE}"/>
          </ac:spMkLst>
        </pc:spChg>
        <pc:spChg chg="mod">
          <ac:chgData name="Asam, Jolina Katharina" userId="6f382d6e-e27a-4b44-aef1-f43b9e70ebd5" providerId="ADAL" clId="{0C8F6498-51F3-4BC4-99F7-37686ED3AAC9}" dt="2025-03-05T19:01:41.439" v="5323" actId="113"/>
          <ac:spMkLst>
            <pc:docMk/>
            <pc:sldMk cId="1987510105" sldId="2147482610"/>
            <ac:spMk id="31" creationId="{223E6373-1FD2-8938-AFF2-CBED861BB861}"/>
          </ac:spMkLst>
        </pc:spChg>
        <pc:spChg chg="mod">
          <ac:chgData name="Asam, Jolina Katharina" userId="6f382d6e-e27a-4b44-aef1-f43b9e70ebd5" providerId="ADAL" clId="{0C8F6498-51F3-4BC4-99F7-37686ED3AAC9}" dt="2025-03-05T19:01:50.003" v="5325" actId="20577"/>
          <ac:spMkLst>
            <pc:docMk/>
            <pc:sldMk cId="1987510105" sldId="2147482610"/>
            <ac:spMk id="37" creationId="{D3581E4D-BB4A-7910-DCB5-51234CCD2082}"/>
          </ac:spMkLst>
        </pc:spChg>
      </pc:sldChg>
      <pc:sldChg chg="modSp mod">
        <pc:chgData name="Asam, Jolina Katharina" userId="6f382d6e-e27a-4b44-aef1-f43b9e70ebd5" providerId="ADAL" clId="{0C8F6498-51F3-4BC4-99F7-37686ED3AAC9}" dt="2025-03-05T19:02:11.528" v="5326" actId="113"/>
        <pc:sldMkLst>
          <pc:docMk/>
          <pc:sldMk cId="962060765" sldId="2147482611"/>
        </pc:sldMkLst>
        <pc:spChg chg="mod">
          <ac:chgData name="Asam, Jolina Katharina" userId="6f382d6e-e27a-4b44-aef1-f43b9e70ebd5" providerId="ADAL" clId="{0C8F6498-51F3-4BC4-99F7-37686ED3AAC9}" dt="2025-03-05T19:02:11.528" v="5326" actId="113"/>
          <ac:spMkLst>
            <pc:docMk/>
            <pc:sldMk cId="962060765" sldId="2147482611"/>
            <ac:spMk id="28" creationId="{AADF7B53-9E4C-8056-7221-86277A45CD44}"/>
          </ac:spMkLst>
        </pc:spChg>
      </pc:sldChg>
      <pc:sldChg chg="modSp mod">
        <pc:chgData name="Asam, Jolina Katharina" userId="6f382d6e-e27a-4b44-aef1-f43b9e70ebd5" providerId="ADAL" clId="{0C8F6498-51F3-4BC4-99F7-37686ED3AAC9}" dt="2025-03-05T12:33:21.464" v="716" actId="20577"/>
        <pc:sldMkLst>
          <pc:docMk/>
          <pc:sldMk cId="3538152459" sldId="2147482612"/>
        </pc:sldMkLst>
        <pc:spChg chg="mod">
          <ac:chgData name="Asam, Jolina Katharina" userId="6f382d6e-e27a-4b44-aef1-f43b9e70ebd5" providerId="ADAL" clId="{0C8F6498-51F3-4BC4-99F7-37686ED3AAC9}" dt="2025-03-05T12:33:21.464" v="716" actId="20577"/>
          <ac:spMkLst>
            <pc:docMk/>
            <pc:sldMk cId="3538152459" sldId="2147482612"/>
            <ac:spMk id="16" creationId="{71A9303A-95BB-D9FE-B177-D109E8E0F339}"/>
          </ac:spMkLst>
        </pc:spChg>
      </pc:sldChg>
      <pc:sldChg chg="modSp mod">
        <pc:chgData name="Asam, Jolina Katharina" userId="6f382d6e-e27a-4b44-aef1-f43b9e70ebd5" providerId="ADAL" clId="{0C8F6498-51F3-4BC4-99F7-37686ED3AAC9}" dt="2025-03-05T19:24:09.360" v="5509" actId="20577"/>
        <pc:sldMkLst>
          <pc:docMk/>
          <pc:sldMk cId="3524780635" sldId="2147482613"/>
        </pc:sldMkLst>
        <pc:spChg chg="mod">
          <ac:chgData name="Asam, Jolina Katharina" userId="6f382d6e-e27a-4b44-aef1-f43b9e70ebd5" providerId="ADAL" clId="{0C8F6498-51F3-4BC4-99F7-37686ED3AAC9}" dt="2025-03-05T19:24:09.360" v="5509" actId="20577"/>
          <ac:spMkLst>
            <pc:docMk/>
            <pc:sldMk cId="3524780635" sldId="2147482613"/>
            <ac:spMk id="25" creationId="{3AF7F11E-CC97-D96C-595A-28C6B90225CE}"/>
          </ac:spMkLst>
        </pc:spChg>
        <pc:spChg chg="mod">
          <ac:chgData name="Asam, Jolina Katharina" userId="6f382d6e-e27a-4b44-aef1-f43b9e70ebd5" providerId="ADAL" clId="{0C8F6498-51F3-4BC4-99F7-37686ED3AAC9}" dt="2025-03-05T19:04:52.460" v="5377" actId="20577"/>
          <ac:spMkLst>
            <pc:docMk/>
            <pc:sldMk cId="3524780635" sldId="2147482613"/>
            <ac:spMk id="34" creationId="{D4588552-0F6F-D87D-A7FD-8FDCAEBA242F}"/>
          </ac:spMkLst>
        </pc:spChg>
        <pc:spChg chg="mod">
          <ac:chgData name="Asam, Jolina Katharina" userId="6f382d6e-e27a-4b44-aef1-f43b9e70ebd5" providerId="ADAL" clId="{0C8F6498-51F3-4BC4-99F7-37686ED3AAC9}" dt="2025-03-05T19:05:01.253" v="5386" actId="1035"/>
          <ac:spMkLst>
            <pc:docMk/>
            <pc:sldMk cId="3524780635" sldId="2147482613"/>
            <ac:spMk id="35" creationId="{2E057132-9E88-C186-8B26-2DDE5A5CE540}"/>
          </ac:spMkLst>
        </pc:spChg>
        <pc:spChg chg="mod">
          <ac:chgData name="Asam, Jolina Katharina" userId="6f382d6e-e27a-4b44-aef1-f43b9e70ebd5" providerId="ADAL" clId="{0C8F6498-51F3-4BC4-99F7-37686ED3AAC9}" dt="2025-03-05T19:05:01.253" v="5386" actId="1035"/>
          <ac:spMkLst>
            <pc:docMk/>
            <pc:sldMk cId="3524780635" sldId="2147482613"/>
            <ac:spMk id="37" creationId="{D3581E4D-BB4A-7910-DCB5-51234CCD2082}"/>
          </ac:spMkLst>
        </pc:spChg>
        <pc:picChg chg="mod">
          <ac:chgData name="Asam, Jolina Katharina" userId="6f382d6e-e27a-4b44-aef1-f43b9e70ebd5" providerId="ADAL" clId="{0C8F6498-51F3-4BC4-99F7-37686ED3AAC9}" dt="2025-03-05T19:05:01.253" v="5386" actId="1035"/>
          <ac:picMkLst>
            <pc:docMk/>
            <pc:sldMk cId="3524780635" sldId="2147482613"/>
            <ac:picMk id="33" creationId="{85223015-9610-7DBC-F13C-D6124FCD9ADB}"/>
          </ac:picMkLst>
        </pc:picChg>
        <pc:cxnChg chg="mod">
          <ac:chgData name="Asam, Jolina Katharina" userId="6f382d6e-e27a-4b44-aef1-f43b9e70ebd5" providerId="ADAL" clId="{0C8F6498-51F3-4BC4-99F7-37686ED3AAC9}" dt="2025-03-05T19:05:01.253" v="5386" actId="1035"/>
          <ac:cxnSpMkLst>
            <pc:docMk/>
            <pc:sldMk cId="3524780635" sldId="2147482613"/>
            <ac:cxnSpMk id="9" creationId="{2F1AD679-3446-0A79-C228-D2E3A9893797}"/>
          </ac:cxnSpMkLst>
        </pc:cxnChg>
      </pc:sldChg>
      <pc:sldChg chg="modSp mod">
        <pc:chgData name="Asam, Jolina Katharina" userId="6f382d6e-e27a-4b44-aef1-f43b9e70ebd5" providerId="ADAL" clId="{0C8F6498-51F3-4BC4-99F7-37686ED3AAC9}" dt="2025-03-05T19:25:00.797" v="5533" actId="1035"/>
        <pc:sldMkLst>
          <pc:docMk/>
          <pc:sldMk cId="3858331246" sldId="2147482614"/>
        </pc:sldMkLst>
        <pc:spChg chg="mod">
          <ac:chgData name="Asam, Jolina Katharina" userId="6f382d6e-e27a-4b44-aef1-f43b9e70ebd5" providerId="ADAL" clId="{0C8F6498-51F3-4BC4-99F7-37686ED3AAC9}" dt="2025-03-05T19:24:29.892" v="5511" actId="20577"/>
          <ac:spMkLst>
            <pc:docMk/>
            <pc:sldMk cId="3858331246" sldId="2147482614"/>
            <ac:spMk id="19" creationId="{D8CE7914-CBBC-5E99-3C4E-C5765617CC71}"/>
          </ac:spMkLst>
        </pc:spChg>
        <pc:spChg chg="mod">
          <ac:chgData name="Asam, Jolina Katharina" userId="6f382d6e-e27a-4b44-aef1-f43b9e70ebd5" providerId="ADAL" clId="{0C8F6498-51F3-4BC4-99F7-37686ED3AAC9}" dt="2025-03-05T19:24:34.453" v="5521" actId="1035"/>
          <ac:spMkLst>
            <pc:docMk/>
            <pc:sldMk cId="3858331246" sldId="2147482614"/>
            <ac:spMk id="20" creationId="{B0D5819D-69F1-A952-719B-C21EBA2347B1}"/>
          </ac:spMkLst>
        </pc:spChg>
        <pc:spChg chg="mod">
          <ac:chgData name="Asam, Jolina Katharina" userId="6f382d6e-e27a-4b44-aef1-f43b9e70ebd5" providerId="ADAL" clId="{0C8F6498-51F3-4BC4-99F7-37686ED3AAC9}" dt="2025-03-05T19:24:55.525" v="5522" actId="20577"/>
          <ac:spMkLst>
            <pc:docMk/>
            <pc:sldMk cId="3858331246" sldId="2147482614"/>
            <ac:spMk id="22" creationId="{24A8C74C-491F-3135-9168-31168889F6C2}"/>
          </ac:spMkLst>
        </pc:spChg>
        <pc:spChg chg="mod">
          <ac:chgData name="Asam, Jolina Katharina" userId="6f382d6e-e27a-4b44-aef1-f43b9e70ebd5" providerId="ADAL" clId="{0C8F6498-51F3-4BC4-99F7-37686ED3AAC9}" dt="2025-03-05T19:25:00.797" v="5533" actId="1035"/>
          <ac:spMkLst>
            <pc:docMk/>
            <pc:sldMk cId="3858331246" sldId="2147482614"/>
            <ac:spMk id="23" creationId="{3195ABAB-67CE-F714-1604-528A4C8CEAA4}"/>
          </ac:spMkLst>
        </pc:spChg>
        <pc:spChg chg="mod">
          <ac:chgData name="Asam, Jolina Katharina" userId="6f382d6e-e27a-4b44-aef1-f43b9e70ebd5" providerId="ADAL" clId="{0C8F6498-51F3-4BC4-99F7-37686ED3AAC9}" dt="2025-03-05T19:25:00.797" v="5533" actId="1035"/>
          <ac:spMkLst>
            <pc:docMk/>
            <pc:sldMk cId="3858331246" sldId="2147482614"/>
            <ac:spMk id="25" creationId="{3AF7F11E-CC97-D96C-595A-28C6B90225CE}"/>
          </ac:spMkLst>
        </pc:spChg>
        <pc:spChg chg="mod">
          <ac:chgData name="Asam, Jolina Katharina" userId="6f382d6e-e27a-4b44-aef1-f43b9e70ebd5" providerId="ADAL" clId="{0C8F6498-51F3-4BC4-99F7-37686ED3AAC9}" dt="2025-03-05T19:25:00.797" v="5533" actId="1035"/>
          <ac:spMkLst>
            <pc:docMk/>
            <pc:sldMk cId="3858331246" sldId="2147482614"/>
            <ac:spMk id="26" creationId="{6A581ED3-601C-A044-A72C-7EED9696B2DB}"/>
          </ac:spMkLst>
        </pc:spChg>
        <pc:spChg chg="mod">
          <ac:chgData name="Asam, Jolina Katharina" userId="6f382d6e-e27a-4b44-aef1-f43b9e70ebd5" providerId="ADAL" clId="{0C8F6498-51F3-4BC4-99F7-37686ED3AAC9}" dt="2025-03-05T19:25:00.797" v="5533" actId="1035"/>
          <ac:spMkLst>
            <pc:docMk/>
            <pc:sldMk cId="3858331246" sldId="2147482614"/>
            <ac:spMk id="28" creationId="{AADF7B53-9E4C-8056-7221-86277A45CD44}"/>
          </ac:spMkLst>
        </pc:spChg>
        <pc:spChg chg="mod">
          <ac:chgData name="Asam, Jolina Katharina" userId="6f382d6e-e27a-4b44-aef1-f43b9e70ebd5" providerId="ADAL" clId="{0C8F6498-51F3-4BC4-99F7-37686ED3AAC9}" dt="2025-03-05T19:25:00.797" v="5533" actId="1035"/>
          <ac:spMkLst>
            <pc:docMk/>
            <pc:sldMk cId="3858331246" sldId="2147482614"/>
            <ac:spMk id="29" creationId="{FFCD6AA0-DC23-0E27-AE73-415D18660094}"/>
          </ac:spMkLst>
        </pc:spChg>
        <pc:spChg chg="mod">
          <ac:chgData name="Asam, Jolina Katharina" userId="6f382d6e-e27a-4b44-aef1-f43b9e70ebd5" providerId="ADAL" clId="{0C8F6498-51F3-4BC4-99F7-37686ED3AAC9}" dt="2025-03-05T19:25:00.797" v="5533" actId="1035"/>
          <ac:spMkLst>
            <pc:docMk/>
            <pc:sldMk cId="3858331246" sldId="2147482614"/>
            <ac:spMk id="31" creationId="{223E6373-1FD2-8938-AFF2-CBED861BB861}"/>
          </ac:spMkLst>
        </pc:spChg>
        <pc:picChg chg="mod">
          <ac:chgData name="Asam, Jolina Katharina" userId="6f382d6e-e27a-4b44-aef1-f43b9e70ebd5" providerId="ADAL" clId="{0C8F6498-51F3-4BC4-99F7-37686ED3AAC9}" dt="2025-03-05T19:24:34.453" v="5521" actId="1035"/>
          <ac:picMkLst>
            <pc:docMk/>
            <pc:sldMk cId="3858331246" sldId="2147482614"/>
            <ac:picMk id="21" creationId="{2883D0C1-F867-7C6B-8552-B08C32B0A946}"/>
          </ac:picMkLst>
        </pc:picChg>
        <pc:picChg chg="mod">
          <ac:chgData name="Asam, Jolina Katharina" userId="6f382d6e-e27a-4b44-aef1-f43b9e70ebd5" providerId="ADAL" clId="{0C8F6498-51F3-4BC4-99F7-37686ED3AAC9}" dt="2025-03-05T19:25:00.797" v="5533" actId="1035"/>
          <ac:picMkLst>
            <pc:docMk/>
            <pc:sldMk cId="3858331246" sldId="2147482614"/>
            <ac:picMk id="27" creationId="{0E9D15C0-BDC7-AA80-B459-2F3A92E27E9C}"/>
          </ac:picMkLst>
        </pc:picChg>
        <pc:picChg chg="mod">
          <ac:chgData name="Asam, Jolina Katharina" userId="6f382d6e-e27a-4b44-aef1-f43b9e70ebd5" providerId="ADAL" clId="{0C8F6498-51F3-4BC4-99F7-37686ED3AAC9}" dt="2025-03-05T19:25:00.797" v="5533" actId="1035"/>
          <ac:picMkLst>
            <pc:docMk/>
            <pc:sldMk cId="3858331246" sldId="2147482614"/>
            <ac:picMk id="30" creationId="{207397C1-EAF9-C107-4E34-DB54DADD09AE}"/>
          </ac:picMkLst>
        </pc:picChg>
        <pc:picChg chg="mod">
          <ac:chgData name="Asam, Jolina Katharina" userId="6f382d6e-e27a-4b44-aef1-f43b9e70ebd5" providerId="ADAL" clId="{0C8F6498-51F3-4BC4-99F7-37686ED3AAC9}" dt="2025-03-05T19:25:00.797" v="5533" actId="1035"/>
          <ac:picMkLst>
            <pc:docMk/>
            <pc:sldMk cId="3858331246" sldId="2147482614"/>
            <ac:picMk id="33" creationId="{9A1D0B33-2CD5-2E2D-56C7-0CFDCEBBEC53}"/>
          </ac:picMkLst>
        </pc:picChg>
        <pc:cxnChg chg="mod">
          <ac:chgData name="Asam, Jolina Katharina" userId="6f382d6e-e27a-4b44-aef1-f43b9e70ebd5" providerId="ADAL" clId="{0C8F6498-51F3-4BC4-99F7-37686ED3AAC9}" dt="2025-03-05T19:25:00.797" v="5533" actId="1035"/>
          <ac:cxnSpMkLst>
            <pc:docMk/>
            <pc:sldMk cId="3858331246" sldId="2147482614"/>
            <ac:cxnSpMk id="11" creationId="{93A8B580-DBC6-BAFE-DCA8-825C65ED17A5}"/>
          </ac:cxnSpMkLst>
        </pc:cxnChg>
        <pc:cxnChg chg="mod">
          <ac:chgData name="Asam, Jolina Katharina" userId="6f382d6e-e27a-4b44-aef1-f43b9e70ebd5" providerId="ADAL" clId="{0C8F6498-51F3-4BC4-99F7-37686ED3AAC9}" dt="2025-03-05T19:25:00.797" v="5533" actId="1035"/>
          <ac:cxnSpMkLst>
            <pc:docMk/>
            <pc:sldMk cId="3858331246" sldId="2147482614"/>
            <ac:cxnSpMk id="12" creationId="{7C29100F-61B6-D099-8FB7-9534A7BF27A0}"/>
          </ac:cxnSpMkLst>
        </pc:cxnChg>
        <pc:cxnChg chg="mod">
          <ac:chgData name="Asam, Jolina Katharina" userId="6f382d6e-e27a-4b44-aef1-f43b9e70ebd5" providerId="ADAL" clId="{0C8F6498-51F3-4BC4-99F7-37686ED3AAC9}" dt="2025-03-05T19:25:00.797" v="5533" actId="1035"/>
          <ac:cxnSpMkLst>
            <pc:docMk/>
            <pc:sldMk cId="3858331246" sldId="2147482614"/>
            <ac:cxnSpMk id="13" creationId="{2231C7CB-87EE-41DB-915C-B913F7C77FB1}"/>
          </ac:cxnSpMkLst>
        </pc:cxnChg>
        <pc:cxnChg chg="mod">
          <ac:chgData name="Asam, Jolina Katharina" userId="6f382d6e-e27a-4b44-aef1-f43b9e70ebd5" providerId="ADAL" clId="{0C8F6498-51F3-4BC4-99F7-37686ED3AAC9}" dt="2025-03-05T19:24:34.453" v="5521" actId="1035"/>
          <ac:cxnSpMkLst>
            <pc:docMk/>
            <pc:sldMk cId="3858331246" sldId="2147482614"/>
            <ac:cxnSpMk id="14" creationId="{C4E7A8FD-6175-8F3E-BA29-58924B33BE67}"/>
          </ac:cxnSpMkLst>
        </pc:cxnChg>
      </pc:sldChg>
      <pc:sldChg chg="modSp mod">
        <pc:chgData name="Asam, Jolina Katharina" userId="6f382d6e-e27a-4b44-aef1-f43b9e70ebd5" providerId="ADAL" clId="{0C8F6498-51F3-4BC4-99F7-37686ED3AAC9}" dt="2025-03-05T19:30:39.071" v="5552" actId="20577"/>
        <pc:sldMkLst>
          <pc:docMk/>
          <pc:sldMk cId="2916895298" sldId="2147482615"/>
        </pc:sldMkLst>
        <pc:spChg chg="mod">
          <ac:chgData name="Asam, Jolina Katharina" userId="6f382d6e-e27a-4b44-aef1-f43b9e70ebd5" providerId="ADAL" clId="{0C8F6498-51F3-4BC4-99F7-37686ED3AAC9}" dt="2025-03-05T19:29:42.556" v="5535" actId="20577"/>
          <ac:spMkLst>
            <pc:docMk/>
            <pc:sldMk cId="2916895298" sldId="2147482615"/>
            <ac:spMk id="16" creationId="{71A9303A-95BB-D9FE-B177-D109E8E0F339}"/>
          </ac:spMkLst>
        </pc:spChg>
        <pc:spChg chg="mod">
          <ac:chgData name="Asam, Jolina Katharina" userId="6f382d6e-e27a-4b44-aef1-f43b9e70ebd5" providerId="ADAL" clId="{0C8F6498-51F3-4BC4-99F7-37686ED3AAC9}" dt="2025-03-05T19:30:39.071" v="5552" actId="20577"/>
          <ac:spMkLst>
            <pc:docMk/>
            <pc:sldMk cId="2916895298" sldId="2147482615"/>
            <ac:spMk id="37" creationId="{D3581E4D-BB4A-7910-DCB5-51234CCD2082}"/>
          </ac:spMkLst>
        </pc:spChg>
      </pc:sldChg>
      <pc:sldChg chg="modSp mod">
        <pc:chgData name="Asam, Jolina Katharina" userId="6f382d6e-e27a-4b44-aef1-f43b9e70ebd5" providerId="ADAL" clId="{0C8F6498-51F3-4BC4-99F7-37686ED3AAC9}" dt="2025-03-05T18:53:52.647" v="5268" actId="113"/>
        <pc:sldMkLst>
          <pc:docMk/>
          <pc:sldMk cId="1917559313" sldId="2147482617"/>
        </pc:sldMkLst>
        <pc:spChg chg="mod">
          <ac:chgData name="Asam, Jolina Katharina" userId="6f382d6e-e27a-4b44-aef1-f43b9e70ebd5" providerId="ADAL" clId="{0C8F6498-51F3-4BC4-99F7-37686ED3AAC9}" dt="2025-03-05T18:53:10.918" v="5259" actId="113"/>
          <ac:spMkLst>
            <pc:docMk/>
            <pc:sldMk cId="1917559313" sldId="2147482617"/>
            <ac:spMk id="19" creationId="{D8CE7914-CBBC-5E99-3C4E-C5765617CC71}"/>
          </ac:spMkLst>
        </pc:spChg>
        <pc:spChg chg="mod">
          <ac:chgData name="Asam, Jolina Katharina" userId="6f382d6e-e27a-4b44-aef1-f43b9e70ebd5" providerId="ADAL" clId="{0C8F6498-51F3-4BC4-99F7-37686ED3AAC9}" dt="2025-03-05T18:53:17.735" v="5260" actId="113"/>
          <ac:spMkLst>
            <pc:docMk/>
            <pc:sldMk cId="1917559313" sldId="2147482617"/>
            <ac:spMk id="22" creationId="{24A8C74C-491F-3135-9168-31168889F6C2}"/>
          </ac:spMkLst>
        </pc:spChg>
        <pc:spChg chg="mod">
          <ac:chgData name="Asam, Jolina Katharina" userId="6f382d6e-e27a-4b44-aef1-f43b9e70ebd5" providerId="ADAL" clId="{0C8F6498-51F3-4BC4-99F7-37686ED3AAC9}" dt="2025-03-05T18:53:35.461" v="5263" actId="113"/>
          <ac:spMkLst>
            <pc:docMk/>
            <pc:sldMk cId="1917559313" sldId="2147482617"/>
            <ac:spMk id="28" creationId="{AADF7B53-9E4C-8056-7221-86277A45CD44}"/>
          </ac:spMkLst>
        </pc:spChg>
        <pc:spChg chg="mod">
          <ac:chgData name="Asam, Jolina Katharina" userId="6f382d6e-e27a-4b44-aef1-f43b9e70ebd5" providerId="ADAL" clId="{0C8F6498-51F3-4BC4-99F7-37686ED3AAC9}" dt="2025-03-05T18:53:52.647" v="5268" actId="113"/>
          <ac:spMkLst>
            <pc:docMk/>
            <pc:sldMk cId="1917559313" sldId="2147482617"/>
            <ac:spMk id="31" creationId="{223E6373-1FD2-8938-AFF2-CBED861BB861}"/>
          </ac:spMkLst>
        </pc:spChg>
        <pc:spChg chg="mod">
          <ac:chgData name="Asam, Jolina Katharina" userId="6f382d6e-e27a-4b44-aef1-f43b9e70ebd5" providerId="ADAL" clId="{0C8F6498-51F3-4BC4-99F7-37686ED3AAC9}" dt="2025-03-05T12:33:29.087" v="717" actId="20577"/>
          <ac:spMkLst>
            <pc:docMk/>
            <pc:sldMk cId="1917559313" sldId="2147482617"/>
            <ac:spMk id="39" creationId="{2F403B54-A756-1072-4E70-F9E82DF08EB2}"/>
          </ac:spMkLst>
        </pc:spChg>
      </pc:sldChg>
      <pc:sldChg chg="modSp mod">
        <pc:chgData name="Asam, Jolina Katharina" userId="6f382d6e-e27a-4b44-aef1-f43b9e70ebd5" providerId="ADAL" clId="{0C8F6498-51F3-4BC4-99F7-37686ED3AAC9}" dt="2025-03-05T12:33:32.248" v="718" actId="20577"/>
        <pc:sldMkLst>
          <pc:docMk/>
          <pc:sldMk cId="3226258099" sldId="2147482618"/>
        </pc:sldMkLst>
        <pc:spChg chg="mod">
          <ac:chgData name="Asam, Jolina Katharina" userId="6f382d6e-e27a-4b44-aef1-f43b9e70ebd5" providerId="ADAL" clId="{0C8F6498-51F3-4BC4-99F7-37686ED3AAC9}" dt="2025-03-05T12:33:32.248" v="718" actId="20577"/>
          <ac:spMkLst>
            <pc:docMk/>
            <pc:sldMk cId="3226258099" sldId="2147482618"/>
            <ac:spMk id="16" creationId="{71A9303A-95BB-D9FE-B177-D109E8E0F339}"/>
          </ac:spMkLst>
        </pc:spChg>
      </pc:sldChg>
      <pc:sldChg chg="modSp mod">
        <pc:chgData name="Asam, Jolina Katharina" userId="6f382d6e-e27a-4b44-aef1-f43b9e70ebd5" providerId="ADAL" clId="{0C8F6498-51F3-4BC4-99F7-37686ED3AAC9}" dt="2025-03-05T18:52:50.549" v="5258" actId="113"/>
        <pc:sldMkLst>
          <pc:docMk/>
          <pc:sldMk cId="3708005198" sldId="2147482619"/>
        </pc:sldMkLst>
        <pc:spChg chg="mod">
          <ac:chgData name="Asam, Jolina Katharina" userId="6f382d6e-e27a-4b44-aef1-f43b9e70ebd5" providerId="ADAL" clId="{0C8F6498-51F3-4BC4-99F7-37686ED3AAC9}" dt="2025-03-05T12:33:34.431" v="719" actId="20577"/>
          <ac:spMkLst>
            <pc:docMk/>
            <pc:sldMk cId="3708005198" sldId="2147482619"/>
            <ac:spMk id="16" creationId="{71A9303A-95BB-D9FE-B177-D109E8E0F339}"/>
          </ac:spMkLst>
        </pc:spChg>
        <pc:spChg chg="mod">
          <ac:chgData name="Asam, Jolina Katharina" userId="6f382d6e-e27a-4b44-aef1-f43b9e70ebd5" providerId="ADAL" clId="{0C8F6498-51F3-4BC4-99F7-37686ED3AAC9}" dt="2025-03-05T18:51:40.494" v="5225" actId="113"/>
          <ac:spMkLst>
            <pc:docMk/>
            <pc:sldMk cId="3708005198" sldId="2147482619"/>
            <ac:spMk id="19" creationId="{D8CE7914-CBBC-5E99-3C4E-C5765617CC71}"/>
          </ac:spMkLst>
        </pc:spChg>
        <pc:spChg chg="mod">
          <ac:chgData name="Asam, Jolina Katharina" userId="6f382d6e-e27a-4b44-aef1-f43b9e70ebd5" providerId="ADAL" clId="{0C8F6498-51F3-4BC4-99F7-37686ED3AAC9}" dt="2025-03-05T18:51:45.187" v="5233" actId="1035"/>
          <ac:spMkLst>
            <pc:docMk/>
            <pc:sldMk cId="3708005198" sldId="2147482619"/>
            <ac:spMk id="23" creationId="{3195ABAB-67CE-F714-1604-528A4C8CEAA4}"/>
          </ac:spMkLst>
        </pc:spChg>
        <pc:spChg chg="mod">
          <ac:chgData name="Asam, Jolina Katharina" userId="6f382d6e-e27a-4b44-aef1-f43b9e70ebd5" providerId="ADAL" clId="{0C8F6498-51F3-4BC4-99F7-37686ED3AAC9}" dt="2025-03-05T18:52:02.510" v="5235" actId="113"/>
          <ac:spMkLst>
            <pc:docMk/>
            <pc:sldMk cId="3708005198" sldId="2147482619"/>
            <ac:spMk id="25" creationId="{3AF7F11E-CC97-D96C-595A-28C6B90225CE}"/>
          </ac:spMkLst>
        </pc:spChg>
        <pc:spChg chg="mod">
          <ac:chgData name="Asam, Jolina Katharina" userId="6f382d6e-e27a-4b44-aef1-f43b9e70ebd5" providerId="ADAL" clId="{0C8F6498-51F3-4BC4-99F7-37686ED3AAC9}" dt="2025-03-05T18:51:45.187" v="5233" actId="1035"/>
          <ac:spMkLst>
            <pc:docMk/>
            <pc:sldMk cId="3708005198" sldId="2147482619"/>
            <ac:spMk id="29" creationId="{FFCD6AA0-DC23-0E27-AE73-415D18660094}"/>
          </ac:spMkLst>
        </pc:spChg>
        <pc:spChg chg="mod">
          <ac:chgData name="Asam, Jolina Katharina" userId="6f382d6e-e27a-4b44-aef1-f43b9e70ebd5" providerId="ADAL" clId="{0C8F6498-51F3-4BC4-99F7-37686ED3AAC9}" dt="2025-03-05T18:52:43.655" v="5256" actId="113"/>
          <ac:spMkLst>
            <pc:docMk/>
            <pc:sldMk cId="3708005198" sldId="2147482619"/>
            <ac:spMk id="31" creationId="{223E6373-1FD2-8938-AFF2-CBED861BB861}"/>
          </ac:spMkLst>
        </pc:spChg>
        <pc:spChg chg="mod">
          <ac:chgData name="Asam, Jolina Katharina" userId="6f382d6e-e27a-4b44-aef1-f43b9e70ebd5" providerId="ADAL" clId="{0C8F6498-51F3-4BC4-99F7-37686ED3AAC9}" dt="2025-03-05T18:52:19.311" v="5254" actId="1035"/>
          <ac:spMkLst>
            <pc:docMk/>
            <pc:sldMk cId="3708005198" sldId="2147482619"/>
            <ac:spMk id="32" creationId="{9828C3F1-4E39-BBB9-603A-D4A23446A554}"/>
          </ac:spMkLst>
        </pc:spChg>
        <pc:spChg chg="mod">
          <ac:chgData name="Asam, Jolina Katharina" userId="6f382d6e-e27a-4b44-aef1-f43b9e70ebd5" providerId="ADAL" clId="{0C8F6498-51F3-4BC4-99F7-37686ED3AAC9}" dt="2025-03-05T18:52:46.365" v="5257" actId="113"/>
          <ac:spMkLst>
            <pc:docMk/>
            <pc:sldMk cId="3708005198" sldId="2147482619"/>
            <ac:spMk id="34" creationId="{D4588552-0F6F-D87D-A7FD-8FDCAEBA242F}"/>
          </ac:spMkLst>
        </pc:spChg>
        <pc:spChg chg="mod">
          <ac:chgData name="Asam, Jolina Katharina" userId="6f382d6e-e27a-4b44-aef1-f43b9e70ebd5" providerId="ADAL" clId="{0C8F6498-51F3-4BC4-99F7-37686ED3AAC9}" dt="2025-03-05T18:52:19.311" v="5254" actId="1035"/>
          <ac:spMkLst>
            <pc:docMk/>
            <pc:sldMk cId="3708005198" sldId="2147482619"/>
            <ac:spMk id="35" creationId="{2E057132-9E88-C186-8B26-2DDE5A5CE540}"/>
          </ac:spMkLst>
        </pc:spChg>
        <pc:spChg chg="mod">
          <ac:chgData name="Asam, Jolina Katharina" userId="6f382d6e-e27a-4b44-aef1-f43b9e70ebd5" providerId="ADAL" clId="{0C8F6498-51F3-4BC4-99F7-37686ED3AAC9}" dt="2025-03-05T18:52:50.549" v="5258" actId="113"/>
          <ac:spMkLst>
            <pc:docMk/>
            <pc:sldMk cId="3708005198" sldId="2147482619"/>
            <ac:spMk id="37" creationId="{D3581E4D-BB4A-7910-DCB5-51234CCD2082}"/>
          </ac:spMkLst>
        </pc:spChg>
        <pc:picChg chg="mod">
          <ac:chgData name="Asam, Jolina Katharina" userId="6f382d6e-e27a-4b44-aef1-f43b9e70ebd5" providerId="ADAL" clId="{0C8F6498-51F3-4BC4-99F7-37686ED3AAC9}" dt="2025-03-05T18:51:45.187" v="5233" actId="1035"/>
          <ac:picMkLst>
            <pc:docMk/>
            <pc:sldMk cId="3708005198" sldId="2147482619"/>
            <ac:picMk id="24" creationId="{01246216-A3A8-E7D6-EFC5-9B4A881D6DAD}"/>
          </ac:picMkLst>
        </pc:picChg>
        <pc:picChg chg="mod">
          <ac:chgData name="Asam, Jolina Katharina" userId="6f382d6e-e27a-4b44-aef1-f43b9e70ebd5" providerId="ADAL" clId="{0C8F6498-51F3-4BC4-99F7-37686ED3AAC9}" dt="2025-03-05T18:52:19.311" v="5254" actId="1035"/>
          <ac:picMkLst>
            <pc:docMk/>
            <pc:sldMk cId="3708005198" sldId="2147482619"/>
            <ac:picMk id="27" creationId="{D515C3F3-A125-F091-EB4A-4EBFEDAD9ED5}"/>
          </ac:picMkLst>
        </pc:picChg>
        <pc:picChg chg="mod">
          <ac:chgData name="Asam, Jolina Katharina" userId="6f382d6e-e27a-4b44-aef1-f43b9e70ebd5" providerId="ADAL" clId="{0C8F6498-51F3-4BC4-99F7-37686ED3AAC9}" dt="2025-03-05T18:51:45.187" v="5233" actId="1035"/>
          <ac:picMkLst>
            <pc:docMk/>
            <pc:sldMk cId="3708005198" sldId="2147482619"/>
            <ac:picMk id="30" creationId="{08FE1319-C93C-4E7B-5E29-21E9F7819E3F}"/>
          </ac:picMkLst>
        </pc:picChg>
        <pc:picChg chg="mod">
          <ac:chgData name="Asam, Jolina Katharina" userId="6f382d6e-e27a-4b44-aef1-f43b9e70ebd5" providerId="ADAL" clId="{0C8F6498-51F3-4BC4-99F7-37686ED3AAC9}" dt="2025-03-05T18:52:19.311" v="5254" actId="1035"/>
          <ac:picMkLst>
            <pc:docMk/>
            <pc:sldMk cId="3708005198" sldId="2147482619"/>
            <ac:picMk id="33" creationId="{E33A9AA0-ADB8-18A2-B170-DF76A46514D1}"/>
          </ac:picMkLst>
        </pc:picChg>
        <pc:cxnChg chg="mod">
          <ac:chgData name="Asam, Jolina Katharina" userId="6f382d6e-e27a-4b44-aef1-f43b9e70ebd5" providerId="ADAL" clId="{0C8F6498-51F3-4BC4-99F7-37686ED3AAC9}" dt="2025-03-05T18:52:19.311" v="5254" actId="1035"/>
          <ac:cxnSpMkLst>
            <pc:docMk/>
            <pc:sldMk cId="3708005198" sldId="2147482619"/>
            <ac:cxnSpMk id="9" creationId="{2F1AD679-3446-0A79-C228-D2E3A9893797}"/>
          </ac:cxnSpMkLst>
        </pc:cxnChg>
        <pc:cxnChg chg="mod">
          <ac:chgData name="Asam, Jolina Katharina" userId="6f382d6e-e27a-4b44-aef1-f43b9e70ebd5" providerId="ADAL" clId="{0C8F6498-51F3-4BC4-99F7-37686ED3AAC9}" dt="2025-03-05T18:52:19.311" v="5254" actId="1035"/>
          <ac:cxnSpMkLst>
            <pc:docMk/>
            <pc:sldMk cId="3708005198" sldId="2147482619"/>
            <ac:cxnSpMk id="10" creationId="{369B7892-BCCA-04CD-FCF9-9E945B809B7E}"/>
          </ac:cxnSpMkLst>
        </pc:cxnChg>
        <pc:cxnChg chg="mod">
          <ac:chgData name="Asam, Jolina Katharina" userId="6f382d6e-e27a-4b44-aef1-f43b9e70ebd5" providerId="ADAL" clId="{0C8F6498-51F3-4BC4-99F7-37686ED3AAC9}" dt="2025-03-05T18:51:45.187" v="5233" actId="1035"/>
          <ac:cxnSpMkLst>
            <pc:docMk/>
            <pc:sldMk cId="3708005198" sldId="2147482619"/>
            <ac:cxnSpMk id="11" creationId="{93A8B580-DBC6-BAFE-DCA8-825C65ED17A5}"/>
          </ac:cxnSpMkLst>
        </pc:cxnChg>
        <pc:cxnChg chg="mod">
          <ac:chgData name="Asam, Jolina Katharina" userId="6f382d6e-e27a-4b44-aef1-f43b9e70ebd5" providerId="ADAL" clId="{0C8F6498-51F3-4BC4-99F7-37686ED3AAC9}" dt="2025-03-05T18:51:45.187" v="5233" actId="1035"/>
          <ac:cxnSpMkLst>
            <pc:docMk/>
            <pc:sldMk cId="3708005198" sldId="2147482619"/>
            <ac:cxnSpMk id="13" creationId="{2231C7CB-87EE-41DB-915C-B913F7C77FB1}"/>
          </ac:cxnSpMkLst>
        </pc:cxnChg>
      </pc:sldChg>
      <pc:sldChg chg="modSp mod">
        <pc:chgData name="Asam, Jolina Katharina" userId="6f382d6e-e27a-4b44-aef1-f43b9e70ebd5" providerId="ADAL" clId="{0C8F6498-51F3-4BC4-99F7-37686ED3AAC9}" dt="2025-03-05T19:03:13.038" v="5370" actId="113"/>
        <pc:sldMkLst>
          <pc:docMk/>
          <pc:sldMk cId="163561008" sldId="2147482620"/>
        </pc:sldMkLst>
        <pc:spChg chg="mod">
          <ac:chgData name="Asam, Jolina Katharina" userId="6f382d6e-e27a-4b44-aef1-f43b9e70ebd5" providerId="ADAL" clId="{0C8F6498-51F3-4BC4-99F7-37686ED3AAC9}" dt="2025-03-05T12:33:37.147" v="720" actId="20577"/>
          <ac:spMkLst>
            <pc:docMk/>
            <pc:sldMk cId="163561008" sldId="2147482620"/>
            <ac:spMk id="16" creationId="{71A9303A-95BB-D9FE-B177-D109E8E0F339}"/>
          </ac:spMkLst>
        </pc:spChg>
        <pc:spChg chg="mod">
          <ac:chgData name="Asam, Jolina Katharina" userId="6f382d6e-e27a-4b44-aef1-f43b9e70ebd5" providerId="ADAL" clId="{0C8F6498-51F3-4BC4-99F7-37686ED3AAC9}" dt="2025-03-05T18:51:19.046" v="5218" actId="113"/>
          <ac:spMkLst>
            <pc:docMk/>
            <pc:sldMk cId="163561008" sldId="2147482620"/>
            <ac:spMk id="19" creationId="{D8CE7914-CBBC-5E99-3C4E-C5765617CC71}"/>
          </ac:spMkLst>
        </pc:spChg>
        <pc:spChg chg="mod">
          <ac:chgData name="Asam, Jolina Katharina" userId="6f382d6e-e27a-4b44-aef1-f43b9e70ebd5" providerId="ADAL" clId="{0C8F6498-51F3-4BC4-99F7-37686ED3AAC9}" dt="2025-03-05T18:51:15.030" v="5217" actId="113"/>
          <ac:spMkLst>
            <pc:docMk/>
            <pc:sldMk cId="163561008" sldId="2147482620"/>
            <ac:spMk id="22" creationId="{24A8C74C-491F-3135-9168-31168889F6C2}"/>
          </ac:spMkLst>
        </pc:spChg>
        <pc:spChg chg="mod">
          <ac:chgData name="Asam, Jolina Katharina" userId="6f382d6e-e27a-4b44-aef1-f43b9e70ebd5" providerId="ADAL" clId="{0C8F6498-51F3-4BC4-99F7-37686ED3AAC9}" dt="2025-03-05T18:34:14.256" v="5215" actId="1036"/>
          <ac:spMkLst>
            <pc:docMk/>
            <pc:sldMk cId="163561008" sldId="2147482620"/>
            <ac:spMk id="23" creationId="{3195ABAB-67CE-F714-1604-528A4C8CEAA4}"/>
          </ac:spMkLst>
        </pc:spChg>
        <pc:spChg chg="mod">
          <ac:chgData name="Asam, Jolina Katharina" userId="6f382d6e-e27a-4b44-aef1-f43b9e70ebd5" providerId="ADAL" clId="{0C8F6498-51F3-4BC4-99F7-37686ED3AAC9}" dt="2025-03-05T18:51:24.340" v="5220" actId="113"/>
          <ac:spMkLst>
            <pc:docMk/>
            <pc:sldMk cId="163561008" sldId="2147482620"/>
            <ac:spMk id="25" creationId="{3AF7F11E-CC97-D96C-595A-28C6B90225CE}"/>
          </ac:spMkLst>
        </pc:spChg>
        <pc:spChg chg="mod">
          <ac:chgData name="Asam, Jolina Katharina" userId="6f382d6e-e27a-4b44-aef1-f43b9e70ebd5" providerId="ADAL" clId="{0C8F6498-51F3-4BC4-99F7-37686ED3AAC9}" dt="2025-03-05T18:34:14.256" v="5215" actId="1036"/>
          <ac:spMkLst>
            <pc:docMk/>
            <pc:sldMk cId="163561008" sldId="2147482620"/>
            <ac:spMk id="29" creationId="{FFCD6AA0-DC23-0E27-AE73-415D18660094}"/>
          </ac:spMkLst>
        </pc:spChg>
        <pc:spChg chg="mod">
          <ac:chgData name="Asam, Jolina Katharina" userId="6f382d6e-e27a-4b44-aef1-f43b9e70ebd5" providerId="ADAL" clId="{0C8F6498-51F3-4BC4-99F7-37686ED3AAC9}" dt="2025-03-05T18:34:14.256" v="5215" actId="1036"/>
          <ac:spMkLst>
            <pc:docMk/>
            <pc:sldMk cId="163561008" sldId="2147482620"/>
            <ac:spMk id="31" creationId="{223E6373-1FD2-8938-AFF2-CBED861BB861}"/>
          </ac:spMkLst>
        </pc:spChg>
        <pc:spChg chg="mod">
          <ac:chgData name="Asam, Jolina Katharina" userId="6f382d6e-e27a-4b44-aef1-f43b9e70ebd5" providerId="ADAL" clId="{0C8F6498-51F3-4BC4-99F7-37686ED3AAC9}" dt="2025-03-05T18:34:14.256" v="5215" actId="1036"/>
          <ac:spMkLst>
            <pc:docMk/>
            <pc:sldMk cId="163561008" sldId="2147482620"/>
            <ac:spMk id="32" creationId="{9828C3F1-4E39-BBB9-603A-D4A23446A554}"/>
          </ac:spMkLst>
        </pc:spChg>
        <pc:spChg chg="mod">
          <ac:chgData name="Asam, Jolina Katharina" userId="6f382d6e-e27a-4b44-aef1-f43b9e70ebd5" providerId="ADAL" clId="{0C8F6498-51F3-4BC4-99F7-37686ED3AAC9}" dt="2025-03-05T19:03:13.038" v="5370" actId="113"/>
          <ac:spMkLst>
            <pc:docMk/>
            <pc:sldMk cId="163561008" sldId="2147482620"/>
            <ac:spMk id="34" creationId="{D4588552-0F6F-D87D-A7FD-8FDCAEBA242F}"/>
          </ac:spMkLst>
        </pc:spChg>
        <pc:spChg chg="mod">
          <ac:chgData name="Asam, Jolina Katharina" userId="6f382d6e-e27a-4b44-aef1-f43b9e70ebd5" providerId="ADAL" clId="{0C8F6498-51F3-4BC4-99F7-37686ED3AAC9}" dt="2025-03-05T18:34:14.256" v="5215" actId="1036"/>
          <ac:spMkLst>
            <pc:docMk/>
            <pc:sldMk cId="163561008" sldId="2147482620"/>
            <ac:spMk id="35" creationId="{2E057132-9E88-C186-8B26-2DDE5A5CE540}"/>
          </ac:spMkLst>
        </pc:spChg>
        <pc:spChg chg="mod">
          <ac:chgData name="Asam, Jolina Katharina" userId="6f382d6e-e27a-4b44-aef1-f43b9e70ebd5" providerId="ADAL" clId="{0C8F6498-51F3-4BC4-99F7-37686ED3AAC9}" dt="2025-03-05T18:51:09.750" v="5216" actId="113"/>
          <ac:spMkLst>
            <pc:docMk/>
            <pc:sldMk cId="163561008" sldId="2147482620"/>
            <ac:spMk id="37" creationId="{D3581E4D-BB4A-7910-DCB5-51234CCD2082}"/>
          </ac:spMkLst>
        </pc:spChg>
        <pc:picChg chg="mod">
          <ac:chgData name="Asam, Jolina Katharina" userId="6f382d6e-e27a-4b44-aef1-f43b9e70ebd5" providerId="ADAL" clId="{0C8F6498-51F3-4BC4-99F7-37686ED3AAC9}" dt="2025-03-05T18:34:14.256" v="5215" actId="1036"/>
          <ac:picMkLst>
            <pc:docMk/>
            <pc:sldMk cId="163561008" sldId="2147482620"/>
            <ac:picMk id="27" creationId="{AA280721-EEAE-E3B6-131F-2759812FCA89}"/>
          </ac:picMkLst>
        </pc:picChg>
        <pc:picChg chg="mod">
          <ac:chgData name="Asam, Jolina Katharina" userId="6f382d6e-e27a-4b44-aef1-f43b9e70ebd5" providerId="ADAL" clId="{0C8F6498-51F3-4BC4-99F7-37686ED3AAC9}" dt="2025-03-05T18:34:14.256" v="5215" actId="1036"/>
          <ac:picMkLst>
            <pc:docMk/>
            <pc:sldMk cId="163561008" sldId="2147482620"/>
            <ac:picMk id="30" creationId="{C4BB0F8C-C6A1-0067-4F5B-841B7A92F4B7}"/>
          </ac:picMkLst>
        </pc:picChg>
        <pc:picChg chg="mod">
          <ac:chgData name="Asam, Jolina Katharina" userId="6f382d6e-e27a-4b44-aef1-f43b9e70ebd5" providerId="ADAL" clId="{0C8F6498-51F3-4BC4-99F7-37686ED3AAC9}" dt="2025-03-05T18:34:14.256" v="5215" actId="1036"/>
          <ac:picMkLst>
            <pc:docMk/>
            <pc:sldMk cId="163561008" sldId="2147482620"/>
            <ac:picMk id="33" creationId="{DB35874D-44C1-DEFD-9337-33F1D6165B4A}"/>
          </ac:picMkLst>
        </pc:picChg>
        <pc:picChg chg="mod">
          <ac:chgData name="Asam, Jolina Katharina" userId="6f382d6e-e27a-4b44-aef1-f43b9e70ebd5" providerId="ADAL" clId="{0C8F6498-51F3-4BC4-99F7-37686ED3AAC9}" dt="2025-03-05T18:34:14.256" v="5215" actId="1036"/>
          <ac:picMkLst>
            <pc:docMk/>
            <pc:sldMk cId="163561008" sldId="2147482620"/>
            <ac:picMk id="36" creationId="{A457DDDF-1F98-04B5-67EB-428410B755DE}"/>
          </ac:picMkLst>
        </pc:picChg>
        <pc:cxnChg chg="mod">
          <ac:chgData name="Asam, Jolina Katharina" userId="6f382d6e-e27a-4b44-aef1-f43b9e70ebd5" providerId="ADAL" clId="{0C8F6498-51F3-4BC4-99F7-37686ED3AAC9}" dt="2025-03-05T18:34:14.256" v="5215" actId="1036"/>
          <ac:cxnSpMkLst>
            <pc:docMk/>
            <pc:sldMk cId="163561008" sldId="2147482620"/>
            <ac:cxnSpMk id="9" creationId="{2F1AD679-3446-0A79-C228-D2E3A9893797}"/>
          </ac:cxnSpMkLst>
        </pc:cxnChg>
        <pc:cxnChg chg="mod">
          <ac:chgData name="Asam, Jolina Katharina" userId="6f382d6e-e27a-4b44-aef1-f43b9e70ebd5" providerId="ADAL" clId="{0C8F6498-51F3-4BC4-99F7-37686ED3AAC9}" dt="2025-03-05T18:34:14.256" v="5215" actId="1036"/>
          <ac:cxnSpMkLst>
            <pc:docMk/>
            <pc:sldMk cId="163561008" sldId="2147482620"/>
            <ac:cxnSpMk id="10" creationId="{369B7892-BCCA-04CD-FCF9-9E945B809B7E}"/>
          </ac:cxnSpMkLst>
        </pc:cxnChg>
        <pc:cxnChg chg="mod">
          <ac:chgData name="Asam, Jolina Katharina" userId="6f382d6e-e27a-4b44-aef1-f43b9e70ebd5" providerId="ADAL" clId="{0C8F6498-51F3-4BC4-99F7-37686ED3AAC9}" dt="2025-03-05T18:34:14.256" v="5215" actId="1036"/>
          <ac:cxnSpMkLst>
            <pc:docMk/>
            <pc:sldMk cId="163561008" sldId="2147482620"/>
            <ac:cxnSpMk id="11" creationId="{93A8B580-DBC6-BAFE-DCA8-825C65ED17A5}"/>
          </ac:cxnSpMkLst>
        </pc:cxnChg>
        <pc:cxnChg chg="mod">
          <ac:chgData name="Asam, Jolina Katharina" userId="6f382d6e-e27a-4b44-aef1-f43b9e70ebd5" providerId="ADAL" clId="{0C8F6498-51F3-4BC4-99F7-37686ED3AAC9}" dt="2025-03-05T18:34:14.256" v="5215" actId="1036"/>
          <ac:cxnSpMkLst>
            <pc:docMk/>
            <pc:sldMk cId="163561008" sldId="2147482620"/>
            <ac:cxnSpMk id="13" creationId="{2231C7CB-87EE-41DB-915C-B913F7C77FB1}"/>
          </ac:cxnSpMkLst>
        </pc:cxnChg>
      </pc:sldChg>
      <pc:sldChg chg="modSp mod">
        <pc:chgData name="Asam, Jolina Katharina" userId="6f382d6e-e27a-4b44-aef1-f43b9e70ebd5" providerId="ADAL" clId="{0C8F6498-51F3-4BC4-99F7-37686ED3AAC9}" dt="2025-03-05T19:39:07.650" v="5634" actId="113"/>
        <pc:sldMkLst>
          <pc:docMk/>
          <pc:sldMk cId="2782580343" sldId="2147482621"/>
        </pc:sldMkLst>
        <pc:spChg chg="mod">
          <ac:chgData name="Asam, Jolina Katharina" userId="6f382d6e-e27a-4b44-aef1-f43b9e70ebd5" providerId="ADAL" clId="{0C8F6498-51F3-4BC4-99F7-37686ED3AAC9}" dt="2025-03-05T19:38:57.703" v="5632" actId="20577"/>
          <ac:spMkLst>
            <pc:docMk/>
            <pc:sldMk cId="2782580343" sldId="2147482621"/>
            <ac:spMk id="19" creationId="{D8CE7914-CBBC-5E99-3C4E-C5765617CC71}"/>
          </ac:spMkLst>
        </pc:spChg>
        <pc:spChg chg="mod">
          <ac:chgData name="Asam, Jolina Katharina" userId="6f382d6e-e27a-4b44-aef1-f43b9e70ebd5" providerId="ADAL" clId="{0C8F6498-51F3-4BC4-99F7-37686ED3AAC9}" dt="2025-03-05T19:39:07.650" v="5634" actId="113"/>
          <ac:spMkLst>
            <pc:docMk/>
            <pc:sldMk cId="2782580343" sldId="2147482621"/>
            <ac:spMk id="22" creationId="{24A8C74C-491F-3135-9168-31168889F6C2}"/>
          </ac:spMkLst>
        </pc:spChg>
        <pc:spChg chg="mod">
          <ac:chgData name="Asam, Jolina Katharina" userId="6f382d6e-e27a-4b44-aef1-f43b9e70ebd5" providerId="ADAL" clId="{0C8F6498-51F3-4BC4-99F7-37686ED3AAC9}" dt="2025-03-05T19:38:38.191" v="5622" actId="113"/>
          <ac:spMkLst>
            <pc:docMk/>
            <pc:sldMk cId="2782580343" sldId="2147482621"/>
            <ac:spMk id="25" creationId="{3AF7F11E-CC97-D96C-595A-28C6B90225CE}"/>
          </ac:spMkLst>
        </pc:spChg>
        <pc:spChg chg="mod">
          <ac:chgData name="Asam, Jolina Katharina" userId="6f382d6e-e27a-4b44-aef1-f43b9e70ebd5" providerId="ADAL" clId="{0C8F6498-51F3-4BC4-99F7-37686ED3AAC9}" dt="2025-03-05T19:38:33.573" v="5620" actId="113"/>
          <ac:spMkLst>
            <pc:docMk/>
            <pc:sldMk cId="2782580343" sldId="2147482621"/>
            <ac:spMk id="31" creationId="{223E6373-1FD2-8938-AFF2-CBED861BB861}"/>
          </ac:spMkLst>
        </pc:spChg>
        <pc:spChg chg="mod">
          <ac:chgData name="Asam, Jolina Katharina" userId="6f382d6e-e27a-4b44-aef1-f43b9e70ebd5" providerId="ADAL" clId="{0C8F6498-51F3-4BC4-99F7-37686ED3AAC9}" dt="2025-03-05T19:38:30.562" v="5618" actId="113"/>
          <ac:spMkLst>
            <pc:docMk/>
            <pc:sldMk cId="2782580343" sldId="2147482621"/>
            <ac:spMk id="34" creationId="{D4588552-0F6F-D87D-A7FD-8FDCAEBA242F}"/>
          </ac:spMkLst>
        </pc:spChg>
        <pc:spChg chg="mod">
          <ac:chgData name="Asam, Jolina Katharina" userId="6f382d6e-e27a-4b44-aef1-f43b9e70ebd5" providerId="ADAL" clId="{0C8F6498-51F3-4BC4-99F7-37686ED3AAC9}" dt="2025-03-05T19:38:27.362" v="5616" actId="113"/>
          <ac:spMkLst>
            <pc:docMk/>
            <pc:sldMk cId="2782580343" sldId="2147482621"/>
            <ac:spMk id="37" creationId="{D3581E4D-BB4A-7910-DCB5-51234CCD2082}"/>
          </ac:spMkLst>
        </pc:spChg>
      </pc:sldChg>
      <pc:sldChg chg="modSp mod">
        <pc:chgData name="Asam, Jolina Katharina" userId="6f382d6e-e27a-4b44-aef1-f43b9e70ebd5" providerId="ADAL" clId="{0C8F6498-51F3-4BC4-99F7-37686ED3AAC9}" dt="2025-03-05T19:39:38.467" v="5641" actId="113"/>
        <pc:sldMkLst>
          <pc:docMk/>
          <pc:sldMk cId="4107596432" sldId="2147482622"/>
        </pc:sldMkLst>
        <pc:spChg chg="mod">
          <ac:chgData name="Asam, Jolina Katharina" userId="6f382d6e-e27a-4b44-aef1-f43b9e70ebd5" providerId="ADAL" clId="{0C8F6498-51F3-4BC4-99F7-37686ED3AAC9}" dt="2025-03-05T18:56:29.030" v="5290" actId="113"/>
          <ac:spMkLst>
            <pc:docMk/>
            <pc:sldMk cId="4107596432" sldId="2147482622"/>
            <ac:spMk id="19" creationId="{D8CE7914-CBBC-5E99-3C4E-C5765617CC71}"/>
          </ac:spMkLst>
        </pc:spChg>
        <pc:spChg chg="mod">
          <ac:chgData name="Asam, Jolina Katharina" userId="6f382d6e-e27a-4b44-aef1-f43b9e70ebd5" providerId="ADAL" clId="{0C8F6498-51F3-4BC4-99F7-37686ED3AAC9}" dt="2025-03-05T19:39:25.916" v="5636" actId="113"/>
          <ac:spMkLst>
            <pc:docMk/>
            <pc:sldMk cId="4107596432" sldId="2147482622"/>
            <ac:spMk id="28" creationId="{AADF7B53-9E4C-8056-7221-86277A45CD44}"/>
          </ac:spMkLst>
        </pc:spChg>
        <pc:spChg chg="mod">
          <ac:chgData name="Asam, Jolina Katharina" userId="6f382d6e-e27a-4b44-aef1-f43b9e70ebd5" providerId="ADAL" clId="{0C8F6498-51F3-4BC4-99F7-37686ED3AAC9}" dt="2025-03-05T19:39:32.577" v="5639" actId="20577"/>
          <ac:spMkLst>
            <pc:docMk/>
            <pc:sldMk cId="4107596432" sldId="2147482622"/>
            <ac:spMk id="31" creationId="{223E6373-1FD2-8938-AFF2-CBED861BB861}"/>
          </ac:spMkLst>
        </pc:spChg>
        <pc:spChg chg="mod">
          <ac:chgData name="Asam, Jolina Katharina" userId="6f382d6e-e27a-4b44-aef1-f43b9e70ebd5" providerId="ADAL" clId="{0C8F6498-51F3-4BC4-99F7-37686ED3AAC9}" dt="2025-03-05T19:39:38.467" v="5641" actId="113"/>
          <ac:spMkLst>
            <pc:docMk/>
            <pc:sldMk cId="4107596432" sldId="2147482622"/>
            <ac:spMk id="37" creationId="{D3581E4D-BB4A-7910-DCB5-51234CCD2082}"/>
          </ac:spMkLst>
        </pc:spChg>
      </pc:sldChg>
      <pc:sldChg chg="modSp mod">
        <pc:chgData name="Asam, Jolina Katharina" userId="6f382d6e-e27a-4b44-aef1-f43b9e70ebd5" providerId="ADAL" clId="{0C8F6498-51F3-4BC4-99F7-37686ED3AAC9}" dt="2025-03-05T19:40:33.027" v="5651" actId="113"/>
        <pc:sldMkLst>
          <pc:docMk/>
          <pc:sldMk cId="1414308884" sldId="2147482623"/>
        </pc:sldMkLst>
        <pc:spChg chg="mod">
          <ac:chgData name="Asam, Jolina Katharina" userId="6f382d6e-e27a-4b44-aef1-f43b9e70ebd5" providerId="ADAL" clId="{0C8F6498-51F3-4BC4-99F7-37686ED3AAC9}" dt="2025-03-05T19:39:46.432" v="5643" actId="113"/>
          <ac:spMkLst>
            <pc:docMk/>
            <pc:sldMk cId="1414308884" sldId="2147482623"/>
            <ac:spMk id="19" creationId="{D8CE7914-CBBC-5E99-3C4E-C5765617CC71}"/>
          </ac:spMkLst>
        </pc:spChg>
        <pc:spChg chg="mod">
          <ac:chgData name="Asam, Jolina Katharina" userId="6f382d6e-e27a-4b44-aef1-f43b9e70ebd5" providerId="ADAL" clId="{0C8F6498-51F3-4BC4-99F7-37686ED3AAC9}" dt="2025-03-05T19:40:08.496" v="5644" actId="20577"/>
          <ac:spMkLst>
            <pc:docMk/>
            <pc:sldMk cId="1414308884" sldId="2147482623"/>
            <ac:spMk id="22" creationId="{24A8C74C-491F-3135-9168-31168889F6C2}"/>
          </ac:spMkLst>
        </pc:spChg>
        <pc:spChg chg="mod">
          <ac:chgData name="Asam, Jolina Katharina" userId="6f382d6e-e27a-4b44-aef1-f43b9e70ebd5" providerId="ADAL" clId="{0C8F6498-51F3-4BC4-99F7-37686ED3AAC9}" dt="2025-03-05T19:40:33.027" v="5651" actId="113"/>
          <ac:spMkLst>
            <pc:docMk/>
            <pc:sldMk cId="1414308884" sldId="2147482623"/>
            <ac:spMk id="28" creationId="{AADF7B53-9E4C-8056-7221-86277A45CD44}"/>
          </ac:spMkLst>
        </pc:spChg>
        <pc:spChg chg="mod">
          <ac:chgData name="Asam, Jolina Katharina" userId="6f382d6e-e27a-4b44-aef1-f43b9e70ebd5" providerId="ADAL" clId="{0C8F6498-51F3-4BC4-99F7-37686ED3AAC9}" dt="2025-03-05T18:33:54.612" v="5193" actId="1035"/>
          <ac:spMkLst>
            <pc:docMk/>
            <pc:sldMk cId="1414308884" sldId="2147482623"/>
            <ac:spMk id="32" creationId="{9828C3F1-4E39-BBB9-603A-D4A23446A554}"/>
          </ac:spMkLst>
        </pc:spChg>
        <pc:spChg chg="mod">
          <ac:chgData name="Asam, Jolina Katharina" userId="6f382d6e-e27a-4b44-aef1-f43b9e70ebd5" providerId="ADAL" clId="{0C8F6498-51F3-4BC4-99F7-37686ED3AAC9}" dt="2025-03-05T18:33:54.612" v="5193" actId="1035"/>
          <ac:spMkLst>
            <pc:docMk/>
            <pc:sldMk cId="1414308884" sldId="2147482623"/>
            <ac:spMk id="34" creationId="{D4588552-0F6F-D87D-A7FD-8FDCAEBA242F}"/>
          </ac:spMkLst>
        </pc:spChg>
        <pc:spChg chg="mod">
          <ac:chgData name="Asam, Jolina Katharina" userId="6f382d6e-e27a-4b44-aef1-f43b9e70ebd5" providerId="ADAL" clId="{0C8F6498-51F3-4BC4-99F7-37686ED3AAC9}" dt="2025-03-05T18:33:59.668" v="5205" actId="1036"/>
          <ac:spMkLst>
            <pc:docMk/>
            <pc:sldMk cId="1414308884" sldId="2147482623"/>
            <ac:spMk id="35" creationId="{2E057132-9E88-C186-8B26-2DDE5A5CE540}"/>
          </ac:spMkLst>
        </pc:spChg>
        <pc:spChg chg="mod">
          <ac:chgData name="Asam, Jolina Katharina" userId="6f382d6e-e27a-4b44-aef1-f43b9e70ebd5" providerId="ADAL" clId="{0C8F6498-51F3-4BC4-99F7-37686ED3AAC9}" dt="2025-03-05T19:40:25.796" v="5649" actId="20577"/>
          <ac:spMkLst>
            <pc:docMk/>
            <pc:sldMk cId="1414308884" sldId="2147482623"/>
            <ac:spMk id="37" creationId="{D3581E4D-BB4A-7910-DCB5-51234CCD2082}"/>
          </ac:spMkLst>
        </pc:spChg>
        <pc:spChg chg="mod">
          <ac:chgData name="Asam, Jolina Katharina" userId="6f382d6e-e27a-4b44-aef1-f43b9e70ebd5" providerId="ADAL" clId="{0C8F6498-51F3-4BC4-99F7-37686ED3AAC9}" dt="2025-03-05T18:33:59.668" v="5205" actId="1036"/>
          <ac:spMkLst>
            <pc:docMk/>
            <pc:sldMk cId="1414308884" sldId="2147482623"/>
            <ac:spMk id="41" creationId="{718FB5DA-0061-0B1A-A9C7-C062E293A58C}"/>
          </ac:spMkLst>
        </pc:spChg>
        <pc:spChg chg="mod">
          <ac:chgData name="Asam, Jolina Katharina" userId="6f382d6e-e27a-4b44-aef1-f43b9e70ebd5" providerId="ADAL" clId="{0C8F6498-51F3-4BC4-99F7-37686ED3AAC9}" dt="2025-03-05T18:33:59.668" v="5205" actId="1036"/>
          <ac:spMkLst>
            <pc:docMk/>
            <pc:sldMk cId="1414308884" sldId="2147482623"/>
            <ac:spMk id="42" creationId="{860F025B-03D5-8F3D-E796-E5A8F3E52B15}"/>
          </ac:spMkLst>
        </pc:spChg>
        <pc:graphicFrameChg chg="mod">
          <ac:chgData name="Asam, Jolina Katharina" userId="6f382d6e-e27a-4b44-aef1-f43b9e70ebd5" providerId="ADAL" clId="{0C8F6498-51F3-4BC4-99F7-37686ED3AAC9}" dt="2025-03-05T14:18:25.270" v="1627"/>
          <ac:graphicFrameMkLst>
            <pc:docMk/>
            <pc:sldMk cId="1414308884" sldId="2147482623"/>
            <ac:graphicFrameMk id="5" creationId="{CC7C828D-2E2C-DD0E-5063-4C014F29512E}"/>
          </ac:graphicFrameMkLst>
        </pc:graphicFrameChg>
        <pc:picChg chg="mod">
          <ac:chgData name="Asam, Jolina Katharina" userId="6f382d6e-e27a-4b44-aef1-f43b9e70ebd5" providerId="ADAL" clId="{0C8F6498-51F3-4BC4-99F7-37686ED3AAC9}" dt="2025-03-05T18:33:54.612" v="5193" actId="1035"/>
          <ac:picMkLst>
            <pc:docMk/>
            <pc:sldMk cId="1414308884" sldId="2147482623"/>
            <ac:picMk id="27" creationId="{CCD6940F-6381-0472-3693-50FCED442450}"/>
          </ac:picMkLst>
        </pc:picChg>
        <pc:picChg chg="mod">
          <ac:chgData name="Asam, Jolina Katharina" userId="6f382d6e-e27a-4b44-aef1-f43b9e70ebd5" providerId="ADAL" clId="{0C8F6498-51F3-4BC4-99F7-37686ED3AAC9}" dt="2025-03-05T18:33:59.668" v="5205" actId="1036"/>
          <ac:picMkLst>
            <pc:docMk/>
            <pc:sldMk cId="1414308884" sldId="2147482623"/>
            <ac:picMk id="36" creationId="{70E84DA2-6EC3-1059-AFBD-79247B4DD37A}"/>
          </ac:picMkLst>
        </pc:picChg>
        <pc:picChg chg="mod">
          <ac:chgData name="Asam, Jolina Katharina" userId="6f382d6e-e27a-4b44-aef1-f43b9e70ebd5" providerId="ADAL" clId="{0C8F6498-51F3-4BC4-99F7-37686ED3AAC9}" dt="2025-03-05T18:33:59.668" v="5205" actId="1036"/>
          <ac:picMkLst>
            <pc:docMk/>
            <pc:sldMk cId="1414308884" sldId="2147482623"/>
            <ac:picMk id="43" creationId="{751AA61A-996A-BF7E-7C69-CC267303DE80}"/>
          </ac:picMkLst>
        </pc:picChg>
        <pc:cxnChg chg="mod">
          <ac:chgData name="Asam, Jolina Katharina" userId="6f382d6e-e27a-4b44-aef1-f43b9e70ebd5" providerId="ADAL" clId="{0C8F6498-51F3-4BC4-99F7-37686ED3AAC9}" dt="2025-03-05T18:33:59.668" v="5205" actId="1036"/>
          <ac:cxnSpMkLst>
            <pc:docMk/>
            <pc:sldMk cId="1414308884" sldId="2147482623"/>
            <ac:cxnSpMk id="9" creationId="{2F1AD679-3446-0A79-C228-D2E3A9893797}"/>
          </ac:cxnSpMkLst>
        </pc:cxnChg>
        <pc:cxnChg chg="mod">
          <ac:chgData name="Asam, Jolina Katharina" userId="6f382d6e-e27a-4b44-aef1-f43b9e70ebd5" providerId="ADAL" clId="{0C8F6498-51F3-4BC4-99F7-37686ED3AAC9}" dt="2025-03-05T18:33:54.612" v="5193" actId="1035"/>
          <ac:cxnSpMkLst>
            <pc:docMk/>
            <pc:sldMk cId="1414308884" sldId="2147482623"/>
            <ac:cxnSpMk id="10" creationId="{369B7892-BCCA-04CD-FCF9-9E945B809B7E}"/>
          </ac:cxnSpMkLst>
        </pc:cxnChg>
        <pc:cxnChg chg="mod">
          <ac:chgData name="Asam, Jolina Katharina" userId="6f382d6e-e27a-4b44-aef1-f43b9e70ebd5" providerId="ADAL" clId="{0C8F6498-51F3-4BC4-99F7-37686ED3AAC9}" dt="2025-03-05T18:33:59.668" v="5205" actId="1036"/>
          <ac:cxnSpMkLst>
            <pc:docMk/>
            <pc:sldMk cId="1414308884" sldId="2147482623"/>
            <ac:cxnSpMk id="40" creationId="{58752701-81D9-B8EE-56BD-C5CE418398B9}"/>
          </ac:cxnSpMkLst>
        </pc:cxnChg>
      </pc:sldChg>
      <pc:sldChg chg="modSp mod">
        <pc:chgData name="Asam, Jolina Katharina" userId="6f382d6e-e27a-4b44-aef1-f43b9e70ebd5" providerId="ADAL" clId="{0C8F6498-51F3-4BC4-99F7-37686ED3AAC9}" dt="2025-03-05T19:37:40.190" v="5614" actId="1036"/>
        <pc:sldMkLst>
          <pc:docMk/>
          <pc:sldMk cId="2115234211" sldId="2147482625"/>
        </pc:sldMkLst>
        <pc:spChg chg="mod">
          <ac:chgData name="Asam, Jolina Katharina" userId="6f382d6e-e27a-4b44-aef1-f43b9e70ebd5" providerId="ADAL" clId="{0C8F6498-51F3-4BC4-99F7-37686ED3AAC9}" dt="2025-03-05T12:33:43.962" v="721" actId="20577"/>
          <ac:spMkLst>
            <pc:docMk/>
            <pc:sldMk cId="2115234211" sldId="2147482625"/>
            <ac:spMk id="16" creationId="{71A9303A-95BB-D9FE-B177-D109E8E0F339}"/>
          </ac:spMkLst>
        </pc:spChg>
        <pc:spChg chg="mod">
          <ac:chgData name="Asam, Jolina Katharina" userId="6f382d6e-e27a-4b44-aef1-f43b9e70ebd5" providerId="ADAL" clId="{0C8F6498-51F3-4BC4-99F7-37686ED3AAC9}" dt="2025-03-05T19:37:34.685" v="5597" actId="20577"/>
          <ac:spMkLst>
            <pc:docMk/>
            <pc:sldMk cId="2115234211" sldId="2147482625"/>
            <ac:spMk id="19" creationId="{D8CE7914-CBBC-5E99-3C4E-C5765617CC71}"/>
          </ac:spMkLst>
        </pc:spChg>
        <pc:spChg chg="mod">
          <ac:chgData name="Asam, Jolina Katharina" userId="6f382d6e-e27a-4b44-aef1-f43b9e70ebd5" providerId="ADAL" clId="{0C8F6498-51F3-4BC4-99F7-37686ED3AAC9}" dt="2025-03-05T19:37:40.190" v="5614" actId="1036"/>
          <ac:spMkLst>
            <pc:docMk/>
            <pc:sldMk cId="2115234211" sldId="2147482625"/>
            <ac:spMk id="23" creationId="{3195ABAB-67CE-F714-1604-528A4C8CEAA4}"/>
          </ac:spMkLst>
        </pc:spChg>
        <pc:spChg chg="mod">
          <ac:chgData name="Asam, Jolina Katharina" userId="6f382d6e-e27a-4b44-aef1-f43b9e70ebd5" providerId="ADAL" clId="{0C8F6498-51F3-4BC4-99F7-37686ED3AAC9}" dt="2025-03-05T19:37:40.190" v="5614" actId="1036"/>
          <ac:spMkLst>
            <pc:docMk/>
            <pc:sldMk cId="2115234211" sldId="2147482625"/>
            <ac:spMk id="25" creationId="{3AF7F11E-CC97-D96C-595A-28C6B90225CE}"/>
          </ac:spMkLst>
        </pc:spChg>
        <pc:spChg chg="mod">
          <ac:chgData name="Asam, Jolina Katharina" userId="6f382d6e-e27a-4b44-aef1-f43b9e70ebd5" providerId="ADAL" clId="{0C8F6498-51F3-4BC4-99F7-37686ED3AAC9}" dt="2025-03-05T19:37:40.190" v="5614" actId="1036"/>
          <ac:spMkLst>
            <pc:docMk/>
            <pc:sldMk cId="2115234211" sldId="2147482625"/>
            <ac:spMk id="26" creationId="{6A581ED3-601C-A044-A72C-7EED9696B2DB}"/>
          </ac:spMkLst>
        </pc:spChg>
        <pc:spChg chg="mod">
          <ac:chgData name="Asam, Jolina Katharina" userId="6f382d6e-e27a-4b44-aef1-f43b9e70ebd5" providerId="ADAL" clId="{0C8F6498-51F3-4BC4-99F7-37686ED3AAC9}" dt="2025-03-05T19:37:40.190" v="5614" actId="1036"/>
          <ac:spMkLst>
            <pc:docMk/>
            <pc:sldMk cId="2115234211" sldId="2147482625"/>
            <ac:spMk id="28" creationId="{AADF7B53-9E4C-8056-7221-86277A45CD44}"/>
          </ac:spMkLst>
        </pc:spChg>
        <pc:spChg chg="mod">
          <ac:chgData name="Asam, Jolina Katharina" userId="6f382d6e-e27a-4b44-aef1-f43b9e70ebd5" providerId="ADAL" clId="{0C8F6498-51F3-4BC4-99F7-37686ED3AAC9}" dt="2025-03-05T19:37:40.190" v="5614" actId="1036"/>
          <ac:spMkLst>
            <pc:docMk/>
            <pc:sldMk cId="2115234211" sldId="2147482625"/>
            <ac:spMk id="29" creationId="{FFCD6AA0-DC23-0E27-AE73-415D18660094}"/>
          </ac:spMkLst>
        </pc:spChg>
        <pc:spChg chg="mod">
          <ac:chgData name="Asam, Jolina Katharina" userId="6f382d6e-e27a-4b44-aef1-f43b9e70ebd5" providerId="ADAL" clId="{0C8F6498-51F3-4BC4-99F7-37686ED3AAC9}" dt="2025-03-05T19:37:40.190" v="5614" actId="1036"/>
          <ac:spMkLst>
            <pc:docMk/>
            <pc:sldMk cId="2115234211" sldId="2147482625"/>
            <ac:spMk id="32" creationId="{9828C3F1-4E39-BBB9-603A-D4A23446A554}"/>
          </ac:spMkLst>
        </pc:spChg>
        <pc:spChg chg="mod">
          <ac:chgData name="Asam, Jolina Katharina" userId="6f382d6e-e27a-4b44-aef1-f43b9e70ebd5" providerId="ADAL" clId="{0C8F6498-51F3-4BC4-99F7-37686ED3AAC9}" dt="2025-03-05T19:37:40.190" v="5614" actId="1036"/>
          <ac:spMkLst>
            <pc:docMk/>
            <pc:sldMk cId="2115234211" sldId="2147482625"/>
            <ac:spMk id="35" creationId="{2E057132-9E88-C186-8B26-2DDE5A5CE540}"/>
          </ac:spMkLst>
        </pc:spChg>
        <pc:spChg chg="mod">
          <ac:chgData name="Asam, Jolina Katharina" userId="6f382d6e-e27a-4b44-aef1-f43b9e70ebd5" providerId="ADAL" clId="{0C8F6498-51F3-4BC4-99F7-37686ED3AAC9}" dt="2025-03-05T19:37:40.190" v="5614" actId="1036"/>
          <ac:spMkLst>
            <pc:docMk/>
            <pc:sldMk cId="2115234211" sldId="2147482625"/>
            <ac:spMk id="37" creationId="{D3581E4D-BB4A-7910-DCB5-51234CCD2082}"/>
          </ac:spMkLst>
        </pc:spChg>
        <pc:picChg chg="mod">
          <ac:chgData name="Asam, Jolina Katharina" userId="6f382d6e-e27a-4b44-aef1-f43b9e70ebd5" providerId="ADAL" clId="{0C8F6498-51F3-4BC4-99F7-37686ED3AAC9}" dt="2025-03-05T19:37:40.190" v="5614" actId="1036"/>
          <ac:picMkLst>
            <pc:docMk/>
            <pc:sldMk cId="2115234211" sldId="2147482625"/>
            <ac:picMk id="21" creationId="{0D0A25E6-41BA-7639-B7BF-87934CBE8290}"/>
          </ac:picMkLst>
        </pc:picChg>
        <pc:picChg chg="mod">
          <ac:chgData name="Asam, Jolina Katharina" userId="6f382d6e-e27a-4b44-aef1-f43b9e70ebd5" providerId="ADAL" clId="{0C8F6498-51F3-4BC4-99F7-37686ED3AAC9}" dt="2025-03-05T19:37:40.190" v="5614" actId="1036"/>
          <ac:picMkLst>
            <pc:docMk/>
            <pc:sldMk cId="2115234211" sldId="2147482625"/>
            <ac:picMk id="24" creationId="{F5AD5051-7CCD-BC0D-4FB5-1EDD498D8B4C}"/>
          </ac:picMkLst>
        </pc:picChg>
        <pc:picChg chg="mod">
          <ac:chgData name="Asam, Jolina Katharina" userId="6f382d6e-e27a-4b44-aef1-f43b9e70ebd5" providerId="ADAL" clId="{0C8F6498-51F3-4BC4-99F7-37686ED3AAC9}" dt="2025-03-05T19:37:40.190" v="5614" actId="1036"/>
          <ac:picMkLst>
            <pc:docMk/>
            <pc:sldMk cId="2115234211" sldId="2147482625"/>
            <ac:picMk id="27" creationId="{742127D4-1ADE-DE7F-82E3-BA1D52AD3750}"/>
          </ac:picMkLst>
        </pc:picChg>
        <pc:picChg chg="mod">
          <ac:chgData name="Asam, Jolina Katharina" userId="6f382d6e-e27a-4b44-aef1-f43b9e70ebd5" providerId="ADAL" clId="{0C8F6498-51F3-4BC4-99F7-37686ED3AAC9}" dt="2025-03-05T19:37:40.190" v="5614" actId="1036"/>
          <ac:picMkLst>
            <pc:docMk/>
            <pc:sldMk cId="2115234211" sldId="2147482625"/>
            <ac:picMk id="30" creationId="{7A576FC8-EC06-3ED2-55BD-B3E9DF4D317D}"/>
          </ac:picMkLst>
        </pc:picChg>
        <pc:picChg chg="mod">
          <ac:chgData name="Asam, Jolina Katharina" userId="6f382d6e-e27a-4b44-aef1-f43b9e70ebd5" providerId="ADAL" clId="{0C8F6498-51F3-4BC4-99F7-37686ED3AAC9}" dt="2025-03-05T19:37:40.190" v="5614" actId="1036"/>
          <ac:picMkLst>
            <pc:docMk/>
            <pc:sldMk cId="2115234211" sldId="2147482625"/>
            <ac:picMk id="36" creationId="{1EE3804E-6C18-7912-A3F9-4B797094869B}"/>
          </ac:picMkLst>
        </pc:picChg>
        <pc:cxnChg chg="mod">
          <ac:chgData name="Asam, Jolina Katharina" userId="6f382d6e-e27a-4b44-aef1-f43b9e70ebd5" providerId="ADAL" clId="{0C8F6498-51F3-4BC4-99F7-37686ED3AAC9}" dt="2025-03-05T19:37:40.190" v="5614" actId="1036"/>
          <ac:cxnSpMkLst>
            <pc:docMk/>
            <pc:sldMk cId="2115234211" sldId="2147482625"/>
            <ac:cxnSpMk id="9" creationId="{2F1AD679-3446-0A79-C228-D2E3A9893797}"/>
          </ac:cxnSpMkLst>
        </pc:cxnChg>
        <pc:cxnChg chg="mod">
          <ac:chgData name="Asam, Jolina Katharina" userId="6f382d6e-e27a-4b44-aef1-f43b9e70ebd5" providerId="ADAL" clId="{0C8F6498-51F3-4BC4-99F7-37686ED3AAC9}" dt="2025-03-05T19:37:40.190" v="5614" actId="1036"/>
          <ac:cxnSpMkLst>
            <pc:docMk/>
            <pc:sldMk cId="2115234211" sldId="2147482625"/>
            <ac:cxnSpMk id="12" creationId="{7C29100F-61B6-D099-8FB7-9534A7BF27A0}"/>
          </ac:cxnSpMkLst>
        </pc:cxnChg>
        <pc:cxnChg chg="mod">
          <ac:chgData name="Asam, Jolina Katharina" userId="6f382d6e-e27a-4b44-aef1-f43b9e70ebd5" providerId="ADAL" clId="{0C8F6498-51F3-4BC4-99F7-37686ED3AAC9}" dt="2025-03-05T19:37:40.190" v="5614" actId="1036"/>
          <ac:cxnSpMkLst>
            <pc:docMk/>
            <pc:sldMk cId="2115234211" sldId="2147482625"/>
            <ac:cxnSpMk id="13" creationId="{2231C7CB-87EE-41DB-915C-B913F7C77FB1}"/>
          </ac:cxnSpMkLst>
        </pc:cxnChg>
      </pc:sldChg>
      <pc:sldChg chg="modSp mod">
        <pc:chgData name="Asam, Jolina Katharina" userId="6f382d6e-e27a-4b44-aef1-f43b9e70ebd5" providerId="ADAL" clId="{0C8F6498-51F3-4BC4-99F7-37686ED3AAC9}" dt="2025-03-05T18:33:32.262" v="5153" actId="1035"/>
        <pc:sldMkLst>
          <pc:docMk/>
          <pc:sldMk cId="884068214" sldId="2147482626"/>
        </pc:sldMkLst>
        <pc:spChg chg="mod">
          <ac:chgData name="Asam, Jolina Katharina" userId="6f382d6e-e27a-4b44-aef1-f43b9e70ebd5" providerId="ADAL" clId="{0C8F6498-51F3-4BC4-99F7-37686ED3AAC9}" dt="2025-03-05T12:33:45.939" v="722" actId="20577"/>
          <ac:spMkLst>
            <pc:docMk/>
            <pc:sldMk cId="884068214" sldId="2147482626"/>
            <ac:spMk id="16" creationId="{71A9303A-95BB-D9FE-B177-D109E8E0F339}"/>
          </ac:spMkLst>
        </pc:spChg>
        <pc:spChg chg="mod">
          <ac:chgData name="Asam, Jolina Katharina" userId="6f382d6e-e27a-4b44-aef1-f43b9e70ebd5" providerId="ADAL" clId="{0C8F6498-51F3-4BC4-99F7-37686ED3AAC9}" dt="2025-03-05T18:30:00.433" v="4644" actId="20577"/>
          <ac:spMkLst>
            <pc:docMk/>
            <pc:sldMk cId="884068214" sldId="2147482626"/>
            <ac:spMk id="25" creationId="{3AF7F11E-CC97-D96C-595A-28C6B90225CE}"/>
          </ac:spMkLst>
        </pc:spChg>
        <pc:spChg chg="mod">
          <ac:chgData name="Asam, Jolina Katharina" userId="6f382d6e-e27a-4b44-aef1-f43b9e70ebd5" providerId="ADAL" clId="{0C8F6498-51F3-4BC4-99F7-37686ED3AAC9}" dt="2025-03-05T18:33:32.262" v="5153" actId="1035"/>
          <ac:spMkLst>
            <pc:docMk/>
            <pc:sldMk cId="884068214" sldId="2147482626"/>
            <ac:spMk id="29" creationId="{FFCD6AA0-DC23-0E27-AE73-415D18660094}"/>
          </ac:spMkLst>
        </pc:spChg>
        <pc:spChg chg="mod">
          <ac:chgData name="Asam, Jolina Katharina" userId="6f382d6e-e27a-4b44-aef1-f43b9e70ebd5" providerId="ADAL" clId="{0C8F6498-51F3-4BC4-99F7-37686ED3AAC9}" dt="2025-03-05T18:33:32.262" v="5153" actId="1035"/>
          <ac:spMkLst>
            <pc:docMk/>
            <pc:sldMk cId="884068214" sldId="2147482626"/>
            <ac:spMk id="31" creationId="{223E6373-1FD2-8938-AFF2-CBED861BB861}"/>
          </ac:spMkLst>
        </pc:spChg>
        <pc:spChg chg="mod">
          <ac:chgData name="Asam, Jolina Katharina" userId="6f382d6e-e27a-4b44-aef1-f43b9e70ebd5" providerId="ADAL" clId="{0C8F6498-51F3-4BC4-99F7-37686ED3AAC9}" dt="2025-03-05T18:33:32.262" v="5153" actId="1035"/>
          <ac:spMkLst>
            <pc:docMk/>
            <pc:sldMk cId="884068214" sldId="2147482626"/>
            <ac:spMk id="35" creationId="{2E057132-9E88-C186-8B26-2DDE5A5CE540}"/>
          </ac:spMkLst>
        </pc:spChg>
        <pc:spChg chg="mod">
          <ac:chgData name="Asam, Jolina Katharina" userId="6f382d6e-e27a-4b44-aef1-f43b9e70ebd5" providerId="ADAL" clId="{0C8F6498-51F3-4BC4-99F7-37686ED3AAC9}" dt="2025-03-05T18:33:32.262" v="5153" actId="1035"/>
          <ac:spMkLst>
            <pc:docMk/>
            <pc:sldMk cId="884068214" sldId="2147482626"/>
            <ac:spMk id="37" creationId="{D3581E4D-BB4A-7910-DCB5-51234CCD2082}"/>
          </ac:spMkLst>
        </pc:spChg>
        <pc:picChg chg="mod">
          <ac:chgData name="Asam, Jolina Katharina" userId="6f382d6e-e27a-4b44-aef1-f43b9e70ebd5" providerId="ADAL" clId="{0C8F6498-51F3-4BC4-99F7-37686ED3AAC9}" dt="2025-03-05T18:33:32.262" v="5153" actId="1035"/>
          <ac:picMkLst>
            <pc:docMk/>
            <pc:sldMk cId="884068214" sldId="2147482626"/>
            <ac:picMk id="27" creationId="{670A74DD-2A65-2E2D-6D91-8504E19FE3EA}"/>
          </ac:picMkLst>
        </pc:picChg>
        <pc:picChg chg="mod">
          <ac:chgData name="Asam, Jolina Katharina" userId="6f382d6e-e27a-4b44-aef1-f43b9e70ebd5" providerId="ADAL" clId="{0C8F6498-51F3-4BC4-99F7-37686ED3AAC9}" dt="2025-03-05T18:33:32.262" v="5153" actId="1035"/>
          <ac:picMkLst>
            <pc:docMk/>
            <pc:sldMk cId="884068214" sldId="2147482626"/>
            <ac:picMk id="30" creationId="{A79C6E15-3D71-E88D-FA5E-2BC389898BE9}"/>
          </ac:picMkLst>
        </pc:picChg>
        <pc:cxnChg chg="mod">
          <ac:chgData name="Asam, Jolina Katharina" userId="6f382d6e-e27a-4b44-aef1-f43b9e70ebd5" providerId="ADAL" clId="{0C8F6498-51F3-4BC4-99F7-37686ED3AAC9}" dt="2025-03-05T18:33:32.262" v="5153" actId="1035"/>
          <ac:cxnSpMkLst>
            <pc:docMk/>
            <pc:sldMk cId="884068214" sldId="2147482626"/>
            <ac:cxnSpMk id="9" creationId="{2F1AD679-3446-0A79-C228-D2E3A9893797}"/>
          </ac:cxnSpMkLst>
        </pc:cxnChg>
        <pc:cxnChg chg="mod">
          <ac:chgData name="Asam, Jolina Katharina" userId="6f382d6e-e27a-4b44-aef1-f43b9e70ebd5" providerId="ADAL" clId="{0C8F6498-51F3-4BC4-99F7-37686ED3AAC9}" dt="2025-03-05T18:33:32.262" v="5153" actId="1035"/>
          <ac:cxnSpMkLst>
            <pc:docMk/>
            <pc:sldMk cId="884068214" sldId="2147482626"/>
            <ac:cxnSpMk id="11" creationId="{93A8B580-DBC6-BAFE-DCA8-825C65ED17A5}"/>
          </ac:cxnSpMkLst>
        </pc:cxnChg>
      </pc:sldChg>
      <pc:sldChg chg="modSp mod">
        <pc:chgData name="Asam, Jolina Katharina" userId="6f382d6e-e27a-4b44-aef1-f43b9e70ebd5" providerId="ADAL" clId="{0C8F6498-51F3-4BC4-99F7-37686ED3AAC9}" dt="2025-03-05T18:33:08.803" v="5097" actId="1035"/>
        <pc:sldMkLst>
          <pc:docMk/>
          <pc:sldMk cId="3435338909" sldId="2147482627"/>
        </pc:sldMkLst>
        <pc:spChg chg="mod">
          <ac:chgData name="Asam, Jolina Katharina" userId="6f382d6e-e27a-4b44-aef1-f43b9e70ebd5" providerId="ADAL" clId="{0C8F6498-51F3-4BC4-99F7-37686ED3AAC9}" dt="2025-03-05T12:33:52.322" v="724" actId="20577"/>
          <ac:spMkLst>
            <pc:docMk/>
            <pc:sldMk cId="3435338909" sldId="2147482627"/>
            <ac:spMk id="16" creationId="{71A9303A-95BB-D9FE-B177-D109E8E0F339}"/>
          </ac:spMkLst>
        </pc:spChg>
        <pc:spChg chg="mod">
          <ac:chgData name="Asam, Jolina Katharina" userId="6f382d6e-e27a-4b44-aef1-f43b9e70ebd5" providerId="ADAL" clId="{0C8F6498-51F3-4BC4-99F7-37686ED3AAC9}" dt="2025-03-05T18:30:52.099" v="4655" actId="20577"/>
          <ac:spMkLst>
            <pc:docMk/>
            <pc:sldMk cId="3435338909" sldId="2147482627"/>
            <ac:spMk id="25" creationId="{3AF7F11E-CC97-D96C-595A-28C6B90225CE}"/>
          </ac:spMkLst>
        </pc:spChg>
        <pc:spChg chg="mod">
          <ac:chgData name="Asam, Jolina Katharina" userId="6f382d6e-e27a-4b44-aef1-f43b9e70ebd5" providerId="ADAL" clId="{0C8F6498-51F3-4BC4-99F7-37686ED3AAC9}" dt="2025-03-05T18:33:08.803" v="5097" actId="1035"/>
          <ac:spMkLst>
            <pc:docMk/>
            <pc:sldMk cId="3435338909" sldId="2147482627"/>
            <ac:spMk id="29" creationId="{FFCD6AA0-DC23-0E27-AE73-415D18660094}"/>
          </ac:spMkLst>
        </pc:spChg>
        <pc:spChg chg="mod">
          <ac:chgData name="Asam, Jolina Katharina" userId="6f382d6e-e27a-4b44-aef1-f43b9e70ebd5" providerId="ADAL" clId="{0C8F6498-51F3-4BC4-99F7-37686ED3AAC9}" dt="2025-03-05T18:33:08.803" v="5097" actId="1035"/>
          <ac:spMkLst>
            <pc:docMk/>
            <pc:sldMk cId="3435338909" sldId="2147482627"/>
            <ac:spMk id="31" creationId="{223E6373-1FD2-8938-AFF2-CBED861BB861}"/>
          </ac:spMkLst>
        </pc:spChg>
        <pc:spChg chg="mod">
          <ac:chgData name="Asam, Jolina Katharina" userId="6f382d6e-e27a-4b44-aef1-f43b9e70ebd5" providerId="ADAL" clId="{0C8F6498-51F3-4BC4-99F7-37686ED3AAC9}" dt="2025-03-05T18:33:08.803" v="5097" actId="1035"/>
          <ac:spMkLst>
            <pc:docMk/>
            <pc:sldMk cId="3435338909" sldId="2147482627"/>
            <ac:spMk id="35" creationId="{2E057132-9E88-C186-8B26-2DDE5A5CE540}"/>
          </ac:spMkLst>
        </pc:spChg>
        <pc:spChg chg="mod">
          <ac:chgData name="Asam, Jolina Katharina" userId="6f382d6e-e27a-4b44-aef1-f43b9e70ebd5" providerId="ADAL" clId="{0C8F6498-51F3-4BC4-99F7-37686ED3AAC9}" dt="2025-03-05T18:33:08.803" v="5097" actId="1035"/>
          <ac:spMkLst>
            <pc:docMk/>
            <pc:sldMk cId="3435338909" sldId="2147482627"/>
            <ac:spMk id="37" creationId="{D3581E4D-BB4A-7910-DCB5-51234CCD2082}"/>
          </ac:spMkLst>
        </pc:spChg>
        <pc:picChg chg="mod">
          <ac:chgData name="Asam, Jolina Katharina" userId="6f382d6e-e27a-4b44-aef1-f43b9e70ebd5" providerId="ADAL" clId="{0C8F6498-51F3-4BC4-99F7-37686ED3AAC9}" dt="2025-03-05T18:33:08.803" v="5097" actId="1035"/>
          <ac:picMkLst>
            <pc:docMk/>
            <pc:sldMk cId="3435338909" sldId="2147482627"/>
            <ac:picMk id="27" creationId="{73E5EBFD-87D5-A08C-C320-1B252F9A5EEE}"/>
          </ac:picMkLst>
        </pc:picChg>
        <pc:picChg chg="mod">
          <ac:chgData name="Asam, Jolina Katharina" userId="6f382d6e-e27a-4b44-aef1-f43b9e70ebd5" providerId="ADAL" clId="{0C8F6498-51F3-4BC4-99F7-37686ED3AAC9}" dt="2025-03-05T18:33:08.803" v="5097" actId="1035"/>
          <ac:picMkLst>
            <pc:docMk/>
            <pc:sldMk cId="3435338909" sldId="2147482627"/>
            <ac:picMk id="33" creationId="{D8CB9779-D8B0-6AAD-57A5-4338A85E0D0D}"/>
          </ac:picMkLst>
        </pc:picChg>
        <pc:cxnChg chg="mod">
          <ac:chgData name="Asam, Jolina Katharina" userId="6f382d6e-e27a-4b44-aef1-f43b9e70ebd5" providerId="ADAL" clId="{0C8F6498-51F3-4BC4-99F7-37686ED3AAC9}" dt="2025-03-05T18:33:08.803" v="5097" actId="1035"/>
          <ac:cxnSpMkLst>
            <pc:docMk/>
            <pc:sldMk cId="3435338909" sldId="2147482627"/>
            <ac:cxnSpMk id="9" creationId="{2F1AD679-3446-0A79-C228-D2E3A9893797}"/>
          </ac:cxnSpMkLst>
        </pc:cxnChg>
        <pc:cxnChg chg="mod">
          <ac:chgData name="Asam, Jolina Katharina" userId="6f382d6e-e27a-4b44-aef1-f43b9e70ebd5" providerId="ADAL" clId="{0C8F6498-51F3-4BC4-99F7-37686ED3AAC9}" dt="2025-03-05T18:33:08.803" v="5097" actId="1035"/>
          <ac:cxnSpMkLst>
            <pc:docMk/>
            <pc:sldMk cId="3435338909" sldId="2147482627"/>
            <ac:cxnSpMk id="11" creationId="{93A8B580-DBC6-BAFE-DCA8-825C65ED17A5}"/>
          </ac:cxnSpMkLst>
        </pc:cxnChg>
      </pc:sldChg>
      <pc:sldChg chg="modSp mod">
        <pc:chgData name="Asam, Jolina Katharina" userId="6f382d6e-e27a-4b44-aef1-f43b9e70ebd5" providerId="ADAL" clId="{0C8F6498-51F3-4BC4-99F7-37686ED3AAC9}" dt="2025-03-05T18:29:18.064" v="4634" actId="20577"/>
        <pc:sldMkLst>
          <pc:docMk/>
          <pc:sldMk cId="1468961216" sldId="2147482628"/>
        </pc:sldMkLst>
        <pc:spChg chg="mod">
          <ac:chgData name="Asam, Jolina Katharina" userId="6f382d6e-e27a-4b44-aef1-f43b9e70ebd5" providerId="ADAL" clId="{0C8F6498-51F3-4BC4-99F7-37686ED3AAC9}" dt="2025-03-05T12:33:54.664" v="725" actId="20577"/>
          <ac:spMkLst>
            <pc:docMk/>
            <pc:sldMk cId="1468961216" sldId="2147482628"/>
            <ac:spMk id="16" creationId="{71A9303A-95BB-D9FE-B177-D109E8E0F339}"/>
          </ac:spMkLst>
        </pc:spChg>
        <pc:spChg chg="mod">
          <ac:chgData name="Asam, Jolina Katharina" userId="6f382d6e-e27a-4b44-aef1-f43b9e70ebd5" providerId="ADAL" clId="{0C8F6498-51F3-4BC4-99F7-37686ED3AAC9}" dt="2025-03-05T18:29:18.064" v="4634" actId="20577"/>
          <ac:spMkLst>
            <pc:docMk/>
            <pc:sldMk cId="1468961216" sldId="2147482628"/>
            <ac:spMk id="25" creationId="{3AF7F11E-CC97-D96C-595A-28C6B90225CE}"/>
          </ac:spMkLst>
        </pc:spChg>
      </pc:sldChg>
      <pc:sldChg chg="modSp mod">
        <pc:chgData name="Asam, Jolina Katharina" userId="6f382d6e-e27a-4b44-aef1-f43b9e70ebd5" providerId="ADAL" clId="{0C8F6498-51F3-4BC4-99F7-37686ED3AAC9}" dt="2025-03-05T19:36:35.487" v="5594" actId="20577"/>
        <pc:sldMkLst>
          <pc:docMk/>
          <pc:sldMk cId="2675910179" sldId="2147482629"/>
        </pc:sldMkLst>
        <pc:spChg chg="mod">
          <ac:chgData name="Asam, Jolina Katharina" userId="6f382d6e-e27a-4b44-aef1-f43b9e70ebd5" providerId="ADAL" clId="{0C8F6498-51F3-4BC4-99F7-37686ED3AAC9}" dt="2025-03-05T18:25:01.343" v="4597" actId="113"/>
          <ac:spMkLst>
            <pc:docMk/>
            <pc:sldMk cId="2675910179" sldId="2147482629"/>
            <ac:spMk id="19" creationId="{D8CE7914-CBBC-5E99-3C4E-C5765617CC71}"/>
          </ac:spMkLst>
        </pc:spChg>
        <pc:spChg chg="mod">
          <ac:chgData name="Asam, Jolina Katharina" userId="6f382d6e-e27a-4b44-aef1-f43b9e70ebd5" providerId="ADAL" clId="{0C8F6498-51F3-4BC4-99F7-37686ED3AAC9}" dt="2025-03-05T19:36:11.349" v="5592" actId="20577"/>
          <ac:spMkLst>
            <pc:docMk/>
            <pc:sldMk cId="2675910179" sldId="2147482629"/>
            <ac:spMk id="25" creationId="{3AF7F11E-CC97-D96C-595A-28C6B90225CE}"/>
          </ac:spMkLst>
        </pc:spChg>
        <pc:spChg chg="mod">
          <ac:chgData name="Asam, Jolina Katharina" userId="6f382d6e-e27a-4b44-aef1-f43b9e70ebd5" providerId="ADAL" clId="{0C8F6498-51F3-4BC4-99F7-37686ED3AAC9}" dt="2025-03-05T18:31:47.949" v="4807" actId="1035"/>
          <ac:spMkLst>
            <pc:docMk/>
            <pc:sldMk cId="2675910179" sldId="2147482629"/>
            <ac:spMk id="29" creationId="{FFCD6AA0-DC23-0E27-AE73-415D18660094}"/>
          </ac:spMkLst>
        </pc:spChg>
        <pc:spChg chg="mod">
          <ac:chgData name="Asam, Jolina Katharina" userId="6f382d6e-e27a-4b44-aef1-f43b9e70ebd5" providerId="ADAL" clId="{0C8F6498-51F3-4BC4-99F7-37686ED3AAC9}" dt="2025-03-05T19:36:35.487" v="5594" actId="20577"/>
          <ac:spMkLst>
            <pc:docMk/>
            <pc:sldMk cId="2675910179" sldId="2147482629"/>
            <ac:spMk id="31" creationId="{223E6373-1FD2-8938-AFF2-CBED861BB861}"/>
          </ac:spMkLst>
        </pc:spChg>
        <pc:spChg chg="mod">
          <ac:chgData name="Asam, Jolina Katharina" userId="6f382d6e-e27a-4b44-aef1-f43b9e70ebd5" providerId="ADAL" clId="{0C8F6498-51F3-4BC4-99F7-37686ED3AAC9}" dt="2025-03-05T18:31:47.949" v="4807" actId="1035"/>
          <ac:spMkLst>
            <pc:docMk/>
            <pc:sldMk cId="2675910179" sldId="2147482629"/>
            <ac:spMk id="35" creationId="{2E057132-9E88-C186-8B26-2DDE5A5CE540}"/>
          </ac:spMkLst>
        </pc:spChg>
        <pc:spChg chg="mod">
          <ac:chgData name="Asam, Jolina Katharina" userId="6f382d6e-e27a-4b44-aef1-f43b9e70ebd5" providerId="ADAL" clId="{0C8F6498-51F3-4BC4-99F7-37686ED3AAC9}" dt="2025-03-05T18:31:47.949" v="4807" actId="1035"/>
          <ac:spMkLst>
            <pc:docMk/>
            <pc:sldMk cId="2675910179" sldId="2147482629"/>
            <ac:spMk id="37" creationId="{D3581E4D-BB4A-7910-DCB5-51234CCD2082}"/>
          </ac:spMkLst>
        </pc:spChg>
        <pc:picChg chg="mod">
          <ac:chgData name="Asam, Jolina Katharina" userId="6f382d6e-e27a-4b44-aef1-f43b9e70ebd5" providerId="ADAL" clId="{0C8F6498-51F3-4BC4-99F7-37686ED3AAC9}" dt="2025-03-05T18:31:47.949" v="4807" actId="1035"/>
          <ac:picMkLst>
            <pc:docMk/>
            <pc:sldMk cId="2675910179" sldId="2147482629"/>
            <ac:picMk id="27" creationId="{A6B06D12-CE08-5BAD-CBF2-A5DF80EC85BA}"/>
          </ac:picMkLst>
        </pc:picChg>
        <pc:picChg chg="mod">
          <ac:chgData name="Asam, Jolina Katharina" userId="6f382d6e-e27a-4b44-aef1-f43b9e70ebd5" providerId="ADAL" clId="{0C8F6498-51F3-4BC4-99F7-37686ED3AAC9}" dt="2025-03-05T18:31:47.949" v="4807" actId="1035"/>
          <ac:picMkLst>
            <pc:docMk/>
            <pc:sldMk cId="2675910179" sldId="2147482629"/>
            <ac:picMk id="30" creationId="{8C05635F-EBEE-B8C7-CF82-2F24C25632B3}"/>
          </ac:picMkLst>
        </pc:picChg>
        <pc:cxnChg chg="mod">
          <ac:chgData name="Asam, Jolina Katharina" userId="6f382d6e-e27a-4b44-aef1-f43b9e70ebd5" providerId="ADAL" clId="{0C8F6498-51F3-4BC4-99F7-37686ED3AAC9}" dt="2025-03-05T18:31:47.949" v="4807" actId="1035"/>
          <ac:cxnSpMkLst>
            <pc:docMk/>
            <pc:sldMk cId="2675910179" sldId="2147482629"/>
            <ac:cxnSpMk id="9" creationId="{2F1AD679-3446-0A79-C228-D2E3A9893797}"/>
          </ac:cxnSpMkLst>
        </pc:cxnChg>
        <pc:cxnChg chg="mod">
          <ac:chgData name="Asam, Jolina Katharina" userId="6f382d6e-e27a-4b44-aef1-f43b9e70ebd5" providerId="ADAL" clId="{0C8F6498-51F3-4BC4-99F7-37686ED3AAC9}" dt="2025-03-05T18:31:47.949" v="4807" actId="1035"/>
          <ac:cxnSpMkLst>
            <pc:docMk/>
            <pc:sldMk cId="2675910179" sldId="2147482629"/>
            <ac:cxnSpMk id="11" creationId="{93A8B580-DBC6-BAFE-DCA8-825C65ED17A5}"/>
          </ac:cxnSpMkLst>
        </pc:cxnChg>
      </pc:sldChg>
      <pc:sldChg chg="modSp mod">
        <pc:chgData name="Asam, Jolina Katharina" userId="6f382d6e-e27a-4b44-aef1-f43b9e70ebd5" providerId="ADAL" clId="{0C8F6498-51F3-4BC4-99F7-37686ED3AAC9}" dt="2025-03-05T18:55:21.681" v="5287" actId="20577"/>
        <pc:sldMkLst>
          <pc:docMk/>
          <pc:sldMk cId="2142078424" sldId="2147482630"/>
        </pc:sldMkLst>
        <pc:spChg chg="mod">
          <ac:chgData name="Asam, Jolina Katharina" userId="6f382d6e-e27a-4b44-aef1-f43b9e70ebd5" providerId="ADAL" clId="{0C8F6498-51F3-4BC4-99F7-37686ED3AAC9}" dt="2025-03-05T12:34:02.976" v="726" actId="20577"/>
          <ac:spMkLst>
            <pc:docMk/>
            <pc:sldMk cId="2142078424" sldId="2147482630"/>
            <ac:spMk id="16" creationId="{71A9303A-95BB-D9FE-B177-D109E8E0F339}"/>
          </ac:spMkLst>
        </pc:spChg>
        <pc:spChg chg="mod">
          <ac:chgData name="Asam, Jolina Katharina" userId="6f382d6e-e27a-4b44-aef1-f43b9e70ebd5" providerId="ADAL" clId="{0C8F6498-51F3-4BC4-99F7-37686ED3AAC9}" dt="2025-03-05T18:55:21.681" v="5287" actId="20577"/>
          <ac:spMkLst>
            <pc:docMk/>
            <pc:sldMk cId="2142078424" sldId="2147482630"/>
            <ac:spMk id="19" creationId="{D8CE7914-CBBC-5E99-3C4E-C5765617CC71}"/>
          </ac:spMkLst>
        </pc:spChg>
        <pc:spChg chg="mod">
          <ac:chgData name="Asam, Jolina Katharina" userId="6f382d6e-e27a-4b44-aef1-f43b9e70ebd5" providerId="ADAL" clId="{0C8F6498-51F3-4BC4-99F7-37686ED3AAC9}" dt="2025-03-05T18:32:05.224" v="4871" actId="1036"/>
          <ac:spMkLst>
            <pc:docMk/>
            <pc:sldMk cId="2142078424" sldId="2147482630"/>
            <ac:spMk id="23" creationId="{3195ABAB-67CE-F714-1604-528A4C8CEAA4}"/>
          </ac:spMkLst>
        </pc:spChg>
        <pc:spChg chg="mod">
          <ac:chgData name="Asam, Jolina Katharina" userId="6f382d6e-e27a-4b44-aef1-f43b9e70ebd5" providerId="ADAL" clId="{0C8F6498-51F3-4BC4-99F7-37686ED3AAC9}" dt="2025-03-05T18:32:05.224" v="4871" actId="1036"/>
          <ac:spMkLst>
            <pc:docMk/>
            <pc:sldMk cId="2142078424" sldId="2147482630"/>
            <ac:spMk id="25" creationId="{3AF7F11E-CC97-D96C-595A-28C6B90225CE}"/>
          </ac:spMkLst>
        </pc:spChg>
        <pc:spChg chg="mod">
          <ac:chgData name="Asam, Jolina Katharina" userId="6f382d6e-e27a-4b44-aef1-f43b9e70ebd5" providerId="ADAL" clId="{0C8F6498-51F3-4BC4-99F7-37686ED3AAC9}" dt="2025-03-05T18:32:05.224" v="4871" actId="1036"/>
          <ac:spMkLst>
            <pc:docMk/>
            <pc:sldMk cId="2142078424" sldId="2147482630"/>
            <ac:spMk id="29" creationId="{FFCD6AA0-DC23-0E27-AE73-415D18660094}"/>
          </ac:spMkLst>
        </pc:spChg>
        <pc:spChg chg="mod">
          <ac:chgData name="Asam, Jolina Katharina" userId="6f382d6e-e27a-4b44-aef1-f43b9e70ebd5" providerId="ADAL" clId="{0C8F6498-51F3-4BC4-99F7-37686ED3AAC9}" dt="2025-03-05T18:32:05.224" v="4871" actId="1036"/>
          <ac:spMkLst>
            <pc:docMk/>
            <pc:sldMk cId="2142078424" sldId="2147482630"/>
            <ac:spMk id="31" creationId="{223E6373-1FD2-8938-AFF2-CBED861BB861}"/>
          </ac:spMkLst>
        </pc:spChg>
        <pc:picChg chg="mod">
          <ac:chgData name="Asam, Jolina Katharina" userId="6f382d6e-e27a-4b44-aef1-f43b9e70ebd5" providerId="ADAL" clId="{0C8F6498-51F3-4BC4-99F7-37686ED3AAC9}" dt="2025-03-05T18:32:05.224" v="4871" actId="1036"/>
          <ac:picMkLst>
            <pc:docMk/>
            <pc:sldMk cId="2142078424" sldId="2147482630"/>
            <ac:picMk id="24" creationId="{8573B586-5790-0CE8-314F-C18E521FA6C5}"/>
          </ac:picMkLst>
        </pc:picChg>
        <pc:picChg chg="mod">
          <ac:chgData name="Asam, Jolina Katharina" userId="6f382d6e-e27a-4b44-aef1-f43b9e70ebd5" providerId="ADAL" clId="{0C8F6498-51F3-4BC4-99F7-37686ED3AAC9}" dt="2025-03-05T18:32:05.224" v="4871" actId="1036"/>
          <ac:picMkLst>
            <pc:docMk/>
            <pc:sldMk cId="2142078424" sldId="2147482630"/>
            <ac:picMk id="27" creationId="{AA62F919-D855-627D-C30D-DFDB730F7C6A}"/>
          </ac:picMkLst>
        </pc:picChg>
        <pc:cxnChg chg="mod">
          <ac:chgData name="Asam, Jolina Katharina" userId="6f382d6e-e27a-4b44-aef1-f43b9e70ebd5" providerId="ADAL" clId="{0C8F6498-51F3-4BC4-99F7-37686ED3AAC9}" dt="2025-03-05T18:32:05.224" v="4871" actId="1036"/>
          <ac:cxnSpMkLst>
            <pc:docMk/>
            <pc:sldMk cId="2142078424" sldId="2147482630"/>
            <ac:cxnSpMk id="11" creationId="{93A8B580-DBC6-BAFE-DCA8-825C65ED17A5}"/>
          </ac:cxnSpMkLst>
        </pc:cxnChg>
        <pc:cxnChg chg="mod">
          <ac:chgData name="Asam, Jolina Katharina" userId="6f382d6e-e27a-4b44-aef1-f43b9e70ebd5" providerId="ADAL" clId="{0C8F6498-51F3-4BC4-99F7-37686ED3AAC9}" dt="2025-03-05T18:32:05.224" v="4871" actId="1036"/>
          <ac:cxnSpMkLst>
            <pc:docMk/>
            <pc:sldMk cId="2142078424" sldId="2147482630"/>
            <ac:cxnSpMk id="13" creationId="{2231C7CB-87EE-41DB-915C-B913F7C77FB1}"/>
          </ac:cxnSpMkLst>
        </pc:cxnChg>
      </pc:sldChg>
      <pc:sldChg chg="modSp mod">
        <pc:chgData name="Asam, Jolina Katharina" userId="6f382d6e-e27a-4b44-aef1-f43b9e70ebd5" providerId="ADAL" clId="{0C8F6498-51F3-4BC4-99F7-37686ED3AAC9}" dt="2025-03-05T19:35:37.606" v="5590" actId="1035"/>
        <pc:sldMkLst>
          <pc:docMk/>
          <pc:sldMk cId="1176798045" sldId="2147482631"/>
        </pc:sldMkLst>
        <pc:spChg chg="mod">
          <ac:chgData name="Asam, Jolina Katharina" userId="6f382d6e-e27a-4b44-aef1-f43b9e70ebd5" providerId="ADAL" clId="{0C8F6498-51F3-4BC4-99F7-37686ED3AAC9}" dt="2025-03-05T12:34:05.005" v="727" actId="20577"/>
          <ac:spMkLst>
            <pc:docMk/>
            <pc:sldMk cId="1176798045" sldId="2147482631"/>
            <ac:spMk id="16" creationId="{71A9303A-95BB-D9FE-B177-D109E8E0F339}"/>
          </ac:spMkLst>
        </pc:spChg>
        <pc:spChg chg="mod">
          <ac:chgData name="Asam, Jolina Katharina" userId="6f382d6e-e27a-4b44-aef1-f43b9e70ebd5" providerId="ADAL" clId="{0C8F6498-51F3-4BC4-99F7-37686ED3AAC9}" dt="2025-03-05T18:28:39.376" v="4627" actId="113"/>
          <ac:spMkLst>
            <pc:docMk/>
            <pc:sldMk cId="1176798045" sldId="2147482631"/>
            <ac:spMk id="19" creationId="{D8CE7914-CBBC-5E99-3C4E-C5765617CC71}"/>
          </ac:spMkLst>
        </pc:spChg>
        <pc:spChg chg="mod">
          <ac:chgData name="Asam, Jolina Katharina" userId="6f382d6e-e27a-4b44-aef1-f43b9e70ebd5" providerId="ADAL" clId="{0C8F6498-51F3-4BC4-99F7-37686ED3AAC9}" dt="2025-03-05T19:35:31.049" v="5566" actId="20577"/>
          <ac:spMkLst>
            <pc:docMk/>
            <pc:sldMk cId="1176798045" sldId="2147482631"/>
            <ac:spMk id="25" creationId="{3AF7F11E-CC97-D96C-595A-28C6B90225CE}"/>
          </ac:spMkLst>
        </pc:spChg>
        <pc:spChg chg="mod">
          <ac:chgData name="Asam, Jolina Katharina" userId="6f382d6e-e27a-4b44-aef1-f43b9e70ebd5" providerId="ADAL" clId="{0C8F6498-51F3-4BC4-99F7-37686ED3AAC9}" dt="2025-03-05T19:35:37.606" v="5590" actId="1035"/>
          <ac:spMkLst>
            <pc:docMk/>
            <pc:sldMk cId="1176798045" sldId="2147482631"/>
            <ac:spMk id="32" creationId="{9828C3F1-4E39-BBB9-603A-D4A23446A554}"/>
          </ac:spMkLst>
        </pc:spChg>
        <pc:spChg chg="mod">
          <ac:chgData name="Asam, Jolina Katharina" userId="6f382d6e-e27a-4b44-aef1-f43b9e70ebd5" providerId="ADAL" clId="{0C8F6498-51F3-4BC4-99F7-37686ED3AAC9}" dt="2025-03-05T19:35:37.606" v="5590" actId="1035"/>
          <ac:spMkLst>
            <pc:docMk/>
            <pc:sldMk cId="1176798045" sldId="2147482631"/>
            <ac:spMk id="34" creationId="{D4588552-0F6F-D87D-A7FD-8FDCAEBA242F}"/>
          </ac:spMkLst>
        </pc:spChg>
        <pc:picChg chg="mod">
          <ac:chgData name="Asam, Jolina Katharina" userId="6f382d6e-e27a-4b44-aef1-f43b9e70ebd5" providerId="ADAL" clId="{0C8F6498-51F3-4BC4-99F7-37686ED3AAC9}" dt="2025-03-05T19:35:37.606" v="5590" actId="1035"/>
          <ac:picMkLst>
            <pc:docMk/>
            <pc:sldMk cId="1176798045" sldId="2147482631"/>
            <ac:picMk id="27" creationId="{A8A73F55-C727-2FF4-8B71-37C7D6C7888C}"/>
          </ac:picMkLst>
        </pc:picChg>
        <pc:cxnChg chg="mod">
          <ac:chgData name="Asam, Jolina Katharina" userId="6f382d6e-e27a-4b44-aef1-f43b9e70ebd5" providerId="ADAL" clId="{0C8F6498-51F3-4BC4-99F7-37686ED3AAC9}" dt="2025-03-05T19:35:37.606" v="5590" actId="1035"/>
          <ac:cxnSpMkLst>
            <pc:docMk/>
            <pc:sldMk cId="1176798045" sldId="2147482631"/>
            <ac:cxnSpMk id="10" creationId="{369B7892-BCCA-04CD-FCF9-9E945B809B7E}"/>
          </ac:cxnSpMkLst>
        </pc:cxnChg>
      </pc:sldChg>
      <pc:sldChg chg="modSp mod">
        <pc:chgData name="Asam, Jolina Katharina" userId="6f382d6e-e27a-4b44-aef1-f43b9e70ebd5" providerId="ADAL" clId="{0C8F6498-51F3-4BC4-99F7-37686ED3AAC9}" dt="2025-03-05T19:35:04.031" v="5565" actId="1035"/>
        <pc:sldMkLst>
          <pc:docMk/>
          <pc:sldMk cId="2504833471" sldId="2147482632"/>
        </pc:sldMkLst>
        <pc:spChg chg="mod">
          <ac:chgData name="Asam, Jolina Katharina" userId="6f382d6e-e27a-4b44-aef1-f43b9e70ebd5" providerId="ADAL" clId="{0C8F6498-51F3-4BC4-99F7-37686ED3AAC9}" dt="2025-03-05T12:34:06.509" v="728" actId="20577"/>
          <ac:spMkLst>
            <pc:docMk/>
            <pc:sldMk cId="2504833471" sldId="2147482632"/>
            <ac:spMk id="16" creationId="{71A9303A-95BB-D9FE-B177-D109E8E0F339}"/>
          </ac:spMkLst>
        </pc:spChg>
        <pc:spChg chg="mod">
          <ac:chgData name="Asam, Jolina Katharina" userId="6f382d6e-e27a-4b44-aef1-f43b9e70ebd5" providerId="ADAL" clId="{0C8F6498-51F3-4BC4-99F7-37686ED3AAC9}" dt="2025-03-05T19:34:15.997" v="5553" actId="20577"/>
          <ac:spMkLst>
            <pc:docMk/>
            <pc:sldMk cId="2504833471" sldId="2147482632"/>
            <ac:spMk id="19" creationId="{D8CE7914-CBBC-5E99-3C4E-C5765617CC71}"/>
          </ac:spMkLst>
        </pc:spChg>
        <pc:spChg chg="mod">
          <ac:chgData name="Asam, Jolina Katharina" userId="6f382d6e-e27a-4b44-aef1-f43b9e70ebd5" providerId="ADAL" clId="{0C8F6498-51F3-4BC4-99F7-37686ED3AAC9}" dt="2025-03-05T19:34:59.335" v="5555" actId="20577"/>
          <ac:spMkLst>
            <pc:docMk/>
            <pc:sldMk cId="2504833471" sldId="2147482632"/>
            <ac:spMk id="25" creationId="{3AF7F11E-CC97-D96C-595A-28C6B90225CE}"/>
          </ac:spMkLst>
        </pc:spChg>
        <pc:spChg chg="mod">
          <ac:chgData name="Asam, Jolina Katharina" userId="6f382d6e-e27a-4b44-aef1-f43b9e70ebd5" providerId="ADAL" clId="{0C8F6498-51F3-4BC4-99F7-37686ED3AAC9}" dt="2025-03-05T19:35:04.031" v="5565" actId="1035"/>
          <ac:spMkLst>
            <pc:docMk/>
            <pc:sldMk cId="2504833471" sldId="2147482632"/>
            <ac:spMk id="29" creationId="{FFCD6AA0-DC23-0E27-AE73-415D18660094}"/>
          </ac:spMkLst>
        </pc:spChg>
        <pc:spChg chg="mod">
          <ac:chgData name="Asam, Jolina Katharina" userId="6f382d6e-e27a-4b44-aef1-f43b9e70ebd5" providerId="ADAL" clId="{0C8F6498-51F3-4BC4-99F7-37686ED3AAC9}" dt="2025-03-05T19:35:04.031" v="5565" actId="1035"/>
          <ac:spMkLst>
            <pc:docMk/>
            <pc:sldMk cId="2504833471" sldId="2147482632"/>
            <ac:spMk id="31" creationId="{223E6373-1FD2-8938-AFF2-CBED861BB861}"/>
          </ac:spMkLst>
        </pc:spChg>
        <pc:spChg chg="mod">
          <ac:chgData name="Asam, Jolina Katharina" userId="6f382d6e-e27a-4b44-aef1-f43b9e70ebd5" providerId="ADAL" clId="{0C8F6498-51F3-4BC4-99F7-37686ED3AAC9}" dt="2025-03-05T19:35:04.031" v="5565" actId="1035"/>
          <ac:spMkLst>
            <pc:docMk/>
            <pc:sldMk cId="2504833471" sldId="2147482632"/>
            <ac:spMk id="35" creationId="{2E057132-9E88-C186-8B26-2DDE5A5CE540}"/>
          </ac:spMkLst>
        </pc:spChg>
        <pc:spChg chg="mod">
          <ac:chgData name="Asam, Jolina Katharina" userId="6f382d6e-e27a-4b44-aef1-f43b9e70ebd5" providerId="ADAL" clId="{0C8F6498-51F3-4BC4-99F7-37686ED3AAC9}" dt="2025-03-05T19:35:04.031" v="5565" actId="1035"/>
          <ac:spMkLst>
            <pc:docMk/>
            <pc:sldMk cId="2504833471" sldId="2147482632"/>
            <ac:spMk id="37" creationId="{D3581E4D-BB4A-7910-DCB5-51234CCD2082}"/>
          </ac:spMkLst>
        </pc:spChg>
        <pc:picChg chg="mod">
          <ac:chgData name="Asam, Jolina Katharina" userId="6f382d6e-e27a-4b44-aef1-f43b9e70ebd5" providerId="ADAL" clId="{0C8F6498-51F3-4BC4-99F7-37686ED3AAC9}" dt="2025-03-05T19:35:04.031" v="5565" actId="1035"/>
          <ac:picMkLst>
            <pc:docMk/>
            <pc:sldMk cId="2504833471" sldId="2147482632"/>
            <ac:picMk id="24" creationId="{3F66654C-2B31-E2CA-570E-BF3983EF8A6E}"/>
          </ac:picMkLst>
        </pc:picChg>
        <pc:picChg chg="mod">
          <ac:chgData name="Asam, Jolina Katharina" userId="6f382d6e-e27a-4b44-aef1-f43b9e70ebd5" providerId="ADAL" clId="{0C8F6498-51F3-4BC4-99F7-37686ED3AAC9}" dt="2025-03-05T19:35:04.031" v="5565" actId="1035"/>
          <ac:picMkLst>
            <pc:docMk/>
            <pc:sldMk cId="2504833471" sldId="2147482632"/>
            <ac:picMk id="30" creationId="{7F937C16-15B9-86AC-62F0-F9FFBC3D94D7}"/>
          </ac:picMkLst>
        </pc:picChg>
        <pc:cxnChg chg="mod">
          <ac:chgData name="Asam, Jolina Katharina" userId="6f382d6e-e27a-4b44-aef1-f43b9e70ebd5" providerId="ADAL" clId="{0C8F6498-51F3-4BC4-99F7-37686ED3AAC9}" dt="2025-03-05T19:35:04.031" v="5565" actId="1035"/>
          <ac:cxnSpMkLst>
            <pc:docMk/>
            <pc:sldMk cId="2504833471" sldId="2147482632"/>
            <ac:cxnSpMk id="9" creationId="{2F1AD679-3446-0A79-C228-D2E3A9893797}"/>
          </ac:cxnSpMkLst>
        </pc:cxnChg>
        <pc:cxnChg chg="mod">
          <ac:chgData name="Asam, Jolina Katharina" userId="6f382d6e-e27a-4b44-aef1-f43b9e70ebd5" providerId="ADAL" clId="{0C8F6498-51F3-4BC4-99F7-37686ED3AAC9}" dt="2025-03-05T19:35:04.031" v="5565" actId="1035"/>
          <ac:cxnSpMkLst>
            <pc:docMk/>
            <pc:sldMk cId="2504833471" sldId="2147482632"/>
            <ac:cxnSpMk id="11" creationId="{93A8B580-DBC6-BAFE-DCA8-825C65ED17A5}"/>
          </ac:cxnSpMkLst>
        </pc:cxnChg>
      </pc:sldChg>
      <pc:sldChg chg="modSp mod">
        <pc:chgData name="Asam, Jolina Katharina" userId="6f382d6e-e27a-4b44-aef1-f43b9e70ebd5" providerId="ADAL" clId="{0C8F6498-51F3-4BC4-99F7-37686ED3AAC9}" dt="2025-03-05T18:32:57.903" v="5077" actId="1036"/>
        <pc:sldMkLst>
          <pc:docMk/>
          <pc:sldMk cId="2091448525" sldId="2147482633"/>
        </pc:sldMkLst>
        <pc:spChg chg="mod">
          <ac:chgData name="Asam, Jolina Katharina" userId="6f382d6e-e27a-4b44-aef1-f43b9e70ebd5" providerId="ADAL" clId="{0C8F6498-51F3-4BC4-99F7-37686ED3AAC9}" dt="2025-03-05T12:34:09.106" v="729" actId="20577"/>
          <ac:spMkLst>
            <pc:docMk/>
            <pc:sldMk cId="2091448525" sldId="2147482633"/>
            <ac:spMk id="16" creationId="{71A9303A-95BB-D9FE-B177-D109E8E0F339}"/>
          </ac:spMkLst>
        </pc:spChg>
        <pc:spChg chg="mod">
          <ac:chgData name="Asam, Jolina Katharina" userId="6f382d6e-e27a-4b44-aef1-f43b9e70ebd5" providerId="ADAL" clId="{0C8F6498-51F3-4BC4-99F7-37686ED3AAC9}" dt="2025-03-05T18:32:57.903" v="5077" actId="1036"/>
          <ac:spMkLst>
            <pc:docMk/>
            <pc:sldMk cId="2091448525" sldId="2147482633"/>
            <ac:spMk id="28" creationId="{AADF7B53-9E4C-8056-7221-86277A45CD44}"/>
          </ac:spMkLst>
        </pc:spChg>
        <pc:spChg chg="mod">
          <ac:chgData name="Asam, Jolina Katharina" userId="6f382d6e-e27a-4b44-aef1-f43b9e70ebd5" providerId="ADAL" clId="{0C8F6498-51F3-4BC4-99F7-37686ED3AAC9}" dt="2025-03-05T18:32:34.576" v="5000" actId="1036"/>
          <ac:spMkLst>
            <pc:docMk/>
            <pc:sldMk cId="2091448525" sldId="2147482633"/>
            <ac:spMk id="29" creationId="{FFCD6AA0-DC23-0E27-AE73-415D18660094}"/>
          </ac:spMkLst>
        </pc:spChg>
        <pc:spChg chg="mod">
          <ac:chgData name="Asam, Jolina Katharina" userId="6f382d6e-e27a-4b44-aef1-f43b9e70ebd5" providerId="ADAL" clId="{0C8F6498-51F3-4BC4-99F7-37686ED3AAC9}" dt="2025-03-05T18:32:50.722" v="5069"/>
          <ac:spMkLst>
            <pc:docMk/>
            <pc:sldMk cId="2091448525" sldId="2147482633"/>
            <ac:spMk id="31" creationId="{223E6373-1FD2-8938-AFF2-CBED861BB861}"/>
          </ac:spMkLst>
        </pc:spChg>
        <pc:spChg chg="mod">
          <ac:chgData name="Asam, Jolina Katharina" userId="6f382d6e-e27a-4b44-aef1-f43b9e70ebd5" providerId="ADAL" clId="{0C8F6498-51F3-4BC4-99F7-37686ED3AAC9}" dt="2025-03-05T18:32:56.198" v="5072" actId="1036"/>
          <ac:spMkLst>
            <pc:docMk/>
            <pc:sldMk cId="2091448525" sldId="2147482633"/>
            <ac:spMk id="32" creationId="{9828C3F1-4E39-BBB9-603A-D4A23446A554}"/>
          </ac:spMkLst>
        </pc:spChg>
        <pc:spChg chg="mod">
          <ac:chgData name="Asam, Jolina Katharina" userId="6f382d6e-e27a-4b44-aef1-f43b9e70ebd5" providerId="ADAL" clId="{0C8F6498-51F3-4BC4-99F7-37686ED3AAC9}" dt="2025-03-05T18:32:56.198" v="5072" actId="1036"/>
          <ac:spMkLst>
            <pc:docMk/>
            <pc:sldMk cId="2091448525" sldId="2147482633"/>
            <ac:spMk id="34" creationId="{D4588552-0F6F-D87D-A7FD-8FDCAEBA242F}"/>
          </ac:spMkLst>
        </pc:spChg>
        <pc:spChg chg="mod">
          <ac:chgData name="Asam, Jolina Katharina" userId="6f382d6e-e27a-4b44-aef1-f43b9e70ebd5" providerId="ADAL" clId="{0C8F6498-51F3-4BC4-99F7-37686ED3AAC9}" dt="2025-03-05T18:32:56.198" v="5072" actId="1036"/>
          <ac:spMkLst>
            <pc:docMk/>
            <pc:sldMk cId="2091448525" sldId="2147482633"/>
            <ac:spMk id="35" creationId="{2E057132-9E88-C186-8B26-2DDE5A5CE540}"/>
          </ac:spMkLst>
        </pc:spChg>
        <pc:spChg chg="mod">
          <ac:chgData name="Asam, Jolina Katharina" userId="6f382d6e-e27a-4b44-aef1-f43b9e70ebd5" providerId="ADAL" clId="{0C8F6498-51F3-4BC4-99F7-37686ED3AAC9}" dt="2025-03-05T18:32:56.198" v="5072" actId="1036"/>
          <ac:spMkLst>
            <pc:docMk/>
            <pc:sldMk cId="2091448525" sldId="2147482633"/>
            <ac:spMk id="37" creationId="{D3581E4D-BB4A-7910-DCB5-51234CCD2082}"/>
          </ac:spMkLst>
        </pc:spChg>
        <pc:picChg chg="mod">
          <ac:chgData name="Asam, Jolina Katharina" userId="6f382d6e-e27a-4b44-aef1-f43b9e70ebd5" providerId="ADAL" clId="{0C8F6498-51F3-4BC4-99F7-37686ED3AAC9}" dt="2025-03-05T18:32:56.198" v="5072" actId="1036"/>
          <ac:picMkLst>
            <pc:docMk/>
            <pc:sldMk cId="2091448525" sldId="2147482633"/>
            <ac:picMk id="30" creationId="{4B018E2A-E924-7FC8-2025-56B671F316F5}"/>
          </ac:picMkLst>
        </pc:picChg>
        <pc:picChg chg="mod">
          <ac:chgData name="Asam, Jolina Katharina" userId="6f382d6e-e27a-4b44-aef1-f43b9e70ebd5" providerId="ADAL" clId="{0C8F6498-51F3-4BC4-99F7-37686ED3AAC9}" dt="2025-03-05T18:32:56.198" v="5072" actId="1036"/>
          <ac:picMkLst>
            <pc:docMk/>
            <pc:sldMk cId="2091448525" sldId="2147482633"/>
            <ac:picMk id="33" creationId="{06909CD4-D698-75FC-9CF9-81FAE107AAEF}"/>
          </ac:picMkLst>
        </pc:picChg>
        <pc:picChg chg="mod">
          <ac:chgData name="Asam, Jolina Katharina" userId="6f382d6e-e27a-4b44-aef1-f43b9e70ebd5" providerId="ADAL" clId="{0C8F6498-51F3-4BC4-99F7-37686ED3AAC9}" dt="2025-03-05T18:32:34.576" v="5000" actId="1036"/>
          <ac:picMkLst>
            <pc:docMk/>
            <pc:sldMk cId="2091448525" sldId="2147482633"/>
            <ac:picMk id="36" creationId="{C8DD5F73-E819-1DE3-BEA4-07EF29B4C431}"/>
          </ac:picMkLst>
        </pc:picChg>
        <pc:cxnChg chg="mod">
          <ac:chgData name="Asam, Jolina Katharina" userId="6f382d6e-e27a-4b44-aef1-f43b9e70ebd5" providerId="ADAL" clId="{0C8F6498-51F3-4BC4-99F7-37686ED3AAC9}" dt="2025-03-05T18:32:56.198" v="5072" actId="1036"/>
          <ac:cxnSpMkLst>
            <pc:docMk/>
            <pc:sldMk cId="2091448525" sldId="2147482633"/>
            <ac:cxnSpMk id="9" creationId="{2F1AD679-3446-0A79-C228-D2E3A9893797}"/>
          </ac:cxnSpMkLst>
        </pc:cxnChg>
        <pc:cxnChg chg="mod">
          <ac:chgData name="Asam, Jolina Katharina" userId="6f382d6e-e27a-4b44-aef1-f43b9e70ebd5" providerId="ADAL" clId="{0C8F6498-51F3-4BC4-99F7-37686ED3AAC9}" dt="2025-03-05T18:32:56.198" v="5072" actId="1036"/>
          <ac:cxnSpMkLst>
            <pc:docMk/>
            <pc:sldMk cId="2091448525" sldId="2147482633"/>
            <ac:cxnSpMk id="10" creationId="{369B7892-BCCA-04CD-FCF9-9E945B809B7E}"/>
          </ac:cxnSpMkLst>
        </pc:cxnChg>
        <pc:cxnChg chg="mod">
          <ac:chgData name="Asam, Jolina Katharina" userId="6f382d6e-e27a-4b44-aef1-f43b9e70ebd5" providerId="ADAL" clId="{0C8F6498-51F3-4BC4-99F7-37686ED3AAC9}" dt="2025-03-05T18:32:34.576" v="5000" actId="1036"/>
          <ac:cxnSpMkLst>
            <pc:docMk/>
            <pc:sldMk cId="2091448525" sldId="2147482633"/>
            <ac:cxnSpMk id="11" creationId="{93A8B580-DBC6-BAFE-DCA8-825C65ED17A5}"/>
          </ac:cxnSpMkLst>
        </pc:cxnChg>
      </pc:sldChg>
      <pc:sldChg chg="modSp mod">
        <pc:chgData name="Asam, Jolina Katharina" userId="6f382d6e-e27a-4b44-aef1-f43b9e70ebd5" providerId="ADAL" clId="{0C8F6498-51F3-4BC4-99F7-37686ED3AAC9}" dt="2025-03-05T19:37:09.827" v="5596" actId="20577"/>
        <pc:sldMkLst>
          <pc:docMk/>
          <pc:sldMk cId="1825528698" sldId="2147482634"/>
        </pc:sldMkLst>
        <pc:spChg chg="mod">
          <ac:chgData name="Asam, Jolina Katharina" userId="6f382d6e-e27a-4b44-aef1-f43b9e70ebd5" providerId="ADAL" clId="{0C8F6498-51F3-4BC4-99F7-37686ED3AAC9}" dt="2025-03-05T12:33:48.433" v="723" actId="20577"/>
          <ac:spMkLst>
            <pc:docMk/>
            <pc:sldMk cId="1825528698" sldId="2147482634"/>
            <ac:spMk id="16" creationId="{71A9303A-95BB-D9FE-B177-D109E8E0F339}"/>
          </ac:spMkLst>
        </pc:spChg>
        <pc:spChg chg="mod">
          <ac:chgData name="Asam, Jolina Katharina" userId="6f382d6e-e27a-4b44-aef1-f43b9e70ebd5" providerId="ADAL" clId="{0C8F6498-51F3-4BC4-99F7-37686ED3AAC9}" dt="2025-03-05T19:37:09.827" v="5596" actId="20577"/>
          <ac:spMkLst>
            <pc:docMk/>
            <pc:sldMk cId="1825528698" sldId="2147482634"/>
            <ac:spMk id="19" creationId="{D8CE7914-CBBC-5E99-3C4E-C5765617CC71}"/>
          </ac:spMkLst>
        </pc:spChg>
        <pc:spChg chg="mod">
          <ac:chgData name="Asam, Jolina Katharina" userId="6f382d6e-e27a-4b44-aef1-f43b9e70ebd5" providerId="ADAL" clId="{0C8F6498-51F3-4BC4-99F7-37686ED3AAC9}" dt="2025-03-05T18:33:16.955" v="5113" actId="1035"/>
          <ac:spMkLst>
            <pc:docMk/>
            <pc:sldMk cId="1825528698" sldId="2147482634"/>
            <ac:spMk id="23" creationId="{3195ABAB-67CE-F714-1604-528A4C8CEAA4}"/>
          </ac:spMkLst>
        </pc:spChg>
        <pc:spChg chg="mod">
          <ac:chgData name="Asam, Jolina Katharina" userId="6f382d6e-e27a-4b44-aef1-f43b9e70ebd5" providerId="ADAL" clId="{0C8F6498-51F3-4BC4-99F7-37686ED3AAC9}" dt="2025-03-05T18:33:16.955" v="5113" actId="1035"/>
          <ac:spMkLst>
            <pc:docMk/>
            <pc:sldMk cId="1825528698" sldId="2147482634"/>
            <ac:spMk id="25" creationId="{3AF7F11E-CC97-D96C-595A-28C6B90225CE}"/>
          </ac:spMkLst>
        </pc:spChg>
        <pc:spChg chg="mod">
          <ac:chgData name="Asam, Jolina Katharina" userId="6f382d6e-e27a-4b44-aef1-f43b9e70ebd5" providerId="ADAL" clId="{0C8F6498-51F3-4BC4-99F7-37686ED3AAC9}" dt="2025-03-05T18:33:20.416" v="5120" actId="1035"/>
          <ac:spMkLst>
            <pc:docMk/>
            <pc:sldMk cId="1825528698" sldId="2147482634"/>
            <ac:spMk id="29" creationId="{FFCD6AA0-DC23-0E27-AE73-415D18660094}"/>
          </ac:spMkLst>
        </pc:spChg>
        <pc:spChg chg="mod">
          <ac:chgData name="Asam, Jolina Katharina" userId="6f382d6e-e27a-4b44-aef1-f43b9e70ebd5" providerId="ADAL" clId="{0C8F6498-51F3-4BC4-99F7-37686ED3AAC9}" dt="2025-03-05T18:33:20.416" v="5120" actId="1035"/>
          <ac:spMkLst>
            <pc:docMk/>
            <pc:sldMk cId="1825528698" sldId="2147482634"/>
            <ac:spMk id="31" creationId="{223E6373-1FD2-8938-AFF2-CBED861BB861}"/>
          </ac:spMkLst>
        </pc:spChg>
        <pc:spChg chg="mod">
          <ac:chgData name="Asam, Jolina Katharina" userId="6f382d6e-e27a-4b44-aef1-f43b9e70ebd5" providerId="ADAL" clId="{0C8F6498-51F3-4BC4-99F7-37686ED3AAC9}" dt="2025-03-05T18:33:25.896" v="5142" actId="1035"/>
          <ac:spMkLst>
            <pc:docMk/>
            <pc:sldMk cId="1825528698" sldId="2147482634"/>
            <ac:spMk id="35" creationId="{2E057132-9E88-C186-8B26-2DDE5A5CE540}"/>
          </ac:spMkLst>
        </pc:spChg>
        <pc:spChg chg="mod">
          <ac:chgData name="Asam, Jolina Katharina" userId="6f382d6e-e27a-4b44-aef1-f43b9e70ebd5" providerId="ADAL" clId="{0C8F6498-51F3-4BC4-99F7-37686ED3AAC9}" dt="2025-03-05T18:33:25.896" v="5142" actId="1035"/>
          <ac:spMkLst>
            <pc:docMk/>
            <pc:sldMk cId="1825528698" sldId="2147482634"/>
            <ac:spMk id="37" creationId="{D3581E4D-BB4A-7910-DCB5-51234CCD2082}"/>
          </ac:spMkLst>
        </pc:spChg>
        <pc:picChg chg="mod">
          <ac:chgData name="Asam, Jolina Katharina" userId="6f382d6e-e27a-4b44-aef1-f43b9e70ebd5" providerId="ADAL" clId="{0C8F6498-51F3-4BC4-99F7-37686ED3AAC9}" dt="2025-03-05T18:33:16.955" v="5113" actId="1035"/>
          <ac:picMkLst>
            <pc:docMk/>
            <pc:sldMk cId="1825528698" sldId="2147482634"/>
            <ac:picMk id="27" creationId="{901A6A3D-DC2C-6F24-C65F-CF0E22B5DA29}"/>
          </ac:picMkLst>
        </pc:picChg>
        <pc:picChg chg="mod">
          <ac:chgData name="Asam, Jolina Katharina" userId="6f382d6e-e27a-4b44-aef1-f43b9e70ebd5" providerId="ADAL" clId="{0C8F6498-51F3-4BC4-99F7-37686ED3AAC9}" dt="2025-03-05T18:33:20.416" v="5120" actId="1035"/>
          <ac:picMkLst>
            <pc:docMk/>
            <pc:sldMk cId="1825528698" sldId="2147482634"/>
            <ac:picMk id="30" creationId="{F0B5E48D-0110-39B4-E4DF-B9448D4DFC47}"/>
          </ac:picMkLst>
        </pc:picChg>
        <pc:picChg chg="mod">
          <ac:chgData name="Asam, Jolina Katharina" userId="6f382d6e-e27a-4b44-aef1-f43b9e70ebd5" providerId="ADAL" clId="{0C8F6498-51F3-4BC4-99F7-37686ED3AAC9}" dt="2025-03-05T18:33:25.896" v="5142" actId="1035"/>
          <ac:picMkLst>
            <pc:docMk/>
            <pc:sldMk cId="1825528698" sldId="2147482634"/>
            <ac:picMk id="33" creationId="{CCB23105-9B0B-8DEE-E8FD-51C7926714F6}"/>
          </ac:picMkLst>
        </pc:picChg>
        <pc:cxnChg chg="mod">
          <ac:chgData name="Asam, Jolina Katharina" userId="6f382d6e-e27a-4b44-aef1-f43b9e70ebd5" providerId="ADAL" clId="{0C8F6498-51F3-4BC4-99F7-37686ED3AAC9}" dt="2025-03-05T18:33:25.896" v="5142" actId="1035"/>
          <ac:cxnSpMkLst>
            <pc:docMk/>
            <pc:sldMk cId="1825528698" sldId="2147482634"/>
            <ac:cxnSpMk id="9" creationId="{2F1AD679-3446-0A79-C228-D2E3A9893797}"/>
          </ac:cxnSpMkLst>
        </pc:cxnChg>
        <pc:cxnChg chg="mod">
          <ac:chgData name="Asam, Jolina Katharina" userId="6f382d6e-e27a-4b44-aef1-f43b9e70ebd5" providerId="ADAL" clId="{0C8F6498-51F3-4BC4-99F7-37686ED3AAC9}" dt="2025-03-05T18:33:20.416" v="5120" actId="1035"/>
          <ac:cxnSpMkLst>
            <pc:docMk/>
            <pc:sldMk cId="1825528698" sldId="2147482634"/>
            <ac:cxnSpMk id="11" creationId="{93A8B580-DBC6-BAFE-DCA8-825C65ED17A5}"/>
          </ac:cxnSpMkLst>
        </pc:cxnChg>
        <pc:cxnChg chg="mod">
          <ac:chgData name="Asam, Jolina Katharina" userId="6f382d6e-e27a-4b44-aef1-f43b9e70ebd5" providerId="ADAL" clId="{0C8F6498-51F3-4BC4-99F7-37686ED3AAC9}" dt="2025-03-05T18:33:16.955" v="5113" actId="1035"/>
          <ac:cxnSpMkLst>
            <pc:docMk/>
            <pc:sldMk cId="1825528698" sldId="2147482634"/>
            <ac:cxnSpMk id="13" creationId="{2231C7CB-87EE-41DB-915C-B913F7C77FB1}"/>
          </ac:cxnSpMkLst>
        </pc:cxnChg>
      </pc:sldChg>
      <pc:sldChg chg="modSp mod">
        <pc:chgData name="Asam, Jolina Katharina" userId="6f382d6e-e27a-4b44-aef1-f43b9e70ebd5" providerId="ADAL" clId="{0C8F6498-51F3-4BC4-99F7-37686ED3AAC9}" dt="2025-03-05T18:23:29.211" v="4581" actId="113"/>
        <pc:sldMkLst>
          <pc:docMk/>
          <pc:sldMk cId="533263561" sldId="2147482635"/>
        </pc:sldMkLst>
        <pc:spChg chg="mod">
          <ac:chgData name="Asam, Jolina Katharina" userId="6f382d6e-e27a-4b44-aef1-f43b9e70ebd5" providerId="ADAL" clId="{0C8F6498-51F3-4BC4-99F7-37686ED3AAC9}" dt="2025-03-05T12:46:15.650" v="876" actId="20577"/>
          <ac:spMkLst>
            <pc:docMk/>
            <pc:sldMk cId="533263561" sldId="2147482635"/>
            <ac:spMk id="16" creationId="{71A9303A-95BB-D9FE-B177-D109E8E0F339}"/>
          </ac:spMkLst>
        </pc:spChg>
        <pc:spChg chg="mod">
          <ac:chgData name="Asam, Jolina Katharina" userId="6f382d6e-e27a-4b44-aef1-f43b9e70ebd5" providerId="ADAL" clId="{0C8F6498-51F3-4BC4-99F7-37686ED3AAC9}" dt="2025-03-05T18:22:32.407" v="4571" actId="113"/>
          <ac:spMkLst>
            <pc:docMk/>
            <pc:sldMk cId="533263561" sldId="2147482635"/>
            <ac:spMk id="19" creationId="{D8CE7914-CBBC-5E99-3C4E-C5765617CC71}"/>
          </ac:spMkLst>
        </pc:spChg>
        <pc:spChg chg="mod">
          <ac:chgData name="Asam, Jolina Katharina" userId="6f382d6e-e27a-4b44-aef1-f43b9e70ebd5" providerId="ADAL" clId="{0C8F6498-51F3-4BC4-99F7-37686ED3AAC9}" dt="2025-03-05T18:22:40.017" v="4572" actId="113"/>
          <ac:spMkLst>
            <pc:docMk/>
            <pc:sldMk cId="533263561" sldId="2147482635"/>
            <ac:spMk id="22" creationId="{24A8C74C-491F-3135-9168-31168889F6C2}"/>
          </ac:spMkLst>
        </pc:spChg>
        <pc:spChg chg="mod">
          <ac:chgData name="Asam, Jolina Katharina" userId="6f382d6e-e27a-4b44-aef1-f43b9e70ebd5" providerId="ADAL" clId="{0C8F6498-51F3-4BC4-99F7-37686ED3AAC9}" dt="2025-03-05T18:22:50.822" v="4574" actId="113"/>
          <ac:spMkLst>
            <pc:docMk/>
            <pc:sldMk cId="533263561" sldId="2147482635"/>
            <ac:spMk id="25" creationId="{3AF7F11E-CC97-D96C-595A-28C6B90225CE}"/>
          </ac:spMkLst>
        </pc:spChg>
        <pc:spChg chg="mod">
          <ac:chgData name="Asam, Jolina Katharina" userId="6f382d6e-e27a-4b44-aef1-f43b9e70ebd5" providerId="ADAL" clId="{0C8F6498-51F3-4BC4-99F7-37686ED3AAC9}" dt="2025-03-05T18:23:03.809" v="4577" actId="113"/>
          <ac:spMkLst>
            <pc:docMk/>
            <pc:sldMk cId="533263561" sldId="2147482635"/>
            <ac:spMk id="28" creationId="{AADF7B53-9E4C-8056-7221-86277A45CD44}"/>
          </ac:spMkLst>
        </pc:spChg>
        <pc:spChg chg="mod">
          <ac:chgData name="Asam, Jolina Katharina" userId="6f382d6e-e27a-4b44-aef1-f43b9e70ebd5" providerId="ADAL" clId="{0C8F6498-51F3-4BC4-99F7-37686ED3AAC9}" dt="2025-03-05T12:24:13.879" v="436" actId="1036"/>
          <ac:spMkLst>
            <pc:docMk/>
            <pc:sldMk cId="533263561" sldId="2147482635"/>
            <ac:spMk id="29" creationId="{FFCD6AA0-DC23-0E27-AE73-415D18660094}"/>
          </ac:spMkLst>
        </pc:spChg>
        <pc:spChg chg="mod">
          <ac:chgData name="Asam, Jolina Katharina" userId="6f382d6e-e27a-4b44-aef1-f43b9e70ebd5" providerId="ADAL" clId="{0C8F6498-51F3-4BC4-99F7-37686ED3AAC9}" dt="2025-03-05T18:23:08.243" v="4578" actId="113"/>
          <ac:spMkLst>
            <pc:docMk/>
            <pc:sldMk cId="533263561" sldId="2147482635"/>
            <ac:spMk id="31" creationId="{223E6373-1FD2-8938-AFF2-CBED861BB861}"/>
          </ac:spMkLst>
        </pc:spChg>
        <pc:spChg chg="mod">
          <ac:chgData name="Asam, Jolina Katharina" userId="6f382d6e-e27a-4b44-aef1-f43b9e70ebd5" providerId="ADAL" clId="{0C8F6498-51F3-4BC4-99F7-37686ED3AAC9}" dt="2025-03-05T12:24:13.879" v="436" actId="1036"/>
          <ac:spMkLst>
            <pc:docMk/>
            <pc:sldMk cId="533263561" sldId="2147482635"/>
            <ac:spMk id="32" creationId="{9828C3F1-4E39-BBB9-603A-D4A23446A554}"/>
          </ac:spMkLst>
        </pc:spChg>
        <pc:spChg chg="mod">
          <ac:chgData name="Asam, Jolina Katharina" userId="6f382d6e-e27a-4b44-aef1-f43b9e70ebd5" providerId="ADAL" clId="{0C8F6498-51F3-4BC4-99F7-37686ED3AAC9}" dt="2025-03-05T18:23:21.136" v="4580" actId="113"/>
          <ac:spMkLst>
            <pc:docMk/>
            <pc:sldMk cId="533263561" sldId="2147482635"/>
            <ac:spMk id="34" creationId="{D4588552-0F6F-D87D-A7FD-8FDCAEBA242F}"/>
          </ac:spMkLst>
        </pc:spChg>
        <pc:spChg chg="mod">
          <ac:chgData name="Asam, Jolina Katharina" userId="6f382d6e-e27a-4b44-aef1-f43b9e70ebd5" providerId="ADAL" clId="{0C8F6498-51F3-4BC4-99F7-37686ED3AAC9}" dt="2025-03-05T12:24:13.879" v="436" actId="1036"/>
          <ac:spMkLst>
            <pc:docMk/>
            <pc:sldMk cId="533263561" sldId="2147482635"/>
            <ac:spMk id="35" creationId="{2E057132-9E88-C186-8B26-2DDE5A5CE540}"/>
          </ac:spMkLst>
        </pc:spChg>
        <pc:spChg chg="mod">
          <ac:chgData name="Asam, Jolina Katharina" userId="6f382d6e-e27a-4b44-aef1-f43b9e70ebd5" providerId="ADAL" clId="{0C8F6498-51F3-4BC4-99F7-37686ED3AAC9}" dt="2025-03-05T18:23:29.211" v="4581" actId="113"/>
          <ac:spMkLst>
            <pc:docMk/>
            <pc:sldMk cId="533263561" sldId="2147482635"/>
            <ac:spMk id="37" creationId="{D3581E4D-BB4A-7910-DCB5-51234CCD2082}"/>
          </ac:spMkLst>
        </pc:spChg>
        <pc:graphicFrameChg chg="mod">
          <ac:chgData name="Asam, Jolina Katharina" userId="6f382d6e-e27a-4b44-aef1-f43b9e70ebd5" providerId="ADAL" clId="{0C8F6498-51F3-4BC4-99F7-37686ED3AAC9}" dt="2025-03-05T16:28:39.146" v="4095"/>
          <ac:graphicFrameMkLst>
            <pc:docMk/>
            <pc:sldMk cId="533263561" sldId="2147482635"/>
            <ac:graphicFrameMk id="5" creationId="{CC7C828D-2E2C-DD0E-5063-4C014F29512E}"/>
          </ac:graphicFrameMkLst>
        </pc:graphicFrameChg>
        <pc:picChg chg="mod">
          <ac:chgData name="Asam, Jolina Katharina" userId="6f382d6e-e27a-4b44-aef1-f43b9e70ebd5" providerId="ADAL" clId="{0C8F6498-51F3-4BC4-99F7-37686ED3AAC9}" dt="2025-03-05T12:24:13.879" v="436" actId="1036"/>
          <ac:picMkLst>
            <pc:docMk/>
            <pc:sldMk cId="533263561" sldId="2147482635"/>
            <ac:picMk id="30" creationId="{AE861BD9-86E6-53B0-E13D-12694D6E45A4}"/>
          </ac:picMkLst>
        </pc:picChg>
        <pc:picChg chg="mod">
          <ac:chgData name="Asam, Jolina Katharina" userId="6f382d6e-e27a-4b44-aef1-f43b9e70ebd5" providerId="ADAL" clId="{0C8F6498-51F3-4BC4-99F7-37686ED3AAC9}" dt="2025-03-05T12:24:13.879" v="436" actId="1036"/>
          <ac:picMkLst>
            <pc:docMk/>
            <pc:sldMk cId="533263561" sldId="2147482635"/>
            <ac:picMk id="33" creationId="{EE79D3FA-04FA-0102-104B-E8F4DC964A8E}"/>
          </ac:picMkLst>
        </pc:picChg>
        <pc:picChg chg="mod">
          <ac:chgData name="Asam, Jolina Katharina" userId="6f382d6e-e27a-4b44-aef1-f43b9e70ebd5" providerId="ADAL" clId="{0C8F6498-51F3-4BC4-99F7-37686ED3AAC9}" dt="2025-03-05T12:24:13.879" v="436" actId="1036"/>
          <ac:picMkLst>
            <pc:docMk/>
            <pc:sldMk cId="533263561" sldId="2147482635"/>
            <ac:picMk id="36" creationId="{6FF5B64A-EE4F-CFF0-4E93-4EEF35D4222C}"/>
          </ac:picMkLst>
        </pc:picChg>
        <pc:cxnChg chg="mod">
          <ac:chgData name="Asam, Jolina Katharina" userId="6f382d6e-e27a-4b44-aef1-f43b9e70ebd5" providerId="ADAL" clId="{0C8F6498-51F3-4BC4-99F7-37686ED3AAC9}" dt="2025-03-05T12:24:13.879" v="436" actId="1036"/>
          <ac:cxnSpMkLst>
            <pc:docMk/>
            <pc:sldMk cId="533263561" sldId="2147482635"/>
            <ac:cxnSpMk id="9" creationId="{2F1AD679-3446-0A79-C228-D2E3A9893797}"/>
          </ac:cxnSpMkLst>
        </pc:cxnChg>
        <pc:cxnChg chg="mod">
          <ac:chgData name="Asam, Jolina Katharina" userId="6f382d6e-e27a-4b44-aef1-f43b9e70ebd5" providerId="ADAL" clId="{0C8F6498-51F3-4BC4-99F7-37686ED3AAC9}" dt="2025-03-05T12:24:13.879" v="436" actId="1036"/>
          <ac:cxnSpMkLst>
            <pc:docMk/>
            <pc:sldMk cId="533263561" sldId="2147482635"/>
            <ac:cxnSpMk id="10" creationId="{369B7892-BCCA-04CD-FCF9-9E945B809B7E}"/>
          </ac:cxnSpMkLst>
        </pc:cxnChg>
        <pc:cxnChg chg="mod">
          <ac:chgData name="Asam, Jolina Katharina" userId="6f382d6e-e27a-4b44-aef1-f43b9e70ebd5" providerId="ADAL" clId="{0C8F6498-51F3-4BC4-99F7-37686ED3AAC9}" dt="2025-03-05T12:24:13.879" v="436" actId="1036"/>
          <ac:cxnSpMkLst>
            <pc:docMk/>
            <pc:sldMk cId="533263561" sldId="2147482635"/>
            <ac:cxnSpMk id="11" creationId="{93A8B580-DBC6-BAFE-DCA8-825C65ED17A5}"/>
          </ac:cxnSpMkLst>
        </pc:cxnChg>
      </pc:sldChg>
    </pc:docChg>
  </pc:docChgLst>
  <pc:docChgLst>
    <pc:chgData name="Hess, Christian Johannes" userId="3c21887f-2045-4c66-98d6-7d6208f3a5e9" providerId="ADAL" clId="{98B1D322-169F-4338-94A6-9C75A03E3594}"/>
    <pc:docChg chg="undo redo custSel modSld">
      <pc:chgData name="Hess, Christian Johannes" userId="3c21887f-2045-4c66-98d6-7d6208f3a5e9" providerId="ADAL" clId="{98B1D322-169F-4338-94A6-9C75A03E3594}" dt="2025-03-05T16:29:55.303" v="3900" actId="1035"/>
      <pc:docMkLst>
        <pc:docMk/>
      </pc:docMkLst>
      <pc:sldChg chg="modSp mod">
        <pc:chgData name="Hess, Christian Johannes" userId="3c21887f-2045-4c66-98d6-7d6208f3a5e9" providerId="ADAL" clId="{98B1D322-169F-4338-94A6-9C75A03E3594}" dt="2025-03-05T16:29:55.303" v="3900" actId="1035"/>
        <pc:sldMkLst>
          <pc:docMk/>
          <pc:sldMk cId="3085089317" sldId="2147482591"/>
        </pc:sldMkLst>
        <pc:spChg chg="mod">
          <ac:chgData name="Hess, Christian Johannes" userId="3c21887f-2045-4c66-98d6-7d6208f3a5e9" providerId="ADAL" clId="{98B1D322-169F-4338-94A6-9C75A03E3594}" dt="2025-03-05T16:29:05.929" v="3820"/>
          <ac:spMkLst>
            <pc:docMk/>
            <pc:sldMk cId="3085089317" sldId="2147482591"/>
            <ac:spMk id="22" creationId="{24A8C74C-491F-3135-9168-31168889F6C2}"/>
          </ac:spMkLst>
        </pc:spChg>
        <pc:spChg chg="mod">
          <ac:chgData name="Hess, Christian Johannes" userId="3c21887f-2045-4c66-98d6-7d6208f3a5e9" providerId="ADAL" clId="{98B1D322-169F-4338-94A6-9C75A03E3594}" dt="2025-03-05T16:29:16.370" v="3832"/>
          <ac:spMkLst>
            <pc:docMk/>
            <pc:sldMk cId="3085089317" sldId="2147482591"/>
            <ac:spMk id="25" creationId="{3AF7F11E-CC97-D96C-595A-28C6B90225CE}"/>
          </ac:spMkLst>
        </pc:spChg>
        <pc:spChg chg="mod">
          <ac:chgData name="Hess, Christian Johannes" userId="3c21887f-2045-4c66-98d6-7d6208f3a5e9" providerId="ADAL" clId="{98B1D322-169F-4338-94A6-9C75A03E3594}" dt="2025-03-05T16:29:24.411" v="3844"/>
          <ac:spMkLst>
            <pc:docMk/>
            <pc:sldMk cId="3085089317" sldId="2147482591"/>
            <ac:spMk id="28" creationId="{AADF7B53-9E4C-8056-7221-86277A45CD44}"/>
          </ac:spMkLst>
        </pc:spChg>
        <pc:spChg chg="mod">
          <ac:chgData name="Hess, Christian Johannes" userId="3c21887f-2045-4c66-98d6-7d6208f3a5e9" providerId="ADAL" clId="{98B1D322-169F-4338-94A6-9C75A03E3594}" dt="2025-03-05T16:29:29.920" v="3856"/>
          <ac:spMkLst>
            <pc:docMk/>
            <pc:sldMk cId="3085089317" sldId="2147482591"/>
            <ac:spMk id="31" creationId="{223E6373-1FD2-8938-AFF2-CBED861BB861}"/>
          </ac:spMkLst>
        </pc:spChg>
        <pc:spChg chg="mod">
          <ac:chgData name="Hess, Christian Johannes" userId="3c21887f-2045-4c66-98d6-7d6208f3a5e9" providerId="ADAL" clId="{98B1D322-169F-4338-94A6-9C75A03E3594}" dt="2025-03-05T16:29:55.303" v="3900" actId="1035"/>
          <ac:spMkLst>
            <pc:docMk/>
            <pc:sldMk cId="3085089317" sldId="2147482591"/>
            <ac:spMk id="32" creationId="{9828C3F1-4E39-BBB9-603A-D4A23446A554}"/>
          </ac:spMkLst>
        </pc:spChg>
        <pc:spChg chg="mod">
          <ac:chgData name="Hess, Christian Johannes" userId="3c21887f-2045-4c66-98d6-7d6208f3a5e9" providerId="ADAL" clId="{98B1D322-169F-4338-94A6-9C75A03E3594}" dt="2025-03-05T16:29:55.303" v="3900" actId="1035"/>
          <ac:spMkLst>
            <pc:docMk/>
            <pc:sldMk cId="3085089317" sldId="2147482591"/>
            <ac:spMk id="34" creationId="{D4588552-0F6F-D87D-A7FD-8FDCAEBA242F}"/>
          </ac:spMkLst>
        </pc:spChg>
        <pc:spChg chg="mod">
          <ac:chgData name="Hess, Christian Johannes" userId="3c21887f-2045-4c66-98d6-7d6208f3a5e9" providerId="ADAL" clId="{98B1D322-169F-4338-94A6-9C75A03E3594}" dt="2025-03-05T16:29:55.303" v="3900" actId="1035"/>
          <ac:spMkLst>
            <pc:docMk/>
            <pc:sldMk cId="3085089317" sldId="2147482591"/>
            <ac:spMk id="35" creationId="{2E057132-9E88-C186-8B26-2DDE5A5CE540}"/>
          </ac:spMkLst>
        </pc:spChg>
        <pc:spChg chg="mod">
          <ac:chgData name="Hess, Christian Johannes" userId="3c21887f-2045-4c66-98d6-7d6208f3a5e9" providerId="ADAL" clId="{98B1D322-169F-4338-94A6-9C75A03E3594}" dt="2025-03-05T16:29:55.303" v="3900" actId="1035"/>
          <ac:spMkLst>
            <pc:docMk/>
            <pc:sldMk cId="3085089317" sldId="2147482591"/>
            <ac:spMk id="37" creationId="{D3581E4D-BB4A-7910-DCB5-51234CCD2082}"/>
          </ac:spMkLst>
        </pc:spChg>
        <pc:picChg chg="mod">
          <ac:chgData name="Hess, Christian Johannes" userId="3c21887f-2045-4c66-98d6-7d6208f3a5e9" providerId="ADAL" clId="{98B1D322-169F-4338-94A6-9C75A03E3594}" dt="2025-03-05T16:29:55.303" v="3900" actId="1035"/>
          <ac:picMkLst>
            <pc:docMk/>
            <pc:sldMk cId="3085089317" sldId="2147482591"/>
            <ac:picMk id="33" creationId="{07ACE7E4-3D70-7490-2512-7A5195A71D59}"/>
          </ac:picMkLst>
        </pc:picChg>
        <pc:picChg chg="mod">
          <ac:chgData name="Hess, Christian Johannes" userId="3c21887f-2045-4c66-98d6-7d6208f3a5e9" providerId="ADAL" clId="{98B1D322-169F-4338-94A6-9C75A03E3594}" dt="2025-03-05T16:29:55.303" v="3900" actId="1035"/>
          <ac:picMkLst>
            <pc:docMk/>
            <pc:sldMk cId="3085089317" sldId="2147482591"/>
            <ac:picMk id="36" creationId="{31AC89BC-8B85-21C7-116C-D4D11D1EF2A2}"/>
          </ac:picMkLst>
        </pc:picChg>
        <pc:cxnChg chg="mod">
          <ac:chgData name="Hess, Christian Johannes" userId="3c21887f-2045-4c66-98d6-7d6208f3a5e9" providerId="ADAL" clId="{98B1D322-169F-4338-94A6-9C75A03E3594}" dt="2025-03-05T16:29:55.303" v="3900" actId="1035"/>
          <ac:cxnSpMkLst>
            <pc:docMk/>
            <pc:sldMk cId="3085089317" sldId="2147482591"/>
            <ac:cxnSpMk id="9" creationId="{2F1AD679-3446-0A79-C228-D2E3A9893797}"/>
          </ac:cxnSpMkLst>
        </pc:cxnChg>
        <pc:cxnChg chg="mod">
          <ac:chgData name="Hess, Christian Johannes" userId="3c21887f-2045-4c66-98d6-7d6208f3a5e9" providerId="ADAL" clId="{98B1D322-169F-4338-94A6-9C75A03E3594}" dt="2025-03-05T16:29:55.303" v="3900" actId="1035"/>
          <ac:cxnSpMkLst>
            <pc:docMk/>
            <pc:sldMk cId="3085089317" sldId="2147482591"/>
            <ac:cxnSpMk id="10" creationId="{369B7892-BCCA-04CD-FCF9-9E945B809B7E}"/>
          </ac:cxnSpMkLst>
        </pc:cxnChg>
      </pc:sldChg>
      <pc:sldChg chg="modSp mod">
        <pc:chgData name="Hess, Christian Johannes" userId="3c21887f-2045-4c66-98d6-7d6208f3a5e9" providerId="ADAL" clId="{98B1D322-169F-4338-94A6-9C75A03E3594}" dt="2025-03-05T16:27:36.507" v="3688" actId="1035"/>
        <pc:sldMkLst>
          <pc:docMk/>
          <pc:sldMk cId="2689224473" sldId="2147482594"/>
        </pc:sldMkLst>
        <pc:spChg chg="mod">
          <ac:chgData name="Hess, Christian Johannes" userId="3c21887f-2045-4c66-98d6-7d6208f3a5e9" providerId="ADAL" clId="{98B1D322-169F-4338-94A6-9C75A03E3594}" dt="2025-03-05T16:26:47.013" v="3597"/>
          <ac:spMkLst>
            <pc:docMk/>
            <pc:sldMk cId="2689224473" sldId="2147482594"/>
            <ac:spMk id="22" creationId="{24A8C74C-491F-3135-9168-31168889F6C2}"/>
          </ac:spMkLst>
        </pc:spChg>
        <pc:spChg chg="mod">
          <ac:chgData name="Hess, Christian Johannes" userId="3c21887f-2045-4c66-98d6-7d6208f3a5e9" providerId="ADAL" clId="{98B1D322-169F-4338-94A6-9C75A03E3594}" dt="2025-03-05T16:27:21.177" v="3665" actId="1035"/>
          <ac:spMkLst>
            <pc:docMk/>
            <pc:sldMk cId="2689224473" sldId="2147482594"/>
            <ac:spMk id="23" creationId="{3195ABAB-67CE-F714-1604-528A4C8CEAA4}"/>
          </ac:spMkLst>
        </pc:spChg>
        <pc:spChg chg="mod">
          <ac:chgData name="Hess, Christian Johannes" userId="3c21887f-2045-4c66-98d6-7d6208f3a5e9" providerId="ADAL" clId="{98B1D322-169F-4338-94A6-9C75A03E3594}" dt="2025-03-05T16:27:21.177" v="3665" actId="1035"/>
          <ac:spMkLst>
            <pc:docMk/>
            <pc:sldMk cId="2689224473" sldId="2147482594"/>
            <ac:spMk id="25" creationId="{3AF7F11E-CC97-D96C-595A-28C6B90225CE}"/>
          </ac:spMkLst>
        </pc:spChg>
        <pc:spChg chg="mod">
          <ac:chgData name="Hess, Christian Johannes" userId="3c21887f-2045-4c66-98d6-7d6208f3a5e9" providerId="ADAL" clId="{98B1D322-169F-4338-94A6-9C75A03E3594}" dt="2025-03-05T16:27:26.661" v="3673" actId="1035"/>
          <ac:spMkLst>
            <pc:docMk/>
            <pc:sldMk cId="2689224473" sldId="2147482594"/>
            <ac:spMk id="26" creationId="{6A581ED3-601C-A044-A72C-7EED9696B2DB}"/>
          </ac:spMkLst>
        </pc:spChg>
        <pc:spChg chg="mod">
          <ac:chgData name="Hess, Christian Johannes" userId="3c21887f-2045-4c66-98d6-7d6208f3a5e9" providerId="ADAL" clId="{98B1D322-169F-4338-94A6-9C75A03E3594}" dt="2025-03-05T16:27:26.661" v="3673" actId="1035"/>
          <ac:spMkLst>
            <pc:docMk/>
            <pc:sldMk cId="2689224473" sldId="2147482594"/>
            <ac:spMk id="28" creationId="{AADF7B53-9E4C-8056-7221-86277A45CD44}"/>
          </ac:spMkLst>
        </pc:spChg>
        <pc:spChg chg="mod">
          <ac:chgData name="Hess, Christian Johannes" userId="3c21887f-2045-4c66-98d6-7d6208f3a5e9" providerId="ADAL" clId="{98B1D322-169F-4338-94A6-9C75A03E3594}" dt="2025-03-05T16:27:26.661" v="3673" actId="1035"/>
          <ac:spMkLst>
            <pc:docMk/>
            <pc:sldMk cId="2689224473" sldId="2147482594"/>
            <ac:spMk id="29" creationId="{FFCD6AA0-DC23-0E27-AE73-415D18660094}"/>
          </ac:spMkLst>
        </pc:spChg>
        <pc:spChg chg="mod">
          <ac:chgData name="Hess, Christian Johannes" userId="3c21887f-2045-4c66-98d6-7d6208f3a5e9" providerId="ADAL" clId="{98B1D322-169F-4338-94A6-9C75A03E3594}" dt="2025-03-05T16:27:26.661" v="3673" actId="1035"/>
          <ac:spMkLst>
            <pc:docMk/>
            <pc:sldMk cId="2689224473" sldId="2147482594"/>
            <ac:spMk id="31" creationId="{223E6373-1FD2-8938-AFF2-CBED861BB861}"/>
          </ac:spMkLst>
        </pc:spChg>
        <pc:spChg chg="mod">
          <ac:chgData name="Hess, Christian Johannes" userId="3c21887f-2045-4c66-98d6-7d6208f3a5e9" providerId="ADAL" clId="{98B1D322-169F-4338-94A6-9C75A03E3594}" dt="2025-03-05T16:27:31.842" v="3680" actId="1035"/>
          <ac:spMkLst>
            <pc:docMk/>
            <pc:sldMk cId="2689224473" sldId="2147482594"/>
            <ac:spMk id="32" creationId="{9828C3F1-4E39-BBB9-603A-D4A23446A554}"/>
          </ac:spMkLst>
        </pc:spChg>
        <pc:spChg chg="mod">
          <ac:chgData name="Hess, Christian Johannes" userId="3c21887f-2045-4c66-98d6-7d6208f3a5e9" providerId="ADAL" clId="{98B1D322-169F-4338-94A6-9C75A03E3594}" dt="2025-03-05T16:27:31.842" v="3680" actId="1035"/>
          <ac:spMkLst>
            <pc:docMk/>
            <pc:sldMk cId="2689224473" sldId="2147482594"/>
            <ac:spMk id="34" creationId="{D4588552-0F6F-D87D-A7FD-8FDCAEBA242F}"/>
          </ac:spMkLst>
        </pc:spChg>
        <pc:spChg chg="mod">
          <ac:chgData name="Hess, Christian Johannes" userId="3c21887f-2045-4c66-98d6-7d6208f3a5e9" providerId="ADAL" clId="{98B1D322-169F-4338-94A6-9C75A03E3594}" dt="2025-03-05T16:27:36.507" v="3688" actId="1035"/>
          <ac:spMkLst>
            <pc:docMk/>
            <pc:sldMk cId="2689224473" sldId="2147482594"/>
            <ac:spMk id="35" creationId="{2E057132-9E88-C186-8B26-2DDE5A5CE540}"/>
          </ac:spMkLst>
        </pc:spChg>
        <pc:spChg chg="mod">
          <ac:chgData name="Hess, Christian Johannes" userId="3c21887f-2045-4c66-98d6-7d6208f3a5e9" providerId="ADAL" clId="{98B1D322-169F-4338-94A6-9C75A03E3594}" dt="2025-03-05T16:27:36.507" v="3688" actId="1035"/>
          <ac:spMkLst>
            <pc:docMk/>
            <pc:sldMk cId="2689224473" sldId="2147482594"/>
            <ac:spMk id="37" creationId="{D3581E4D-BB4A-7910-DCB5-51234CCD2082}"/>
          </ac:spMkLst>
        </pc:spChg>
        <pc:picChg chg="mod">
          <ac:chgData name="Hess, Christian Johannes" userId="3c21887f-2045-4c66-98d6-7d6208f3a5e9" providerId="ADAL" clId="{98B1D322-169F-4338-94A6-9C75A03E3594}" dt="2025-03-05T16:27:26.661" v="3673" actId="1035"/>
          <ac:picMkLst>
            <pc:docMk/>
            <pc:sldMk cId="2689224473" sldId="2147482594"/>
            <ac:picMk id="24" creationId="{86C50BF3-2854-DF87-075F-06FE60441472}"/>
          </ac:picMkLst>
        </pc:picChg>
        <pc:picChg chg="mod">
          <ac:chgData name="Hess, Christian Johannes" userId="3c21887f-2045-4c66-98d6-7d6208f3a5e9" providerId="ADAL" clId="{98B1D322-169F-4338-94A6-9C75A03E3594}" dt="2025-03-05T16:27:31.842" v="3680" actId="1035"/>
          <ac:picMkLst>
            <pc:docMk/>
            <pc:sldMk cId="2689224473" sldId="2147482594"/>
            <ac:picMk id="27" creationId="{8F1A43CC-E236-7E9D-3705-E258596F8203}"/>
          </ac:picMkLst>
        </pc:picChg>
        <pc:picChg chg="mod">
          <ac:chgData name="Hess, Christian Johannes" userId="3c21887f-2045-4c66-98d6-7d6208f3a5e9" providerId="ADAL" clId="{98B1D322-169F-4338-94A6-9C75A03E3594}" dt="2025-03-05T16:27:36.507" v="3688" actId="1035"/>
          <ac:picMkLst>
            <pc:docMk/>
            <pc:sldMk cId="2689224473" sldId="2147482594"/>
            <ac:picMk id="30" creationId="{7F69A124-3C6D-F1BD-111A-F5722BF7BE4F}"/>
          </ac:picMkLst>
        </pc:picChg>
        <pc:picChg chg="mod">
          <ac:chgData name="Hess, Christian Johannes" userId="3c21887f-2045-4c66-98d6-7d6208f3a5e9" providerId="ADAL" clId="{98B1D322-169F-4338-94A6-9C75A03E3594}" dt="2025-03-05T16:27:21.177" v="3665" actId="1035"/>
          <ac:picMkLst>
            <pc:docMk/>
            <pc:sldMk cId="2689224473" sldId="2147482594"/>
            <ac:picMk id="33" creationId="{B8F58D75-066A-73F0-2713-CD62E641BA0A}"/>
          </ac:picMkLst>
        </pc:picChg>
        <pc:picChg chg="mod">
          <ac:chgData name="Hess, Christian Johannes" userId="3c21887f-2045-4c66-98d6-7d6208f3a5e9" providerId="ADAL" clId="{98B1D322-169F-4338-94A6-9C75A03E3594}" dt="2025-03-05T16:27:26.661" v="3673" actId="1035"/>
          <ac:picMkLst>
            <pc:docMk/>
            <pc:sldMk cId="2689224473" sldId="2147482594"/>
            <ac:picMk id="36" creationId="{A5BEF462-DECF-1468-D175-AFF744AB0D6F}"/>
          </ac:picMkLst>
        </pc:picChg>
        <pc:cxnChg chg="mod">
          <ac:chgData name="Hess, Christian Johannes" userId="3c21887f-2045-4c66-98d6-7d6208f3a5e9" providerId="ADAL" clId="{98B1D322-169F-4338-94A6-9C75A03E3594}" dt="2025-03-05T16:27:36.507" v="3688" actId="1035"/>
          <ac:cxnSpMkLst>
            <pc:docMk/>
            <pc:sldMk cId="2689224473" sldId="2147482594"/>
            <ac:cxnSpMk id="9" creationId="{2F1AD679-3446-0A79-C228-D2E3A9893797}"/>
          </ac:cxnSpMkLst>
        </pc:cxnChg>
        <pc:cxnChg chg="mod">
          <ac:chgData name="Hess, Christian Johannes" userId="3c21887f-2045-4c66-98d6-7d6208f3a5e9" providerId="ADAL" clId="{98B1D322-169F-4338-94A6-9C75A03E3594}" dt="2025-03-05T16:27:31.842" v="3680" actId="1035"/>
          <ac:cxnSpMkLst>
            <pc:docMk/>
            <pc:sldMk cId="2689224473" sldId="2147482594"/>
            <ac:cxnSpMk id="10" creationId="{369B7892-BCCA-04CD-FCF9-9E945B809B7E}"/>
          </ac:cxnSpMkLst>
        </pc:cxnChg>
        <pc:cxnChg chg="mod">
          <ac:chgData name="Hess, Christian Johannes" userId="3c21887f-2045-4c66-98d6-7d6208f3a5e9" providerId="ADAL" clId="{98B1D322-169F-4338-94A6-9C75A03E3594}" dt="2025-03-05T16:27:26.661" v="3673" actId="1035"/>
          <ac:cxnSpMkLst>
            <pc:docMk/>
            <pc:sldMk cId="2689224473" sldId="2147482594"/>
            <ac:cxnSpMk id="11" creationId="{93A8B580-DBC6-BAFE-DCA8-825C65ED17A5}"/>
          </ac:cxnSpMkLst>
        </pc:cxnChg>
        <pc:cxnChg chg="mod">
          <ac:chgData name="Hess, Christian Johannes" userId="3c21887f-2045-4c66-98d6-7d6208f3a5e9" providerId="ADAL" clId="{98B1D322-169F-4338-94A6-9C75A03E3594}" dt="2025-03-05T16:27:26.661" v="3673" actId="1035"/>
          <ac:cxnSpMkLst>
            <pc:docMk/>
            <pc:sldMk cId="2689224473" sldId="2147482594"/>
            <ac:cxnSpMk id="12" creationId="{7C29100F-61B6-D099-8FB7-9534A7BF27A0}"/>
          </ac:cxnSpMkLst>
        </pc:cxnChg>
        <pc:cxnChg chg="mod">
          <ac:chgData name="Hess, Christian Johannes" userId="3c21887f-2045-4c66-98d6-7d6208f3a5e9" providerId="ADAL" clId="{98B1D322-169F-4338-94A6-9C75A03E3594}" dt="2025-03-05T16:27:21.177" v="3665" actId="1035"/>
          <ac:cxnSpMkLst>
            <pc:docMk/>
            <pc:sldMk cId="2689224473" sldId="2147482594"/>
            <ac:cxnSpMk id="13" creationId="{2231C7CB-87EE-41DB-915C-B913F7C77FB1}"/>
          </ac:cxnSpMkLst>
        </pc:cxnChg>
      </pc:sldChg>
      <pc:sldChg chg="modSp mod">
        <pc:chgData name="Hess, Christian Johannes" userId="3c21887f-2045-4c66-98d6-7d6208f3a5e9" providerId="ADAL" clId="{98B1D322-169F-4338-94A6-9C75A03E3594}" dt="2025-03-05T16:26:38.545" v="3585" actId="1035"/>
        <pc:sldMkLst>
          <pc:docMk/>
          <pc:sldMk cId="2875674751" sldId="2147482595"/>
        </pc:sldMkLst>
        <pc:spChg chg="mod">
          <ac:chgData name="Hess, Christian Johannes" userId="3c21887f-2045-4c66-98d6-7d6208f3a5e9" providerId="ADAL" clId="{98B1D322-169F-4338-94A6-9C75A03E3594}" dt="2025-03-05T16:25:18.218" v="3508"/>
          <ac:spMkLst>
            <pc:docMk/>
            <pc:sldMk cId="2875674751" sldId="2147482595"/>
            <ac:spMk id="22" creationId="{24A8C74C-491F-3135-9168-31168889F6C2}"/>
          </ac:spMkLst>
        </pc:spChg>
        <pc:spChg chg="mod">
          <ac:chgData name="Hess, Christian Johannes" userId="3c21887f-2045-4c66-98d6-7d6208f3a5e9" providerId="ADAL" clId="{98B1D322-169F-4338-94A6-9C75A03E3594}" dt="2025-03-05T16:25:59.229" v="3520"/>
          <ac:spMkLst>
            <pc:docMk/>
            <pc:sldMk cId="2875674751" sldId="2147482595"/>
            <ac:spMk id="25" creationId="{3AF7F11E-CC97-D96C-595A-28C6B90225CE}"/>
          </ac:spMkLst>
        </pc:spChg>
        <pc:spChg chg="mod">
          <ac:chgData name="Hess, Christian Johannes" userId="3c21887f-2045-4c66-98d6-7d6208f3a5e9" providerId="ADAL" clId="{98B1D322-169F-4338-94A6-9C75A03E3594}" dt="2025-03-05T16:26:05.624" v="3532"/>
          <ac:spMkLst>
            <pc:docMk/>
            <pc:sldMk cId="2875674751" sldId="2147482595"/>
            <ac:spMk id="28" creationId="{AADF7B53-9E4C-8056-7221-86277A45CD44}"/>
          </ac:spMkLst>
        </pc:spChg>
        <pc:spChg chg="mod">
          <ac:chgData name="Hess, Christian Johannes" userId="3c21887f-2045-4c66-98d6-7d6208f3a5e9" providerId="ADAL" clId="{98B1D322-169F-4338-94A6-9C75A03E3594}" dt="2025-03-05T16:26:11.469" v="3544"/>
          <ac:spMkLst>
            <pc:docMk/>
            <pc:sldMk cId="2875674751" sldId="2147482595"/>
            <ac:spMk id="31" creationId="{223E6373-1FD2-8938-AFF2-CBED861BB861}"/>
          </ac:spMkLst>
        </pc:spChg>
        <pc:spChg chg="mod">
          <ac:chgData name="Hess, Christian Johannes" userId="3c21887f-2045-4c66-98d6-7d6208f3a5e9" providerId="ADAL" clId="{98B1D322-169F-4338-94A6-9C75A03E3594}" dt="2025-03-05T16:26:38.545" v="3585" actId="1035"/>
          <ac:spMkLst>
            <pc:docMk/>
            <pc:sldMk cId="2875674751" sldId="2147482595"/>
            <ac:spMk id="32" creationId="{9828C3F1-4E39-BBB9-603A-D4A23446A554}"/>
          </ac:spMkLst>
        </pc:spChg>
        <pc:spChg chg="mod">
          <ac:chgData name="Hess, Christian Johannes" userId="3c21887f-2045-4c66-98d6-7d6208f3a5e9" providerId="ADAL" clId="{98B1D322-169F-4338-94A6-9C75A03E3594}" dt="2025-03-05T16:26:38.545" v="3585" actId="1035"/>
          <ac:spMkLst>
            <pc:docMk/>
            <pc:sldMk cId="2875674751" sldId="2147482595"/>
            <ac:spMk id="34" creationId="{D4588552-0F6F-D87D-A7FD-8FDCAEBA242F}"/>
          </ac:spMkLst>
        </pc:spChg>
        <pc:spChg chg="mod">
          <ac:chgData name="Hess, Christian Johannes" userId="3c21887f-2045-4c66-98d6-7d6208f3a5e9" providerId="ADAL" clId="{98B1D322-169F-4338-94A6-9C75A03E3594}" dt="2025-03-05T16:26:38.545" v="3585" actId="1035"/>
          <ac:spMkLst>
            <pc:docMk/>
            <pc:sldMk cId="2875674751" sldId="2147482595"/>
            <ac:spMk id="35" creationId="{2E057132-9E88-C186-8B26-2DDE5A5CE540}"/>
          </ac:spMkLst>
        </pc:spChg>
        <pc:spChg chg="mod">
          <ac:chgData name="Hess, Christian Johannes" userId="3c21887f-2045-4c66-98d6-7d6208f3a5e9" providerId="ADAL" clId="{98B1D322-169F-4338-94A6-9C75A03E3594}" dt="2025-03-05T16:26:38.545" v="3585" actId="1035"/>
          <ac:spMkLst>
            <pc:docMk/>
            <pc:sldMk cId="2875674751" sldId="2147482595"/>
            <ac:spMk id="37" creationId="{D3581E4D-BB4A-7910-DCB5-51234CCD2082}"/>
          </ac:spMkLst>
        </pc:spChg>
        <pc:picChg chg="mod">
          <ac:chgData name="Hess, Christian Johannes" userId="3c21887f-2045-4c66-98d6-7d6208f3a5e9" providerId="ADAL" clId="{98B1D322-169F-4338-94A6-9C75A03E3594}" dt="2025-03-05T16:26:38.545" v="3585" actId="1035"/>
          <ac:picMkLst>
            <pc:docMk/>
            <pc:sldMk cId="2875674751" sldId="2147482595"/>
            <ac:picMk id="27" creationId="{203391D0-8D4E-5AC8-CD34-786CECC14D64}"/>
          </ac:picMkLst>
        </pc:picChg>
        <pc:picChg chg="mod">
          <ac:chgData name="Hess, Christian Johannes" userId="3c21887f-2045-4c66-98d6-7d6208f3a5e9" providerId="ADAL" clId="{98B1D322-169F-4338-94A6-9C75A03E3594}" dt="2025-03-05T16:26:38.545" v="3585" actId="1035"/>
          <ac:picMkLst>
            <pc:docMk/>
            <pc:sldMk cId="2875674751" sldId="2147482595"/>
            <ac:picMk id="30" creationId="{B1787D1E-A41F-2012-E83E-41E2C7F59017}"/>
          </ac:picMkLst>
        </pc:picChg>
        <pc:cxnChg chg="mod">
          <ac:chgData name="Hess, Christian Johannes" userId="3c21887f-2045-4c66-98d6-7d6208f3a5e9" providerId="ADAL" clId="{98B1D322-169F-4338-94A6-9C75A03E3594}" dt="2025-03-05T16:26:38.545" v="3585" actId="1035"/>
          <ac:cxnSpMkLst>
            <pc:docMk/>
            <pc:sldMk cId="2875674751" sldId="2147482595"/>
            <ac:cxnSpMk id="9" creationId="{2F1AD679-3446-0A79-C228-D2E3A9893797}"/>
          </ac:cxnSpMkLst>
        </pc:cxnChg>
        <pc:cxnChg chg="mod">
          <ac:chgData name="Hess, Christian Johannes" userId="3c21887f-2045-4c66-98d6-7d6208f3a5e9" providerId="ADAL" clId="{98B1D322-169F-4338-94A6-9C75A03E3594}" dt="2025-03-05T16:26:38.545" v="3585" actId="1035"/>
          <ac:cxnSpMkLst>
            <pc:docMk/>
            <pc:sldMk cId="2875674751" sldId="2147482595"/>
            <ac:cxnSpMk id="10" creationId="{369B7892-BCCA-04CD-FCF9-9E945B809B7E}"/>
          </ac:cxnSpMkLst>
        </pc:cxnChg>
      </pc:sldChg>
      <pc:sldChg chg="modSp mod">
        <pc:chgData name="Hess, Christian Johannes" userId="3c21887f-2045-4c66-98d6-7d6208f3a5e9" providerId="ADAL" clId="{98B1D322-169F-4338-94A6-9C75A03E3594}" dt="2025-03-05T16:25:06.203" v="3496" actId="1035"/>
        <pc:sldMkLst>
          <pc:docMk/>
          <pc:sldMk cId="4061681901" sldId="2147482596"/>
        </pc:sldMkLst>
        <pc:spChg chg="mod">
          <ac:chgData name="Hess, Christian Johannes" userId="3c21887f-2045-4c66-98d6-7d6208f3a5e9" providerId="ADAL" clId="{98B1D322-169F-4338-94A6-9C75A03E3594}" dt="2025-03-05T16:24:20.802" v="3425"/>
          <ac:spMkLst>
            <pc:docMk/>
            <pc:sldMk cId="4061681901" sldId="2147482596"/>
            <ac:spMk id="22" creationId="{24A8C74C-491F-3135-9168-31168889F6C2}"/>
          </ac:spMkLst>
        </pc:spChg>
        <pc:spChg chg="mod">
          <ac:chgData name="Hess, Christian Johannes" userId="3c21887f-2045-4c66-98d6-7d6208f3a5e9" providerId="ADAL" clId="{98B1D322-169F-4338-94A6-9C75A03E3594}" dt="2025-03-05T16:25:06.203" v="3496" actId="1035"/>
          <ac:spMkLst>
            <pc:docMk/>
            <pc:sldMk cId="4061681901" sldId="2147482596"/>
            <ac:spMk id="23" creationId="{3195ABAB-67CE-F714-1604-528A4C8CEAA4}"/>
          </ac:spMkLst>
        </pc:spChg>
        <pc:spChg chg="mod">
          <ac:chgData name="Hess, Christian Johannes" userId="3c21887f-2045-4c66-98d6-7d6208f3a5e9" providerId="ADAL" clId="{98B1D322-169F-4338-94A6-9C75A03E3594}" dt="2025-03-05T16:25:06.203" v="3496" actId="1035"/>
          <ac:spMkLst>
            <pc:docMk/>
            <pc:sldMk cId="4061681901" sldId="2147482596"/>
            <ac:spMk id="25" creationId="{3AF7F11E-CC97-D96C-595A-28C6B90225CE}"/>
          </ac:spMkLst>
        </pc:spChg>
        <pc:spChg chg="mod">
          <ac:chgData name="Hess, Christian Johannes" userId="3c21887f-2045-4c66-98d6-7d6208f3a5e9" providerId="ADAL" clId="{98B1D322-169F-4338-94A6-9C75A03E3594}" dt="2025-03-05T16:25:06.203" v="3496" actId="1035"/>
          <ac:spMkLst>
            <pc:docMk/>
            <pc:sldMk cId="4061681901" sldId="2147482596"/>
            <ac:spMk id="26" creationId="{6A581ED3-601C-A044-A72C-7EED9696B2DB}"/>
          </ac:spMkLst>
        </pc:spChg>
        <pc:spChg chg="mod">
          <ac:chgData name="Hess, Christian Johannes" userId="3c21887f-2045-4c66-98d6-7d6208f3a5e9" providerId="ADAL" clId="{98B1D322-169F-4338-94A6-9C75A03E3594}" dt="2025-03-05T16:25:06.203" v="3496" actId="1035"/>
          <ac:spMkLst>
            <pc:docMk/>
            <pc:sldMk cId="4061681901" sldId="2147482596"/>
            <ac:spMk id="28" creationId="{AADF7B53-9E4C-8056-7221-86277A45CD44}"/>
          </ac:spMkLst>
        </pc:spChg>
        <pc:spChg chg="mod">
          <ac:chgData name="Hess, Christian Johannes" userId="3c21887f-2045-4c66-98d6-7d6208f3a5e9" providerId="ADAL" clId="{98B1D322-169F-4338-94A6-9C75A03E3594}" dt="2025-03-05T16:25:06.203" v="3496" actId="1035"/>
          <ac:spMkLst>
            <pc:docMk/>
            <pc:sldMk cId="4061681901" sldId="2147482596"/>
            <ac:spMk id="29" creationId="{FFCD6AA0-DC23-0E27-AE73-415D18660094}"/>
          </ac:spMkLst>
        </pc:spChg>
        <pc:spChg chg="mod">
          <ac:chgData name="Hess, Christian Johannes" userId="3c21887f-2045-4c66-98d6-7d6208f3a5e9" providerId="ADAL" clId="{98B1D322-169F-4338-94A6-9C75A03E3594}" dt="2025-03-05T16:25:06.203" v="3496" actId="1035"/>
          <ac:spMkLst>
            <pc:docMk/>
            <pc:sldMk cId="4061681901" sldId="2147482596"/>
            <ac:spMk id="31" creationId="{223E6373-1FD2-8938-AFF2-CBED861BB861}"/>
          </ac:spMkLst>
        </pc:spChg>
        <pc:spChg chg="mod">
          <ac:chgData name="Hess, Christian Johannes" userId="3c21887f-2045-4c66-98d6-7d6208f3a5e9" providerId="ADAL" clId="{98B1D322-169F-4338-94A6-9C75A03E3594}" dt="2025-03-05T16:25:06.203" v="3496" actId="1035"/>
          <ac:spMkLst>
            <pc:docMk/>
            <pc:sldMk cId="4061681901" sldId="2147482596"/>
            <ac:spMk id="32" creationId="{9828C3F1-4E39-BBB9-603A-D4A23446A554}"/>
          </ac:spMkLst>
        </pc:spChg>
        <pc:spChg chg="mod">
          <ac:chgData name="Hess, Christian Johannes" userId="3c21887f-2045-4c66-98d6-7d6208f3a5e9" providerId="ADAL" clId="{98B1D322-169F-4338-94A6-9C75A03E3594}" dt="2025-03-05T16:25:06.203" v="3496" actId="1035"/>
          <ac:spMkLst>
            <pc:docMk/>
            <pc:sldMk cId="4061681901" sldId="2147482596"/>
            <ac:spMk id="34" creationId="{D4588552-0F6F-D87D-A7FD-8FDCAEBA242F}"/>
          </ac:spMkLst>
        </pc:spChg>
        <pc:spChg chg="mod">
          <ac:chgData name="Hess, Christian Johannes" userId="3c21887f-2045-4c66-98d6-7d6208f3a5e9" providerId="ADAL" clId="{98B1D322-169F-4338-94A6-9C75A03E3594}" dt="2025-03-05T16:25:06.203" v="3496" actId="1035"/>
          <ac:spMkLst>
            <pc:docMk/>
            <pc:sldMk cId="4061681901" sldId="2147482596"/>
            <ac:spMk id="35" creationId="{2E057132-9E88-C186-8B26-2DDE5A5CE540}"/>
          </ac:spMkLst>
        </pc:spChg>
        <pc:spChg chg="mod">
          <ac:chgData name="Hess, Christian Johannes" userId="3c21887f-2045-4c66-98d6-7d6208f3a5e9" providerId="ADAL" clId="{98B1D322-169F-4338-94A6-9C75A03E3594}" dt="2025-03-05T16:25:06.203" v="3496" actId="1035"/>
          <ac:spMkLst>
            <pc:docMk/>
            <pc:sldMk cId="4061681901" sldId="2147482596"/>
            <ac:spMk id="37" creationId="{D3581E4D-BB4A-7910-DCB5-51234CCD2082}"/>
          </ac:spMkLst>
        </pc:spChg>
        <pc:picChg chg="mod">
          <ac:chgData name="Hess, Christian Johannes" userId="3c21887f-2045-4c66-98d6-7d6208f3a5e9" providerId="ADAL" clId="{98B1D322-169F-4338-94A6-9C75A03E3594}" dt="2025-03-05T16:25:06.203" v="3496" actId="1035"/>
          <ac:picMkLst>
            <pc:docMk/>
            <pc:sldMk cId="4061681901" sldId="2147482596"/>
            <ac:picMk id="24" creationId="{EAA4E76C-6F6D-0E12-26A9-936468DA43F8}"/>
          </ac:picMkLst>
        </pc:picChg>
        <pc:picChg chg="mod">
          <ac:chgData name="Hess, Christian Johannes" userId="3c21887f-2045-4c66-98d6-7d6208f3a5e9" providerId="ADAL" clId="{98B1D322-169F-4338-94A6-9C75A03E3594}" dt="2025-03-05T16:25:06.203" v="3496" actId="1035"/>
          <ac:picMkLst>
            <pc:docMk/>
            <pc:sldMk cId="4061681901" sldId="2147482596"/>
            <ac:picMk id="27" creationId="{C644D09E-809D-9053-8104-5A3066C1BB06}"/>
          </ac:picMkLst>
        </pc:picChg>
        <pc:picChg chg="mod">
          <ac:chgData name="Hess, Christian Johannes" userId="3c21887f-2045-4c66-98d6-7d6208f3a5e9" providerId="ADAL" clId="{98B1D322-169F-4338-94A6-9C75A03E3594}" dt="2025-03-05T16:25:06.203" v="3496" actId="1035"/>
          <ac:picMkLst>
            <pc:docMk/>
            <pc:sldMk cId="4061681901" sldId="2147482596"/>
            <ac:picMk id="33" creationId="{24C1966F-D529-1195-88F5-CE7DAA4B3392}"/>
          </ac:picMkLst>
        </pc:picChg>
        <pc:picChg chg="mod">
          <ac:chgData name="Hess, Christian Johannes" userId="3c21887f-2045-4c66-98d6-7d6208f3a5e9" providerId="ADAL" clId="{98B1D322-169F-4338-94A6-9C75A03E3594}" dt="2025-03-05T16:25:06.203" v="3496" actId="1035"/>
          <ac:picMkLst>
            <pc:docMk/>
            <pc:sldMk cId="4061681901" sldId="2147482596"/>
            <ac:picMk id="36" creationId="{C2A12DB8-F403-2688-8623-17BC30C3DDC3}"/>
          </ac:picMkLst>
        </pc:picChg>
        <pc:picChg chg="mod">
          <ac:chgData name="Hess, Christian Johannes" userId="3c21887f-2045-4c66-98d6-7d6208f3a5e9" providerId="ADAL" clId="{98B1D322-169F-4338-94A6-9C75A03E3594}" dt="2025-03-05T16:25:06.203" v="3496" actId="1035"/>
          <ac:picMkLst>
            <pc:docMk/>
            <pc:sldMk cId="4061681901" sldId="2147482596"/>
            <ac:picMk id="38" creationId="{406AC780-8F63-4F34-7ED1-0DB26527261A}"/>
          </ac:picMkLst>
        </pc:picChg>
        <pc:cxnChg chg="mod">
          <ac:chgData name="Hess, Christian Johannes" userId="3c21887f-2045-4c66-98d6-7d6208f3a5e9" providerId="ADAL" clId="{98B1D322-169F-4338-94A6-9C75A03E3594}" dt="2025-03-05T16:25:06.203" v="3496" actId="1035"/>
          <ac:cxnSpMkLst>
            <pc:docMk/>
            <pc:sldMk cId="4061681901" sldId="2147482596"/>
            <ac:cxnSpMk id="9" creationId="{2F1AD679-3446-0A79-C228-D2E3A9893797}"/>
          </ac:cxnSpMkLst>
        </pc:cxnChg>
        <pc:cxnChg chg="mod">
          <ac:chgData name="Hess, Christian Johannes" userId="3c21887f-2045-4c66-98d6-7d6208f3a5e9" providerId="ADAL" clId="{98B1D322-169F-4338-94A6-9C75A03E3594}" dt="2025-03-05T16:25:06.203" v="3496" actId="1035"/>
          <ac:cxnSpMkLst>
            <pc:docMk/>
            <pc:sldMk cId="4061681901" sldId="2147482596"/>
            <ac:cxnSpMk id="10" creationId="{369B7892-BCCA-04CD-FCF9-9E945B809B7E}"/>
          </ac:cxnSpMkLst>
        </pc:cxnChg>
        <pc:cxnChg chg="mod">
          <ac:chgData name="Hess, Christian Johannes" userId="3c21887f-2045-4c66-98d6-7d6208f3a5e9" providerId="ADAL" clId="{98B1D322-169F-4338-94A6-9C75A03E3594}" dt="2025-03-05T16:25:06.203" v="3496" actId="1035"/>
          <ac:cxnSpMkLst>
            <pc:docMk/>
            <pc:sldMk cId="4061681901" sldId="2147482596"/>
            <ac:cxnSpMk id="11" creationId="{93A8B580-DBC6-BAFE-DCA8-825C65ED17A5}"/>
          </ac:cxnSpMkLst>
        </pc:cxnChg>
        <pc:cxnChg chg="mod">
          <ac:chgData name="Hess, Christian Johannes" userId="3c21887f-2045-4c66-98d6-7d6208f3a5e9" providerId="ADAL" clId="{98B1D322-169F-4338-94A6-9C75A03E3594}" dt="2025-03-05T16:25:06.203" v="3496" actId="1035"/>
          <ac:cxnSpMkLst>
            <pc:docMk/>
            <pc:sldMk cId="4061681901" sldId="2147482596"/>
            <ac:cxnSpMk id="12" creationId="{7C29100F-61B6-D099-8FB7-9534A7BF27A0}"/>
          </ac:cxnSpMkLst>
        </pc:cxnChg>
        <pc:cxnChg chg="mod">
          <ac:chgData name="Hess, Christian Johannes" userId="3c21887f-2045-4c66-98d6-7d6208f3a5e9" providerId="ADAL" clId="{98B1D322-169F-4338-94A6-9C75A03E3594}" dt="2025-03-05T16:25:06.203" v="3496" actId="1035"/>
          <ac:cxnSpMkLst>
            <pc:docMk/>
            <pc:sldMk cId="4061681901" sldId="2147482596"/>
            <ac:cxnSpMk id="13" creationId="{2231C7CB-87EE-41DB-915C-B913F7C77FB1}"/>
          </ac:cxnSpMkLst>
        </pc:cxnChg>
      </pc:sldChg>
      <pc:sldChg chg="modSp mod">
        <pc:chgData name="Hess, Christian Johannes" userId="3c21887f-2045-4c66-98d6-7d6208f3a5e9" providerId="ADAL" clId="{98B1D322-169F-4338-94A6-9C75A03E3594}" dt="2025-03-05T16:24:07.286" v="3413" actId="1035"/>
        <pc:sldMkLst>
          <pc:docMk/>
          <pc:sldMk cId="2047943169" sldId="2147482597"/>
        </pc:sldMkLst>
        <pc:spChg chg="mod">
          <ac:chgData name="Hess, Christian Johannes" userId="3c21887f-2045-4c66-98d6-7d6208f3a5e9" providerId="ADAL" clId="{98B1D322-169F-4338-94A6-9C75A03E3594}" dt="2025-03-05T16:23:53.862" v="3401" actId="1035"/>
          <ac:spMkLst>
            <pc:docMk/>
            <pc:sldMk cId="2047943169" sldId="2147482597"/>
            <ac:spMk id="20" creationId="{B0D5819D-69F1-A952-719B-C21EBA2347B1}"/>
          </ac:spMkLst>
        </pc:spChg>
        <pc:spChg chg="mod">
          <ac:chgData name="Hess, Christian Johannes" userId="3c21887f-2045-4c66-98d6-7d6208f3a5e9" providerId="ADAL" clId="{98B1D322-169F-4338-94A6-9C75A03E3594}" dt="2025-03-05T16:23:53.862" v="3401" actId="1035"/>
          <ac:spMkLst>
            <pc:docMk/>
            <pc:sldMk cId="2047943169" sldId="2147482597"/>
            <ac:spMk id="22" creationId="{24A8C74C-491F-3135-9168-31168889F6C2}"/>
          </ac:spMkLst>
        </pc:spChg>
        <pc:spChg chg="mod">
          <ac:chgData name="Hess, Christian Johannes" userId="3c21887f-2045-4c66-98d6-7d6208f3a5e9" providerId="ADAL" clId="{98B1D322-169F-4338-94A6-9C75A03E3594}" dt="2025-03-05T16:24:07.286" v="3413" actId="1035"/>
          <ac:spMkLst>
            <pc:docMk/>
            <pc:sldMk cId="2047943169" sldId="2147482597"/>
            <ac:spMk id="23" creationId="{3195ABAB-67CE-F714-1604-528A4C8CEAA4}"/>
          </ac:spMkLst>
        </pc:spChg>
        <pc:spChg chg="mod">
          <ac:chgData name="Hess, Christian Johannes" userId="3c21887f-2045-4c66-98d6-7d6208f3a5e9" providerId="ADAL" clId="{98B1D322-169F-4338-94A6-9C75A03E3594}" dt="2025-03-05T16:24:07.286" v="3413" actId="1035"/>
          <ac:spMkLst>
            <pc:docMk/>
            <pc:sldMk cId="2047943169" sldId="2147482597"/>
            <ac:spMk id="25" creationId="{3AF7F11E-CC97-D96C-595A-28C6B90225CE}"/>
          </ac:spMkLst>
        </pc:spChg>
        <pc:spChg chg="mod">
          <ac:chgData name="Hess, Christian Johannes" userId="3c21887f-2045-4c66-98d6-7d6208f3a5e9" providerId="ADAL" clId="{98B1D322-169F-4338-94A6-9C75A03E3594}" dt="2025-03-05T16:24:07.286" v="3413" actId="1035"/>
          <ac:spMkLst>
            <pc:docMk/>
            <pc:sldMk cId="2047943169" sldId="2147482597"/>
            <ac:spMk id="26" creationId="{6A581ED3-601C-A044-A72C-7EED9696B2DB}"/>
          </ac:spMkLst>
        </pc:spChg>
        <pc:spChg chg="mod">
          <ac:chgData name="Hess, Christian Johannes" userId="3c21887f-2045-4c66-98d6-7d6208f3a5e9" providerId="ADAL" clId="{98B1D322-169F-4338-94A6-9C75A03E3594}" dt="2025-03-05T16:24:07.286" v="3413" actId="1035"/>
          <ac:spMkLst>
            <pc:docMk/>
            <pc:sldMk cId="2047943169" sldId="2147482597"/>
            <ac:spMk id="28" creationId="{AADF7B53-9E4C-8056-7221-86277A45CD44}"/>
          </ac:spMkLst>
        </pc:spChg>
        <pc:spChg chg="mod">
          <ac:chgData name="Hess, Christian Johannes" userId="3c21887f-2045-4c66-98d6-7d6208f3a5e9" providerId="ADAL" clId="{98B1D322-169F-4338-94A6-9C75A03E3594}" dt="2025-03-05T16:24:07.286" v="3413" actId="1035"/>
          <ac:spMkLst>
            <pc:docMk/>
            <pc:sldMk cId="2047943169" sldId="2147482597"/>
            <ac:spMk id="29" creationId="{FFCD6AA0-DC23-0E27-AE73-415D18660094}"/>
          </ac:spMkLst>
        </pc:spChg>
        <pc:spChg chg="mod">
          <ac:chgData name="Hess, Christian Johannes" userId="3c21887f-2045-4c66-98d6-7d6208f3a5e9" providerId="ADAL" clId="{98B1D322-169F-4338-94A6-9C75A03E3594}" dt="2025-03-05T16:24:07.286" v="3413" actId="1035"/>
          <ac:spMkLst>
            <pc:docMk/>
            <pc:sldMk cId="2047943169" sldId="2147482597"/>
            <ac:spMk id="31" creationId="{223E6373-1FD2-8938-AFF2-CBED861BB861}"/>
          </ac:spMkLst>
        </pc:spChg>
        <pc:spChg chg="mod">
          <ac:chgData name="Hess, Christian Johannes" userId="3c21887f-2045-4c66-98d6-7d6208f3a5e9" providerId="ADAL" clId="{98B1D322-169F-4338-94A6-9C75A03E3594}" dt="2025-03-05T16:24:07.286" v="3413" actId="1035"/>
          <ac:spMkLst>
            <pc:docMk/>
            <pc:sldMk cId="2047943169" sldId="2147482597"/>
            <ac:spMk id="32" creationId="{9828C3F1-4E39-BBB9-603A-D4A23446A554}"/>
          </ac:spMkLst>
        </pc:spChg>
        <pc:spChg chg="mod">
          <ac:chgData name="Hess, Christian Johannes" userId="3c21887f-2045-4c66-98d6-7d6208f3a5e9" providerId="ADAL" clId="{98B1D322-169F-4338-94A6-9C75A03E3594}" dt="2025-03-05T16:24:07.286" v="3413" actId="1035"/>
          <ac:spMkLst>
            <pc:docMk/>
            <pc:sldMk cId="2047943169" sldId="2147482597"/>
            <ac:spMk id="34" creationId="{D4588552-0F6F-D87D-A7FD-8FDCAEBA242F}"/>
          </ac:spMkLst>
        </pc:spChg>
        <pc:spChg chg="mod">
          <ac:chgData name="Hess, Christian Johannes" userId="3c21887f-2045-4c66-98d6-7d6208f3a5e9" providerId="ADAL" clId="{98B1D322-169F-4338-94A6-9C75A03E3594}" dt="2025-03-05T16:24:07.286" v="3413" actId="1035"/>
          <ac:spMkLst>
            <pc:docMk/>
            <pc:sldMk cId="2047943169" sldId="2147482597"/>
            <ac:spMk id="35" creationId="{2E057132-9E88-C186-8B26-2DDE5A5CE540}"/>
          </ac:spMkLst>
        </pc:spChg>
        <pc:spChg chg="mod">
          <ac:chgData name="Hess, Christian Johannes" userId="3c21887f-2045-4c66-98d6-7d6208f3a5e9" providerId="ADAL" clId="{98B1D322-169F-4338-94A6-9C75A03E3594}" dt="2025-03-05T16:24:07.286" v="3413" actId="1035"/>
          <ac:spMkLst>
            <pc:docMk/>
            <pc:sldMk cId="2047943169" sldId="2147482597"/>
            <ac:spMk id="37" creationId="{D3581E4D-BB4A-7910-DCB5-51234CCD2082}"/>
          </ac:spMkLst>
        </pc:spChg>
        <pc:picChg chg="mod">
          <ac:chgData name="Hess, Christian Johannes" userId="3c21887f-2045-4c66-98d6-7d6208f3a5e9" providerId="ADAL" clId="{98B1D322-169F-4338-94A6-9C75A03E3594}" dt="2025-03-05T16:24:07.286" v="3413" actId="1035"/>
          <ac:picMkLst>
            <pc:docMk/>
            <pc:sldMk cId="2047943169" sldId="2147482597"/>
            <ac:picMk id="21" creationId="{EAB08951-EFA5-CB03-F0E8-0CB1B6197046}"/>
          </ac:picMkLst>
        </pc:picChg>
        <pc:picChg chg="mod">
          <ac:chgData name="Hess, Christian Johannes" userId="3c21887f-2045-4c66-98d6-7d6208f3a5e9" providerId="ADAL" clId="{98B1D322-169F-4338-94A6-9C75A03E3594}" dt="2025-03-05T16:24:07.286" v="3413" actId="1035"/>
          <ac:picMkLst>
            <pc:docMk/>
            <pc:sldMk cId="2047943169" sldId="2147482597"/>
            <ac:picMk id="24" creationId="{52C8FA03-07B8-9C10-CB1C-CC6695BDA7C1}"/>
          </ac:picMkLst>
        </pc:picChg>
        <pc:picChg chg="mod">
          <ac:chgData name="Hess, Christian Johannes" userId="3c21887f-2045-4c66-98d6-7d6208f3a5e9" providerId="ADAL" clId="{98B1D322-169F-4338-94A6-9C75A03E3594}" dt="2025-03-05T16:24:07.286" v="3413" actId="1035"/>
          <ac:picMkLst>
            <pc:docMk/>
            <pc:sldMk cId="2047943169" sldId="2147482597"/>
            <ac:picMk id="27" creationId="{CFA1142D-6DB8-D678-5062-622882ADA186}"/>
          </ac:picMkLst>
        </pc:picChg>
        <pc:picChg chg="mod">
          <ac:chgData name="Hess, Christian Johannes" userId="3c21887f-2045-4c66-98d6-7d6208f3a5e9" providerId="ADAL" clId="{98B1D322-169F-4338-94A6-9C75A03E3594}" dt="2025-03-05T16:24:07.286" v="3413" actId="1035"/>
          <ac:picMkLst>
            <pc:docMk/>
            <pc:sldMk cId="2047943169" sldId="2147482597"/>
            <ac:picMk id="33" creationId="{B7D51BBB-5554-04DD-8F56-6864F5AE80D4}"/>
          </ac:picMkLst>
        </pc:picChg>
        <pc:picChg chg="mod">
          <ac:chgData name="Hess, Christian Johannes" userId="3c21887f-2045-4c66-98d6-7d6208f3a5e9" providerId="ADAL" clId="{98B1D322-169F-4338-94A6-9C75A03E3594}" dt="2025-03-05T16:24:07.286" v="3413" actId="1035"/>
          <ac:picMkLst>
            <pc:docMk/>
            <pc:sldMk cId="2047943169" sldId="2147482597"/>
            <ac:picMk id="36" creationId="{56F9460E-81B5-31EC-C09D-277B2983A161}"/>
          </ac:picMkLst>
        </pc:picChg>
        <pc:picChg chg="mod">
          <ac:chgData name="Hess, Christian Johannes" userId="3c21887f-2045-4c66-98d6-7d6208f3a5e9" providerId="ADAL" clId="{98B1D322-169F-4338-94A6-9C75A03E3594}" dt="2025-03-05T16:23:53.862" v="3401" actId="1035"/>
          <ac:picMkLst>
            <pc:docMk/>
            <pc:sldMk cId="2047943169" sldId="2147482597"/>
            <ac:picMk id="38" creationId="{4329513C-BC10-DD21-352D-31A95124420D}"/>
          </ac:picMkLst>
        </pc:picChg>
        <pc:cxnChg chg="mod">
          <ac:chgData name="Hess, Christian Johannes" userId="3c21887f-2045-4c66-98d6-7d6208f3a5e9" providerId="ADAL" clId="{98B1D322-169F-4338-94A6-9C75A03E3594}" dt="2025-03-05T16:24:07.286" v="3413" actId="1035"/>
          <ac:cxnSpMkLst>
            <pc:docMk/>
            <pc:sldMk cId="2047943169" sldId="2147482597"/>
            <ac:cxnSpMk id="9" creationId="{2F1AD679-3446-0A79-C228-D2E3A9893797}"/>
          </ac:cxnSpMkLst>
        </pc:cxnChg>
        <pc:cxnChg chg="mod">
          <ac:chgData name="Hess, Christian Johannes" userId="3c21887f-2045-4c66-98d6-7d6208f3a5e9" providerId="ADAL" clId="{98B1D322-169F-4338-94A6-9C75A03E3594}" dt="2025-03-05T16:24:07.286" v="3413" actId="1035"/>
          <ac:cxnSpMkLst>
            <pc:docMk/>
            <pc:sldMk cId="2047943169" sldId="2147482597"/>
            <ac:cxnSpMk id="10" creationId="{369B7892-BCCA-04CD-FCF9-9E945B809B7E}"/>
          </ac:cxnSpMkLst>
        </pc:cxnChg>
        <pc:cxnChg chg="mod">
          <ac:chgData name="Hess, Christian Johannes" userId="3c21887f-2045-4c66-98d6-7d6208f3a5e9" providerId="ADAL" clId="{98B1D322-169F-4338-94A6-9C75A03E3594}" dt="2025-03-05T16:24:07.286" v="3413" actId="1035"/>
          <ac:cxnSpMkLst>
            <pc:docMk/>
            <pc:sldMk cId="2047943169" sldId="2147482597"/>
            <ac:cxnSpMk id="11" creationId="{93A8B580-DBC6-BAFE-DCA8-825C65ED17A5}"/>
          </ac:cxnSpMkLst>
        </pc:cxnChg>
        <pc:cxnChg chg="mod">
          <ac:chgData name="Hess, Christian Johannes" userId="3c21887f-2045-4c66-98d6-7d6208f3a5e9" providerId="ADAL" clId="{98B1D322-169F-4338-94A6-9C75A03E3594}" dt="2025-03-05T16:24:07.286" v="3413" actId="1035"/>
          <ac:cxnSpMkLst>
            <pc:docMk/>
            <pc:sldMk cId="2047943169" sldId="2147482597"/>
            <ac:cxnSpMk id="12" creationId="{7C29100F-61B6-D099-8FB7-9534A7BF27A0}"/>
          </ac:cxnSpMkLst>
        </pc:cxnChg>
        <pc:cxnChg chg="mod">
          <ac:chgData name="Hess, Christian Johannes" userId="3c21887f-2045-4c66-98d6-7d6208f3a5e9" providerId="ADAL" clId="{98B1D322-169F-4338-94A6-9C75A03E3594}" dt="2025-03-05T16:24:07.286" v="3413" actId="1035"/>
          <ac:cxnSpMkLst>
            <pc:docMk/>
            <pc:sldMk cId="2047943169" sldId="2147482597"/>
            <ac:cxnSpMk id="13" creationId="{2231C7CB-87EE-41DB-915C-B913F7C77FB1}"/>
          </ac:cxnSpMkLst>
        </pc:cxnChg>
        <pc:cxnChg chg="mod">
          <ac:chgData name="Hess, Christian Johannes" userId="3c21887f-2045-4c66-98d6-7d6208f3a5e9" providerId="ADAL" clId="{98B1D322-169F-4338-94A6-9C75A03E3594}" dt="2025-03-05T16:23:53.862" v="3401" actId="1035"/>
          <ac:cxnSpMkLst>
            <pc:docMk/>
            <pc:sldMk cId="2047943169" sldId="2147482597"/>
            <ac:cxnSpMk id="14" creationId="{C4E7A8FD-6175-8F3E-BA29-58924B33BE67}"/>
          </ac:cxnSpMkLst>
        </pc:cxnChg>
      </pc:sldChg>
      <pc:sldChg chg="modSp mod">
        <pc:chgData name="Hess, Christian Johannes" userId="3c21887f-2045-4c66-98d6-7d6208f3a5e9" providerId="ADAL" clId="{98B1D322-169F-4338-94A6-9C75A03E3594}" dt="2025-03-05T16:22:56.309" v="3309" actId="1035"/>
        <pc:sldMkLst>
          <pc:docMk/>
          <pc:sldMk cId="2894149104" sldId="2147482598"/>
        </pc:sldMkLst>
        <pc:spChg chg="mod">
          <ac:chgData name="Hess, Christian Johannes" userId="3c21887f-2045-4c66-98d6-7d6208f3a5e9" providerId="ADAL" clId="{98B1D322-169F-4338-94A6-9C75A03E3594}" dt="2025-03-05T16:22:56.309" v="3309" actId="1035"/>
          <ac:spMkLst>
            <pc:docMk/>
            <pc:sldMk cId="2894149104" sldId="2147482598"/>
            <ac:spMk id="20" creationId="{B0D5819D-69F1-A952-719B-C21EBA2347B1}"/>
          </ac:spMkLst>
        </pc:spChg>
        <pc:spChg chg="mod">
          <ac:chgData name="Hess, Christian Johannes" userId="3c21887f-2045-4c66-98d6-7d6208f3a5e9" providerId="ADAL" clId="{98B1D322-169F-4338-94A6-9C75A03E3594}" dt="2025-03-05T16:22:56.309" v="3309" actId="1035"/>
          <ac:spMkLst>
            <pc:docMk/>
            <pc:sldMk cId="2894149104" sldId="2147482598"/>
            <ac:spMk id="22" creationId="{24A8C74C-491F-3135-9168-31168889F6C2}"/>
          </ac:spMkLst>
        </pc:spChg>
        <pc:spChg chg="mod">
          <ac:chgData name="Hess, Christian Johannes" userId="3c21887f-2045-4c66-98d6-7d6208f3a5e9" providerId="ADAL" clId="{98B1D322-169F-4338-94A6-9C75A03E3594}" dt="2025-03-05T16:22:56.309" v="3309" actId="1035"/>
          <ac:spMkLst>
            <pc:docMk/>
            <pc:sldMk cId="2894149104" sldId="2147482598"/>
            <ac:spMk id="23" creationId="{3195ABAB-67CE-F714-1604-528A4C8CEAA4}"/>
          </ac:spMkLst>
        </pc:spChg>
        <pc:spChg chg="mod">
          <ac:chgData name="Hess, Christian Johannes" userId="3c21887f-2045-4c66-98d6-7d6208f3a5e9" providerId="ADAL" clId="{98B1D322-169F-4338-94A6-9C75A03E3594}" dt="2025-03-05T16:22:56.309" v="3309" actId="1035"/>
          <ac:spMkLst>
            <pc:docMk/>
            <pc:sldMk cId="2894149104" sldId="2147482598"/>
            <ac:spMk id="25" creationId="{3AF7F11E-CC97-D96C-595A-28C6B90225CE}"/>
          </ac:spMkLst>
        </pc:spChg>
        <pc:spChg chg="mod">
          <ac:chgData name="Hess, Christian Johannes" userId="3c21887f-2045-4c66-98d6-7d6208f3a5e9" providerId="ADAL" clId="{98B1D322-169F-4338-94A6-9C75A03E3594}" dt="2025-03-05T16:22:56.309" v="3309" actId="1035"/>
          <ac:spMkLst>
            <pc:docMk/>
            <pc:sldMk cId="2894149104" sldId="2147482598"/>
            <ac:spMk id="26" creationId="{6A581ED3-601C-A044-A72C-7EED9696B2DB}"/>
          </ac:spMkLst>
        </pc:spChg>
        <pc:spChg chg="mod">
          <ac:chgData name="Hess, Christian Johannes" userId="3c21887f-2045-4c66-98d6-7d6208f3a5e9" providerId="ADAL" clId="{98B1D322-169F-4338-94A6-9C75A03E3594}" dt="2025-03-05T16:22:56.309" v="3309" actId="1035"/>
          <ac:spMkLst>
            <pc:docMk/>
            <pc:sldMk cId="2894149104" sldId="2147482598"/>
            <ac:spMk id="28" creationId="{AADF7B53-9E4C-8056-7221-86277A45CD44}"/>
          </ac:spMkLst>
        </pc:spChg>
        <pc:spChg chg="mod">
          <ac:chgData name="Hess, Christian Johannes" userId="3c21887f-2045-4c66-98d6-7d6208f3a5e9" providerId="ADAL" clId="{98B1D322-169F-4338-94A6-9C75A03E3594}" dt="2025-03-05T16:22:56.309" v="3309" actId="1035"/>
          <ac:spMkLst>
            <pc:docMk/>
            <pc:sldMk cId="2894149104" sldId="2147482598"/>
            <ac:spMk id="29" creationId="{FFCD6AA0-DC23-0E27-AE73-415D18660094}"/>
          </ac:spMkLst>
        </pc:spChg>
        <pc:spChg chg="mod">
          <ac:chgData name="Hess, Christian Johannes" userId="3c21887f-2045-4c66-98d6-7d6208f3a5e9" providerId="ADAL" clId="{98B1D322-169F-4338-94A6-9C75A03E3594}" dt="2025-03-05T16:22:56.309" v="3309" actId="1035"/>
          <ac:spMkLst>
            <pc:docMk/>
            <pc:sldMk cId="2894149104" sldId="2147482598"/>
            <ac:spMk id="31" creationId="{223E6373-1FD2-8938-AFF2-CBED861BB861}"/>
          </ac:spMkLst>
        </pc:spChg>
        <pc:spChg chg="mod">
          <ac:chgData name="Hess, Christian Johannes" userId="3c21887f-2045-4c66-98d6-7d6208f3a5e9" providerId="ADAL" clId="{98B1D322-169F-4338-94A6-9C75A03E3594}" dt="2025-03-05T16:22:56.309" v="3309" actId="1035"/>
          <ac:spMkLst>
            <pc:docMk/>
            <pc:sldMk cId="2894149104" sldId="2147482598"/>
            <ac:spMk id="32" creationId="{9828C3F1-4E39-BBB9-603A-D4A23446A554}"/>
          </ac:spMkLst>
        </pc:spChg>
        <pc:spChg chg="mod">
          <ac:chgData name="Hess, Christian Johannes" userId="3c21887f-2045-4c66-98d6-7d6208f3a5e9" providerId="ADAL" clId="{98B1D322-169F-4338-94A6-9C75A03E3594}" dt="2025-03-05T16:22:56.309" v="3309" actId="1035"/>
          <ac:spMkLst>
            <pc:docMk/>
            <pc:sldMk cId="2894149104" sldId="2147482598"/>
            <ac:spMk id="34" creationId="{D4588552-0F6F-D87D-A7FD-8FDCAEBA242F}"/>
          </ac:spMkLst>
        </pc:spChg>
        <pc:spChg chg="mod">
          <ac:chgData name="Hess, Christian Johannes" userId="3c21887f-2045-4c66-98d6-7d6208f3a5e9" providerId="ADAL" clId="{98B1D322-169F-4338-94A6-9C75A03E3594}" dt="2025-03-05T16:22:56.309" v="3309" actId="1035"/>
          <ac:spMkLst>
            <pc:docMk/>
            <pc:sldMk cId="2894149104" sldId="2147482598"/>
            <ac:spMk id="35" creationId="{2E057132-9E88-C186-8B26-2DDE5A5CE540}"/>
          </ac:spMkLst>
        </pc:spChg>
        <pc:spChg chg="mod">
          <ac:chgData name="Hess, Christian Johannes" userId="3c21887f-2045-4c66-98d6-7d6208f3a5e9" providerId="ADAL" clId="{98B1D322-169F-4338-94A6-9C75A03E3594}" dt="2025-03-05T16:22:56.309" v="3309" actId="1035"/>
          <ac:spMkLst>
            <pc:docMk/>
            <pc:sldMk cId="2894149104" sldId="2147482598"/>
            <ac:spMk id="37" creationId="{D3581E4D-BB4A-7910-DCB5-51234CCD2082}"/>
          </ac:spMkLst>
        </pc:spChg>
        <pc:picChg chg="mod">
          <ac:chgData name="Hess, Christian Johannes" userId="3c21887f-2045-4c66-98d6-7d6208f3a5e9" providerId="ADAL" clId="{98B1D322-169F-4338-94A6-9C75A03E3594}" dt="2025-03-05T16:22:56.309" v="3309" actId="1035"/>
          <ac:picMkLst>
            <pc:docMk/>
            <pc:sldMk cId="2894149104" sldId="2147482598"/>
            <ac:picMk id="24" creationId="{8CC0CE99-879B-3FA8-C857-558E942A0E8A}"/>
          </ac:picMkLst>
        </pc:picChg>
        <pc:picChg chg="mod">
          <ac:chgData name="Hess, Christian Johannes" userId="3c21887f-2045-4c66-98d6-7d6208f3a5e9" providerId="ADAL" clId="{98B1D322-169F-4338-94A6-9C75A03E3594}" dt="2025-03-05T16:22:56.309" v="3309" actId="1035"/>
          <ac:picMkLst>
            <pc:docMk/>
            <pc:sldMk cId="2894149104" sldId="2147482598"/>
            <ac:picMk id="27" creationId="{7A99164C-2DA4-939B-D261-C0F745E5A77C}"/>
          </ac:picMkLst>
        </pc:picChg>
        <pc:picChg chg="mod">
          <ac:chgData name="Hess, Christian Johannes" userId="3c21887f-2045-4c66-98d6-7d6208f3a5e9" providerId="ADAL" clId="{98B1D322-169F-4338-94A6-9C75A03E3594}" dt="2025-03-05T16:22:56.309" v="3309" actId="1035"/>
          <ac:picMkLst>
            <pc:docMk/>
            <pc:sldMk cId="2894149104" sldId="2147482598"/>
            <ac:picMk id="30" creationId="{8DAA64BB-4167-3E8B-6C42-E28BD1D4CCB7}"/>
          </ac:picMkLst>
        </pc:picChg>
        <pc:picChg chg="mod">
          <ac:chgData name="Hess, Christian Johannes" userId="3c21887f-2045-4c66-98d6-7d6208f3a5e9" providerId="ADAL" clId="{98B1D322-169F-4338-94A6-9C75A03E3594}" dt="2025-03-05T16:22:56.309" v="3309" actId="1035"/>
          <ac:picMkLst>
            <pc:docMk/>
            <pc:sldMk cId="2894149104" sldId="2147482598"/>
            <ac:picMk id="33" creationId="{97BB805A-080B-AFA8-FA7C-09933EB69D6D}"/>
          </ac:picMkLst>
        </pc:picChg>
        <pc:picChg chg="mod">
          <ac:chgData name="Hess, Christian Johannes" userId="3c21887f-2045-4c66-98d6-7d6208f3a5e9" providerId="ADAL" clId="{98B1D322-169F-4338-94A6-9C75A03E3594}" dt="2025-03-05T16:22:56.309" v="3309" actId="1035"/>
          <ac:picMkLst>
            <pc:docMk/>
            <pc:sldMk cId="2894149104" sldId="2147482598"/>
            <ac:picMk id="36" creationId="{136EF2D5-68DE-B119-6C53-14D0B9CC5B1E}"/>
          </ac:picMkLst>
        </pc:picChg>
        <pc:picChg chg="mod">
          <ac:chgData name="Hess, Christian Johannes" userId="3c21887f-2045-4c66-98d6-7d6208f3a5e9" providerId="ADAL" clId="{98B1D322-169F-4338-94A6-9C75A03E3594}" dt="2025-03-05T16:22:56.309" v="3309" actId="1035"/>
          <ac:picMkLst>
            <pc:docMk/>
            <pc:sldMk cId="2894149104" sldId="2147482598"/>
            <ac:picMk id="38" creationId="{2DDB1742-D623-AB45-7818-9E2BC8B9D14C}"/>
          </ac:picMkLst>
        </pc:picChg>
        <pc:cxnChg chg="mod">
          <ac:chgData name="Hess, Christian Johannes" userId="3c21887f-2045-4c66-98d6-7d6208f3a5e9" providerId="ADAL" clId="{98B1D322-169F-4338-94A6-9C75A03E3594}" dt="2025-03-05T16:22:56.309" v="3309" actId="1035"/>
          <ac:cxnSpMkLst>
            <pc:docMk/>
            <pc:sldMk cId="2894149104" sldId="2147482598"/>
            <ac:cxnSpMk id="9" creationId="{2F1AD679-3446-0A79-C228-D2E3A9893797}"/>
          </ac:cxnSpMkLst>
        </pc:cxnChg>
        <pc:cxnChg chg="mod">
          <ac:chgData name="Hess, Christian Johannes" userId="3c21887f-2045-4c66-98d6-7d6208f3a5e9" providerId="ADAL" clId="{98B1D322-169F-4338-94A6-9C75A03E3594}" dt="2025-03-05T16:22:56.309" v="3309" actId="1035"/>
          <ac:cxnSpMkLst>
            <pc:docMk/>
            <pc:sldMk cId="2894149104" sldId="2147482598"/>
            <ac:cxnSpMk id="10" creationId="{369B7892-BCCA-04CD-FCF9-9E945B809B7E}"/>
          </ac:cxnSpMkLst>
        </pc:cxnChg>
        <pc:cxnChg chg="mod">
          <ac:chgData name="Hess, Christian Johannes" userId="3c21887f-2045-4c66-98d6-7d6208f3a5e9" providerId="ADAL" clId="{98B1D322-169F-4338-94A6-9C75A03E3594}" dt="2025-03-05T16:22:56.309" v="3309" actId="1035"/>
          <ac:cxnSpMkLst>
            <pc:docMk/>
            <pc:sldMk cId="2894149104" sldId="2147482598"/>
            <ac:cxnSpMk id="11" creationId="{93A8B580-DBC6-BAFE-DCA8-825C65ED17A5}"/>
          </ac:cxnSpMkLst>
        </pc:cxnChg>
        <pc:cxnChg chg="mod">
          <ac:chgData name="Hess, Christian Johannes" userId="3c21887f-2045-4c66-98d6-7d6208f3a5e9" providerId="ADAL" clId="{98B1D322-169F-4338-94A6-9C75A03E3594}" dt="2025-03-05T16:22:56.309" v="3309" actId="1035"/>
          <ac:cxnSpMkLst>
            <pc:docMk/>
            <pc:sldMk cId="2894149104" sldId="2147482598"/>
            <ac:cxnSpMk id="12" creationId="{7C29100F-61B6-D099-8FB7-9534A7BF27A0}"/>
          </ac:cxnSpMkLst>
        </pc:cxnChg>
        <pc:cxnChg chg="mod">
          <ac:chgData name="Hess, Christian Johannes" userId="3c21887f-2045-4c66-98d6-7d6208f3a5e9" providerId="ADAL" clId="{98B1D322-169F-4338-94A6-9C75A03E3594}" dt="2025-03-05T16:22:56.309" v="3309" actId="1035"/>
          <ac:cxnSpMkLst>
            <pc:docMk/>
            <pc:sldMk cId="2894149104" sldId="2147482598"/>
            <ac:cxnSpMk id="13" creationId="{2231C7CB-87EE-41DB-915C-B913F7C77FB1}"/>
          </ac:cxnSpMkLst>
        </pc:cxnChg>
        <pc:cxnChg chg="mod">
          <ac:chgData name="Hess, Christian Johannes" userId="3c21887f-2045-4c66-98d6-7d6208f3a5e9" providerId="ADAL" clId="{98B1D322-169F-4338-94A6-9C75A03E3594}" dt="2025-03-05T16:22:56.309" v="3309" actId="1035"/>
          <ac:cxnSpMkLst>
            <pc:docMk/>
            <pc:sldMk cId="2894149104" sldId="2147482598"/>
            <ac:cxnSpMk id="14" creationId="{C4E7A8FD-6175-8F3E-BA29-58924B33BE67}"/>
          </ac:cxnSpMkLst>
        </pc:cxnChg>
      </pc:sldChg>
      <pc:sldChg chg="modSp mod">
        <pc:chgData name="Hess, Christian Johannes" userId="3c21887f-2045-4c66-98d6-7d6208f3a5e9" providerId="ADAL" clId="{98B1D322-169F-4338-94A6-9C75A03E3594}" dt="2025-03-05T16:21:46.283" v="3198" actId="1035"/>
        <pc:sldMkLst>
          <pc:docMk/>
          <pc:sldMk cId="2662687263" sldId="2147482599"/>
        </pc:sldMkLst>
        <pc:spChg chg="mod">
          <ac:chgData name="Hess, Christian Johannes" userId="3c21887f-2045-4c66-98d6-7d6208f3a5e9" providerId="ADAL" clId="{98B1D322-169F-4338-94A6-9C75A03E3594}" dt="2025-03-05T16:20:54.600" v="3106"/>
          <ac:spMkLst>
            <pc:docMk/>
            <pc:sldMk cId="2662687263" sldId="2147482599"/>
            <ac:spMk id="22" creationId="{24A8C74C-491F-3135-9168-31168889F6C2}"/>
          </ac:spMkLst>
        </pc:spChg>
        <pc:spChg chg="mod">
          <ac:chgData name="Hess, Christian Johannes" userId="3c21887f-2045-4c66-98d6-7d6208f3a5e9" providerId="ADAL" clId="{98B1D322-169F-4338-94A6-9C75A03E3594}" dt="2025-03-05T16:21:01.172" v="3118"/>
          <ac:spMkLst>
            <pc:docMk/>
            <pc:sldMk cId="2662687263" sldId="2147482599"/>
            <ac:spMk id="25" creationId="{3AF7F11E-CC97-D96C-595A-28C6B90225CE}"/>
          </ac:spMkLst>
        </pc:spChg>
        <pc:spChg chg="mod">
          <ac:chgData name="Hess, Christian Johannes" userId="3c21887f-2045-4c66-98d6-7d6208f3a5e9" providerId="ADAL" clId="{98B1D322-169F-4338-94A6-9C75A03E3594}" dt="2025-03-05T16:21:40.414" v="3192" actId="1035"/>
          <ac:spMkLst>
            <pc:docMk/>
            <pc:sldMk cId="2662687263" sldId="2147482599"/>
            <ac:spMk id="26" creationId="{6A581ED3-601C-A044-A72C-7EED9696B2DB}"/>
          </ac:spMkLst>
        </pc:spChg>
        <pc:spChg chg="mod">
          <ac:chgData name="Hess, Christian Johannes" userId="3c21887f-2045-4c66-98d6-7d6208f3a5e9" providerId="ADAL" clId="{98B1D322-169F-4338-94A6-9C75A03E3594}" dt="2025-03-05T16:21:40.414" v="3192" actId="1035"/>
          <ac:spMkLst>
            <pc:docMk/>
            <pc:sldMk cId="2662687263" sldId="2147482599"/>
            <ac:spMk id="28" creationId="{AADF7B53-9E4C-8056-7221-86277A45CD44}"/>
          </ac:spMkLst>
        </pc:spChg>
        <pc:spChg chg="mod">
          <ac:chgData name="Hess, Christian Johannes" userId="3c21887f-2045-4c66-98d6-7d6208f3a5e9" providerId="ADAL" clId="{98B1D322-169F-4338-94A6-9C75A03E3594}" dt="2025-03-05T16:21:40.414" v="3192" actId="1035"/>
          <ac:spMkLst>
            <pc:docMk/>
            <pc:sldMk cId="2662687263" sldId="2147482599"/>
            <ac:spMk id="29" creationId="{FFCD6AA0-DC23-0E27-AE73-415D18660094}"/>
          </ac:spMkLst>
        </pc:spChg>
        <pc:spChg chg="mod">
          <ac:chgData name="Hess, Christian Johannes" userId="3c21887f-2045-4c66-98d6-7d6208f3a5e9" providerId="ADAL" clId="{98B1D322-169F-4338-94A6-9C75A03E3594}" dt="2025-03-05T16:21:40.414" v="3192" actId="1035"/>
          <ac:spMkLst>
            <pc:docMk/>
            <pc:sldMk cId="2662687263" sldId="2147482599"/>
            <ac:spMk id="31" creationId="{223E6373-1FD2-8938-AFF2-CBED861BB861}"/>
          </ac:spMkLst>
        </pc:spChg>
        <pc:spChg chg="mod">
          <ac:chgData name="Hess, Christian Johannes" userId="3c21887f-2045-4c66-98d6-7d6208f3a5e9" providerId="ADAL" clId="{98B1D322-169F-4338-94A6-9C75A03E3594}" dt="2025-03-05T16:21:46.283" v="3198" actId="1035"/>
          <ac:spMkLst>
            <pc:docMk/>
            <pc:sldMk cId="2662687263" sldId="2147482599"/>
            <ac:spMk id="32" creationId="{9828C3F1-4E39-BBB9-603A-D4A23446A554}"/>
          </ac:spMkLst>
        </pc:spChg>
        <pc:spChg chg="mod">
          <ac:chgData name="Hess, Christian Johannes" userId="3c21887f-2045-4c66-98d6-7d6208f3a5e9" providerId="ADAL" clId="{98B1D322-169F-4338-94A6-9C75A03E3594}" dt="2025-03-05T16:21:46.283" v="3198" actId="1035"/>
          <ac:spMkLst>
            <pc:docMk/>
            <pc:sldMk cId="2662687263" sldId="2147482599"/>
            <ac:spMk id="34" creationId="{D4588552-0F6F-D87D-A7FD-8FDCAEBA242F}"/>
          </ac:spMkLst>
        </pc:spChg>
        <pc:spChg chg="mod">
          <ac:chgData name="Hess, Christian Johannes" userId="3c21887f-2045-4c66-98d6-7d6208f3a5e9" providerId="ADAL" clId="{98B1D322-169F-4338-94A6-9C75A03E3594}" dt="2025-03-05T16:21:46.283" v="3198" actId="1035"/>
          <ac:spMkLst>
            <pc:docMk/>
            <pc:sldMk cId="2662687263" sldId="2147482599"/>
            <ac:spMk id="35" creationId="{2E057132-9E88-C186-8B26-2DDE5A5CE540}"/>
          </ac:spMkLst>
        </pc:spChg>
        <pc:spChg chg="mod">
          <ac:chgData name="Hess, Christian Johannes" userId="3c21887f-2045-4c66-98d6-7d6208f3a5e9" providerId="ADAL" clId="{98B1D322-169F-4338-94A6-9C75A03E3594}" dt="2025-03-05T16:21:46.283" v="3198" actId="1035"/>
          <ac:spMkLst>
            <pc:docMk/>
            <pc:sldMk cId="2662687263" sldId="2147482599"/>
            <ac:spMk id="37" creationId="{D3581E4D-BB4A-7910-DCB5-51234CCD2082}"/>
          </ac:spMkLst>
        </pc:spChg>
        <pc:picChg chg="mod">
          <ac:chgData name="Hess, Christian Johannes" userId="3c21887f-2045-4c66-98d6-7d6208f3a5e9" providerId="ADAL" clId="{98B1D322-169F-4338-94A6-9C75A03E3594}" dt="2025-03-05T16:21:40.414" v="3192" actId="1035"/>
          <ac:picMkLst>
            <pc:docMk/>
            <pc:sldMk cId="2662687263" sldId="2147482599"/>
            <ac:picMk id="33" creationId="{1CE3459C-3860-DD7B-9719-E86E14253DC2}"/>
          </ac:picMkLst>
        </pc:picChg>
        <pc:picChg chg="mod">
          <ac:chgData name="Hess, Christian Johannes" userId="3c21887f-2045-4c66-98d6-7d6208f3a5e9" providerId="ADAL" clId="{98B1D322-169F-4338-94A6-9C75A03E3594}" dt="2025-03-05T16:21:46.283" v="3198" actId="1035"/>
          <ac:picMkLst>
            <pc:docMk/>
            <pc:sldMk cId="2662687263" sldId="2147482599"/>
            <ac:picMk id="36" creationId="{7297E7B3-7FBE-4DD7-44A4-324EB8DB945A}"/>
          </ac:picMkLst>
        </pc:picChg>
        <pc:picChg chg="mod">
          <ac:chgData name="Hess, Christian Johannes" userId="3c21887f-2045-4c66-98d6-7d6208f3a5e9" providerId="ADAL" clId="{98B1D322-169F-4338-94A6-9C75A03E3594}" dt="2025-03-05T16:21:40.414" v="3192" actId="1035"/>
          <ac:picMkLst>
            <pc:docMk/>
            <pc:sldMk cId="2662687263" sldId="2147482599"/>
            <ac:picMk id="38" creationId="{A8954D36-E486-9413-E883-4F4C27016BE2}"/>
          </ac:picMkLst>
        </pc:picChg>
        <pc:picChg chg="mod">
          <ac:chgData name="Hess, Christian Johannes" userId="3c21887f-2045-4c66-98d6-7d6208f3a5e9" providerId="ADAL" clId="{98B1D322-169F-4338-94A6-9C75A03E3594}" dt="2025-03-05T16:21:46.283" v="3198" actId="1035"/>
          <ac:picMkLst>
            <pc:docMk/>
            <pc:sldMk cId="2662687263" sldId="2147482599"/>
            <ac:picMk id="39" creationId="{1DC091D3-A6A7-DE3E-5657-233324F21FA7}"/>
          </ac:picMkLst>
        </pc:picChg>
        <pc:cxnChg chg="mod">
          <ac:chgData name="Hess, Christian Johannes" userId="3c21887f-2045-4c66-98d6-7d6208f3a5e9" providerId="ADAL" clId="{98B1D322-169F-4338-94A6-9C75A03E3594}" dt="2025-03-05T16:21:46.283" v="3198" actId="1035"/>
          <ac:cxnSpMkLst>
            <pc:docMk/>
            <pc:sldMk cId="2662687263" sldId="2147482599"/>
            <ac:cxnSpMk id="9" creationId="{2F1AD679-3446-0A79-C228-D2E3A9893797}"/>
          </ac:cxnSpMkLst>
        </pc:cxnChg>
        <pc:cxnChg chg="mod">
          <ac:chgData name="Hess, Christian Johannes" userId="3c21887f-2045-4c66-98d6-7d6208f3a5e9" providerId="ADAL" clId="{98B1D322-169F-4338-94A6-9C75A03E3594}" dt="2025-03-05T16:21:46.283" v="3198" actId="1035"/>
          <ac:cxnSpMkLst>
            <pc:docMk/>
            <pc:sldMk cId="2662687263" sldId="2147482599"/>
            <ac:cxnSpMk id="10" creationId="{369B7892-BCCA-04CD-FCF9-9E945B809B7E}"/>
          </ac:cxnSpMkLst>
        </pc:cxnChg>
        <pc:cxnChg chg="mod">
          <ac:chgData name="Hess, Christian Johannes" userId="3c21887f-2045-4c66-98d6-7d6208f3a5e9" providerId="ADAL" clId="{98B1D322-169F-4338-94A6-9C75A03E3594}" dt="2025-03-05T16:21:40.414" v="3192" actId="1035"/>
          <ac:cxnSpMkLst>
            <pc:docMk/>
            <pc:sldMk cId="2662687263" sldId="2147482599"/>
            <ac:cxnSpMk id="11" creationId="{93A8B580-DBC6-BAFE-DCA8-825C65ED17A5}"/>
          </ac:cxnSpMkLst>
        </pc:cxnChg>
        <pc:cxnChg chg="mod">
          <ac:chgData name="Hess, Christian Johannes" userId="3c21887f-2045-4c66-98d6-7d6208f3a5e9" providerId="ADAL" clId="{98B1D322-169F-4338-94A6-9C75A03E3594}" dt="2025-03-05T16:21:40.414" v="3192" actId="1035"/>
          <ac:cxnSpMkLst>
            <pc:docMk/>
            <pc:sldMk cId="2662687263" sldId="2147482599"/>
            <ac:cxnSpMk id="12" creationId="{7C29100F-61B6-D099-8FB7-9534A7BF27A0}"/>
          </ac:cxnSpMkLst>
        </pc:cxnChg>
      </pc:sldChg>
      <pc:sldChg chg="modSp mod">
        <pc:chgData name="Hess, Christian Johannes" userId="3c21887f-2045-4c66-98d6-7d6208f3a5e9" providerId="ADAL" clId="{98B1D322-169F-4338-94A6-9C75A03E3594}" dt="2025-03-05T16:20:32.556" v="3094" actId="1035"/>
        <pc:sldMkLst>
          <pc:docMk/>
          <pc:sldMk cId="2676809235" sldId="2147482600"/>
        </pc:sldMkLst>
        <pc:spChg chg="mod">
          <ac:chgData name="Hess, Christian Johannes" userId="3c21887f-2045-4c66-98d6-7d6208f3a5e9" providerId="ADAL" clId="{98B1D322-169F-4338-94A6-9C75A03E3594}" dt="2025-03-05T16:19:38.461" v="3025"/>
          <ac:spMkLst>
            <pc:docMk/>
            <pc:sldMk cId="2676809235" sldId="2147482600"/>
            <ac:spMk id="22" creationId="{24A8C74C-491F-3135-9168-31168889F6C2}"/>
          </ac:spMkLst>
        </pc:spChg>
        <pc:spChg chg="mod">
          <ac:chgData name="Hess, Christian Johannes" userId="3c21887f-2045-4c66-98d6-7d6208f3a5e9" providerId="ADAL" clId="{98B1D322-169F-4338-94A6-9C75A03E3594}" dt="2025-03-05T16:19:53.894" v="3037"/>
          <ac:spMkLst>
            <pc:docMk/>
            <pc:sldMk cId="2676809235" sldId="2147482600"/>
            <ac:spMk id="25" creationId="{3AF7F11E-CC97-D96C-595A-28C6B90225CE}"/>
          </ac:spMkLst>
        </pc:spChg>
        <pc:spChg chg="mod">
          <ac:chgData name="Hess, Christian Johannes" userId="3c21887f-2045-4c66-98d6-7d6208f3a5e9" providerId="ADAL" clId="{98B1D322-169F-4338-94A6-9C75A03E3594}" dt="2025-03-05T16:20:03.152" v="3049"/>
          <ac:spMkLst>
            <pc:docMk/>
            <pc:sldMk cId="2676809235" sldId="2147482600"/>
            <ac:spMk id="28" creationId="{AADF7B53-9E4C-8056-7221-86277A45CD44}"/>
          </ac:spMkLst>
        </pc:spChg>
        <pc:spChg chg="mod">
          <ac:chgData name="Hess, Christian Johannes" userId="3c21887f-2045-4c66-98d6-7d6208f3a5e9" providerId="ADAL" clId="{98B1D322-169F-4338-94A6-9C75A03E3594}" dt="2025-03-05T16:20:10.278" v="3061"/>
          <ac:spMkLst>
            <pc:docMk/>
            <pc:sldMk cId="2676809235" sldId="2147482600"/>
            <ac:spMk id="31" creationId="{223E6373-1FD2-8938-AFF2-CBED861BB861}"/>
          </ac:spMkLst>
        </pc:spChg>
        <pc:spChg chg="mod">
          <ac:chgData name="Hess, Christian Johannes" userId="3c21887f-2045-4c66-98d6-7d6208f3a5e9" providerId="ADAL" clId="{98B1D322-169F-4338-94A6-9C75A03E3594}" dt="2025-03-05T16:20:19.455" v="3073"/>
          <ac:spMkLst>
            <pc:docMk/>
            <pc:sldMk cId="2676809235" sldId="2147482600"/>
            <ac:spMk id="34" creationId="{D4588552-0F6F-D87D-A7FD-8FDCAEBA242F}"/>
          </ac:spMkLst>
        </pc:spChg>
        <pc:spChg chg="mod">
          <ac:chgData name="Hess, Christian Johannes" userId="3c21887f-2045-4c66-98d6-7d6208f3a5e9" providerId="ADAL" clId="{98B1D322-169F-4338-94A6-9C75A03E3594}" dt="2025-03-05T16:20:32.556" v="3094" actId="1035"/>
          <ac:spMkLst>
            <pc:docMk/>
            <pc:sldMk cId="2676809235" sldId="2147482600"/>
            <ac:spMk id="35" creationId="{2E057132-9E88-C186-8B26-2DDE5A5CE540}"/>
          </ac:spMkLst>
        </pc:spChg>
        <pc:spChg chg="mod">
          <ac:chgData name="Hess, Christian Johannes" userId="3c21887f-2045-4c66-98d6-7d6208f3a5e9" providerId="ADAL" clId="{98B1D322-169F-4338-94A6-9C75A03E3594}" dt="2025-03-05T16:20:32.556" v="3094" actId="1035"/>
          <ac:spMkLst>
            <pc:docMk/>
            <pc:sldMk cId="2676809235" sldId="2147482600"/>
            <ac:spMk id="37" creationId="{D3581E4D-BB4A-7910-DCB5-51234CCD2082}"/>
          </ac:spMkLst>
        </pc:spChg>
        <pc:picChg chg="mod">
          <ac:chgData name="Hess, Christian Johannes" userId="3c21887f-2045-4c66-98d6-7d6208f3a5e9" providerId="ADAL" clId="{98B1D322-169F-4338-94A6-9C75A03E3594}" dt="2025-03-05T16:20:32.556" v="3094" actId="1035"/>
          <ac:picMkLst>
            <pc:docMk/>
            <pc:sldMk cId="2676809235" sldId="2147482600"/>
            <ac:picMk id="38" creationId="{81250524-7ACE-7A0A-23A4-9F278C1DDB90}"/>
          </ac:picMkLst>
        </pc:picChg>
        <pc:cxnChg chg="mod">
          <ac:chgData name="Hess, Christian Johannes" userId="3c21887f-2045-4c66-98d6-7d6208f3a5e9" providerId="ADAL" clId="{98B1D322-169F-4338-94A6-9C75A03E3594}" dt="2025-03-05T16:20:32.556" v="3094" actId="1035"/>
          <ac:cxnSpMkLst>
            <pc:docMk/>
            <pc:sldMk cId="2676809235" sldId="2147482600"/>
            <ac:cxnSpMk id="9" creationId="{2F1AD679-3446-0A79-C228-D2E3A9893797}"/>
          </ac:cxnSpMkLst>
        </pc:cxnChg>
      </pc:sldChg>
      <pc:sldChg chg="modSp mod">
        <pc:chgData name="Hess, Christian Johannes" userId="3c21887f-2045-4c66-98d6-7d6208f3a5e9" providerId="ADAL" clId="{98B1D322-169F-4338-94A6-9C75A03E3594}" dt="2025-03-05T16:19:25.603" v="3013"/>
        <pc:sldMkLst>
          <pc:docMk/>
          <pc:sldMk cId="2343376179" sldId="2147482601"/>
        </pc:sldMkLst>
        <pc:spChg chg="mod">
          <ac:chgData name="Hess, Christian Johannes" userId="3c21887f-2045-4c66-98d6-7d6208f3a5e9" providerId="ADAL" clId="{98B1D322-169F-4338-94A6-9C75A03E3594}" dt="2025-03-05T16:18:54.108" v="2965"/>
          <ac:spMkLst>
            <pc:docMk/>
            <pc:sldMk cId="2343376179" sldId="2147482601"/>
            <ac:spMk id="22" creationId="{24A8C74C-491F-3135-9168-31168889F6C2}"/>
          </ac:spMkLst>
        </pc:spChg>
        <pc:spChg chg="mod">
          <ac:chgData name="Hess, Christian Johannes" userId="3c21887f-2045-4c66-98d6-7d6208f3a5e9" providerId="ADAL" clId="{98B1D322-169F-4338-94A6-9C75A03E3594}" dt="2025-03-05T16:19:03.099" v="2977"/>
          <ac:spMkLst>
            <pc:docMk/>
            <pc:sldMk cId="2343376179" sldId="2147482601"/>
            <ac:spMk id="25" creationId="{3AF7F11E-CC97-D96C-595A-28C6B90225CE}"/>
          </ac:spMkLst>
        </pc:spChg>
        <pc:spChg chg="mod">
          <ac:chgData name="Hess, Christian Johannes" userId="3c21887f-2045-4c66-98d6-7d6208f3a5e9" providerId="ADAL" clId="{98B1D322-169F-4338-94A6-9C75A03E3594}" dt="2025-03-05T16:19:11.700" v="2989"/>
          <ac:spMkLst>
            <pc:docMk/>
            <pc:sldMk cId="2343376179" sldId="2147482601"/>
            <ac:spMk id="28" creationId="{AADF7B53-9E4C-8056-7221-86277A45CD44}"/>
          </ac:spMkLst>
        </pc:spChg>
        <pc:spChg chg="mod">
          <ac:chgData name="Hess, Christian Johannes" userId="3c21887f-2045-4c66-98d6-7d6208f3a5e9" providerId="ADAL" clId="{98B1D322-169F-4338-94A6-9C75A03E3594}" dt="2025-03-05T16:19:18.840" v="3001"/>
          <ac:spMkLst>
            <pc:docMk/>
            <pc:sldMk cId="2343376179" sldId="2147482601"/>
            <ac:spMk id="31" creationId="{223E6373-1FD2-8938-AFF2-CBED861BB861}"/>
          </ac:spMkLst>
        </pc:spChg>
        <pc:spChg chg="mod">
          <ac:chgData name="Hess, Christian Johannes" userId="3c21887f-2045-4c66-98d6-7d6208f3a5e9" providerId="ADAL" clId="{98B1D322-169F-4338-94A6-9C75A03E3594}" dt="2025-03-05T16:19:25.603" v="3013"/>
          <ac:spMkLst>
            <pc:docMk/>
            <pc:sldMk cId="2343376179" sldId="2147482601"/>
            <ac:spMk id="34" creationId="{D4588552-0F6F-D87D-A7FD-8FDCAEBA242F}"/>
          </ac:spMkLst>
        </pc:spChg>
      </pc:sldChg>
      <pc:sldChg chg="modSp mod">
        <pc:chgData name="Hess, Christian Johannes" userId="3c21887f-2045-4c66-98d6-7d6208f3a5e9" providerId="ADAL" clId="{98B1D322-169F-4338-94A6-9C75A03E3594}" dt="2025-03-05T16:18:44.540" v="2953" actId="1035"/>
        <pc:sldMkLst>
          <pc:docMk/>
          <pc:sldMk cId="2899946351" sldId="2147482602"/>
        </pc:sldMkLst>
        <pc:spChg chg="mod">
          <ac:chgData name="Hess, Christian Johannes" userId="3c21887f-2045-4c66-98d6-7d6208f3a5e9" providerId="ADAL" clId="{98B1D322-169F-4338-94A6-9C75A03E3594}" dt="2025-03-05T16:18:34.656" v="2940"/>
          <ac:spMkLst>
            <pc:docMk/>
            <pc:sldMk cId="2899946351" sldId="2147482602"/>
            <ac:spMk id="22" creationId="{24A8C74C-491F-3135-9168-31168889F6C2}"/>
          </ac:spMkLst>
        </pc:spChg>
        <pc:spChg chg="mod">
          <ac:chgData name="Hess, Christian Johannes" userId="3c21887f-2045-4c66-98d6-7d6208f3a5e9" providerId="ADAL" clId="{98B1D322-169F-4338-94A6-9C75A03E3594}" dt="2025-03-05T16:18:28.440" v="2922"/>
          <ac:spMkLst>
            <pc:docMk/>
            <pc:sldMk cId="2899946351" sldId="2147482602"/>
            <ac:spMk id="25" creationId="{3AF7F11E-CC97-D96C-595A-28C6B90225CE}"/>
          </ac:spMkLst>
        </pc:spChg>
        <pc:spChg chg="mod">
          <ac:chgData name="Hess, Christian Johannes" userId="3c21887f-2045-4c66-98d6-7d6208f3a5e9" providerId="ADAL" clId="{98B1D322-169F-4338-94A6-9C75A03E3594}" dt="2025-03-05T16:18:20.025" v="2904"/>
          <ac:spMkLst>
            <pc:docMk/>
            <pc:sldMk cId="2899946351" sldId="2147482602"/>
            <ac:spMk id="28" creationId="{AADF7B53-9E4C-8056-7221-86277A45CD44}"/>
          </ac:spMkLst>
        </pc:spChg>
        <pc:spChg chg="mod">
          <ac:chgData name="Hess, Christian Johannes" userId="3c21887f-2045-4c66-98d6-7d6208f3a5e9" providerId="ADAL" clId="{98B1D322-169F-4338-94A6-9C75A03E3594}" dt="2025-03-05T16:18:12.908" v="2892"/>
          <ac:spMkLst>
            <pc:docMk/>
            <pc:sldMk cId="2899946351" sldId="2147482602"/>
            <ac:spMk id="31" creationId="{223E6373-1FD2-8938-AFF2-CBED861BB861}"/>
          </ac:spMkLst>
        </pc:spChg>
        <pc:spChg chg="mod">
          <ac:chgData name="Hess, Christian Johannes" userId="3c21887f-2045-4c66-98d6-7d6208f3a5e9" providerId="ADAL" clId="{98B1D322-169F-4338-94A6-9C75A03E3594}" dt="2025-03-05T16:18:04.592" v="2880"/>
          <ac:spMkLst>
            <pc:docMk/>
            <pc:sldMk cId="2899946351" sldId="2147482602"/>
            <ac:spMk id="34" creationId="{D4588552-0F6F-D87D-A7FD-8FDCAEBA242F}"/>
          </ac:spMkLst>
        </pc:spChg>
        <pc:spChg chg="mod">
          <ac:chgData name="Hess, Christian Johannes" userId="3c21887f-2045-4c66-98d6-7d6208f3a5e9" providerId="ADAL" clId="{98B1D322-169F-4338-94A6-9C75A03E3594}" dt="2025-03-05T16:17:57.187" v="2868"/>
          <ac:spMkLst>
            <pc:docMk/>
            <pc:sldMk cId="2899946351" sldId="2147482602"/>
            <ac:spMk id="37" creationId="{D3581E4D-BB4A-7910-DCB5-51234CCD2082}"/>
          </ac:spMkLst>
        </pc:spChg>
        <pc:spChg chg="mod">
          <ac:chgData name="Hess, Christian Johannes" userId="3c21887f-2045-4c66-98d6-7d6208f3a5e9" providerId="ADAL" clId="{98B1D322-169F-4338-94A6-9C75A03E3594}" dt="2025-03-05T16:18:44.540" v="2953" actId="1035"/>
          <ac:spMkLst>
            <pc:docMk/>
            <pc:sldMk cId="2899946351" sldId="2147482602"/>
            <ac:spMk id="42" creationId="{D13D6B7A-FA8A-69D2-6571-FD413755C62F}"/>
          </ac:spMkLst>
        </pc:spChg>
        <pc:spChg chg="mod">
          <ac:chgData name="Hess, Christian Johannes" userId="3c21887f-2045-4c66-98d6-7d6208f3a5e9" providerId="ADAL" clId="{98B1D322-169F-4338-94A6-9C75A03E3594}" dt="2025-03-05T16:18:44.540" v="2953" actId="1035"/>
          <ac:spMkLst>
            <pc:docMk/>
            <pc:sldMk cId="2899946351" sldId="2147482602"/>
            <ac:spMk id="43" creationId="{54DBB385-1D47-2F89-7F71-529A9E04ECC2}"/>
          </ac:spMkLst>
        </pc:spChg>
        <pc:graphicFrameChg chg="mod">
          <ac:chgData name="Hess, Christian Johannes" userId="3c21887f-2045-4c66-98d6-7d6208f3a5e9" providerId="ADAL" clId="{98B1D322-169F-4338-94A6-9C75A03E3594}" dt="2025-03-05T16:04:53.353" v="1948"/>
          <ac:graphicFrameMkLst>
            <pc:docMk/>
            <pc:sldMk cId="2899946351" sldId="2147482602"/>
            <ac:graphicFrameMk id="5" creationId="{CC7C828D-2E2C-DD0E-5063-4C014F29512E}"/>
          </ac:graphicFrameMkLst>
        </pc:graphicFrameChg>
        <pc:picChg chg="mod">
          <ac:chgData name="Hess, Christian Johannes" userId="3c21887f-2045-4c66-98d6-7d6208f3a5e9" providerId="ADAL" clId="{98B1D322-169F-4338-94A6-9C75A03E3594}" dt="2025-03-05T16:18:44.540" v="2953" actId="1035"/>
          <ac:picMkLst>
            <pc:docMk/>
            <pc:sldMk cId="2899946351" sldId="2147482602"/>
            <ac:picMk id="40" creationId="{05F7C73B-C28A-36DE-EC38-013CCD69817F}"/>
          </ac:picMkLst>
        </pc:picChg>
        <pc:cxnChg chg="mod">
          <ac:chgData name="Hess, Christian Johannes" userId="3c21887f-2045-4c66-98d6-7d6208f3a5e9" providerId="ADAL" clId="{98B1D322-169F-4338-94A6-9C75A03E3594}" dt="2025-03-05T16:18:28.442" v="2928"/>
          <ac:cxnSpMkLst>
            <pc:docMk/>
            <pc:sldMk cId="2899946351" sldId="2147482602"/>
            <ac:cxnSpMk id="12" creationId="{7C29100F-61B6-D099-8FB7-9534A7BF27A0}"/>
          </ac:cxnSpMkLst>
        </pc:cxnChg>
        <pc:cxnChg chg="mod">
          <ac:chgData name="Hess, Christian Johannes" userId="3c21887f-2045-4c66-98d6-7d6208f3a5e9" providerId="ADAL" clId="{98B1D322-169F-4338-94A6-9C75A03E3594}" dt="2025-03-05T16:18:44.540" v="2953" actId="1035"/>
          <ac:cxnSpMkLst>
            <pc:docMk/>
            <pc:sldMk cId="2899946351" sldId="2147482602"/>
            <ac:cxnSpMk id="41" creationId="{915203BF-AE74-C977-53E1-15CDD7A60A4E}"/>
          </ac:cxnSpMkLst>
        </pc:cxnChg>
      </pc:sldChg>
      <pc:sldChg chg="modSp mod">
        <pc:chgData name="Hess, Christian Johannes" userId="3c21887f-2045-4c66-98d6-7d6208f3a5e9" providerId="ADAL" clId="{98B1D322-169F-4338-94A6-9C75A03E3594}" dt="2025-03-05T16:17:33.710" v="2844" actId="1035"/>
        <pc:sldMkLst>
          <pc:docMk/>
          <pc:sldMk cId="136679111" sldId="2147482603"/>
        </pc:sldMkLst>
        <pc:spChg chg="mod">
          <ac:chgData name="Hess, Christian Johannes" userId="3c21887f-2045-4c66-98d6-7d6208f3a5e9" providerId="ADAL" clId="{98B1D322-169F-4338-94A6-9C75A03E3594}" dt="2025-03-05T16:16:40.986" v="2765"/>
          <ac:spMkLst>
            <pc:docMk/>
            <pc:sldMk cId="136679111" sldId="2147482603"/>
            <ac:spMk id="22" creationId="{24A8C74C-491F-3135-9168-31168889F6C2}"/>
          </ac:spMkLst>
        </pc:spChg>
        <pc:spChg chg="mod">
          <ac:chgData name="Hess, Christian Johannes" userId="3c21887f-2045-4c66-98d6-7d6208f3a5e9" providerId="ADAL" clId="{98B1D322-169F-4338-94A6-9C75A03E3594}" dt="2025-03-05T16:16:50.188" v="2777"/>
          <ac:spMkLst>
            <pc:docMk/>
            <pc:sldMk cId="136679111" sldId="2147482603"/>
            <ac:spMk id="25" creationId="{3AF7F11E-CC97-D96C-595A-28C6B90225CE}"/>
          </ac:spMkLst>
        </pc:spChg>
        <pc:spChg chg="mod">
          <ac:chgData name="Hess, Christian Johannes" userId="3c21887f-2045-4c66-98d6-7d6208f3a5e9" providerId="ADAL" clId="{98B1D322-169F-4338-94A6-9C75A03E3594}" dt="2025-03-05T16:16:56.963" v="2789"/>
          <ac:spMkLst>
            <pc:docMk/>
            <pc:sldMk cId="136679111" sldId="2147482603"/>
            <ac:spMk id="28" creationId="{AADF7B53-9E4C-8056-7221-86277A45CD44}"/>
          </ac:spMkLst>
        </pc:spChg>
        <pc:spChg chg="mod">
          <ac:chgData name="Hess, Christian Johannes" userId="3c21887f-2045-4c66-98d6-7d6208f3a5e9" providerId="ADAL" clId="{98B1D322-169F-4338-94A6-9C75A03E3594}" dt="2025-03-05T16:17:33.710" v="2844" actId="1035"/>
          <ac:spMkLst>
            <pc:docMk/>
            <pc:sldMk cId="136679111" sldId="2147482603"/>
            <ac:spMk id="29" creationId="{FFCD6AA0-DC23-0E27-AE73-415D18660094}"/>
          </ac:spMkLst>
        </pc:spChg>
        <pc:spChg chg="mod">
          <ac:chgData name="Hess, Christian Johannes" userId="3c21887f-2045-4c66-98d6-7d6208f3a5e9" providerId="ADAL" clId="{98B1D322-169F-4338-94A6-9C75A03E3594}" dt="2025-03-05T16:17:33.710" v="2844" actId="1035"/>
          <ac:spMkLst>
            <pc:docMk/>
            <pc:sldMk cId="136679111" sldId="2147482603"/>
            <ac:spMk id="31" creationId="{223E6373-1FD2-8938-AFF2-CBED861BB861}"/>
          </ac:spMkLst>
        </pc:spChg>
        <pc:spChg chg="mod">
          <ac:chgData name="Hess, Christian Johannes" userId="3c21887f-2045-4c66-98d6-7d6208f3a5e9" providerId="ADAL" clId="{98B1D322-169F-4338-94A6-9C75A03E3594}" dt="2025-03-05T16:17:33.710" v="2844" actId="1035"/>
          <ac:spMkLst>
            <pc:docMk/>
            <pc:sldMk cId="136679111" sldId="2147482603"/>
            <ac:spMk id="32" creationId="{9828C3F1-4E39-BBB9-603A-D4A23446A554}"/>
          </ac:spMkLst>
        </pc:spChg>
        <pc:spChg chg="mod">
          <ac:chgData name="Hess, Christian Johannes" userId="3c21887f-2045-4c66-98d6-7d6208f3a5e9" providerId="ADAL" clId="{98B1D322-169F-4338-94A6-9C75A03E3594}" dt="2025-03-05T16:17:33.710" v="2844" actId="1035"/>
          <ac:spMkLst>
            <pc:docMk/>
            <pc:sldMk cId="136679111" sldId="2147482603"/>
            <ac:spMk id="34" creationId="{D4588552-0F6F-D87D-A7FD-8FDCAEBA242F}"/>
          </ac:spMkLst>
        </pc:spChg>
        <pc:spChg chg="mod">
          <ac:chgData name="Hess, Christian Johannes" userId="3c21887f-2045-4c66-98d6-7d6208f3a5e9" providerId="ADAL" clId="{98B1D322-169F-4338-94A6-9C75A03E3594}" dt="2025-03-05T16:17:33.710" v="2844" actId="1035"/>
          <ac:spMkLst>
            <pc:docMk/>
            <pc:sldMk cId="136679111" sldId="2147482603"/>
            <ac:spMk id="35" creationId="{2E057132-9E88-C186-8B26-2DDE5A5CE540}"/>
          </ac:spMkLst>
        </pc:spChg>
        <pc:spChg chg="mod">
          <ac:chgData name="Hess, Christian Johannes" userId="3c21887f-2045-4c66-98d6-7d6208f3a5e9" providerId="ADAL" clId="{98B1D322-169F-4338-94A6-9C75A03E3594}" dt="2025-03-05T16:17:33.710" v="2844" actId="1035"/>
          <ac:spMkLst>
            <pc:docMk/>
            <pc:sldMk cId="136679111" sldId="2147482603"/>
            <ac:spMk id="37" creationId="{D3581E4D-BB4A-7910-DCB5-51234CCD2082}"/>
          </ac:spMkLst>
        </pc:spChg>
        <pc:picChg chg="mod">
          <ac:chgData name="Hess, Christian Johannes" userId="3c21887f-2045-4c66-98d6-7d6208f3a5e9" providerId="ADAL" clId="{98B1D322-169F-4338-94A6-9C75A03E3594}" dt="2025-03-05T16:17:33.710" v="2844" actId="1035"/>
          <ac:picMkLst>
            <pc:docMk/>
            <pc:sldMk cId="136679111" sldId="2147482603"/>
            <ac:picMk id="21" creationId="{AD78523E-55B6-2C92-F033-F0FB073EDCE1}"/>
          </ac:picMkLst>
        </pc:picChg>
        <pc:picChg chg="mod">
          <ac:chgData name="Hess, Christian Johannes" userId="3c21887f-2045-4c66-98d6-7d6208f3a5e9" providerId="ADAL" clId="{98B1D322-169F-4338-94A6-9C75A03E3594}" dt="2025-03-05T16:17:33.710" v="2844" actId="1035"/>
          <ac:picMkLst>
            <pc:docMk/>
            <pc:sldMk cId="136679111" sldId="2147482603"/>
            <ac:picMk id="27" creationId="{37421A8A-C7BB-BED1-3FA6-31D4CFFFB783}"/>
          </ac:picMkLst>
        </pc:picChg>
        <pc:picChg chg="mod">
          <ac:chgData name="Hess, Christian Johannes" userId="3c21887f-2045-4c66-98d6-7d6208f3a5e9" providerId="ADAL" clId="{98B1D322-169F-4338-94A6-9C75A03E3594}" dt="2025-03-05T16:17:33.710" v="2844" actId="1035"/>
          <ac:picMkLst>
            <pc:docMk/>
            <pc:sldMk cId="136679111" sldId="2147482603"/>
            <ac:picMk id="30" creationId="{9E293F4D-DBF2-961C-31F6-B65E3A978173}"/>
          </ac:picMkLst>
        </pc:picChg>
        <pc:cxnChg chg="mod">
          <ac:chgData name="Hess, Christian Johannes" userId="3c21887f-2045-4c66-98d6-7d6208f3a5e9" providerId="ADAL" clId="{98B1D322-169F-4338-94A6-9C75A03E3594}" dt="2025-03-05T16:17:33.710" v="2844" actId="1035"/>
          <ac:cxnSpMkLst>
            <pc:docMk/>
            <pc:sldMk cId="136679111" sldId="2147482603"/>
            <ac:cxnSpMk id="9" creationId="{2F1AD679-3446-0A79-C228-D2E3A9893797}"/>
          </ac:cxnSpMkLst>
        </pc:cxnChg>
        <pc:cxnChg chg="mod">
          <ac:chgData name="Hess, Christian Johannes" userId="3c21887f-2045-4c66-98d6-7d6208f3a5e9" providerId="ADAL" clId="{98B1D322-169F-4338-94A6-9C75A03E3594}" dt="2025-03-05T16:17:33.710" v="2844" actId="1035"/>
          <ac:cxnSpMkLst>
            <pc:docMk/>
            <pc:sldMk cId="136679111" sldId="2147482603"/>
            <ac:cxnSpMk id="10" creationId="{369B7892-BCCA-04CD-FCF9-9E945B809B7E}"/>
          </ac:cxnSpMkLst>
        </pc:cxnChg>
        <pc:cxnChg chg="mod">
          <ac:chgData name="Hess, Christian Johannes" userId="3c21887f-2045-4c66-98d6-7d6208f3a5e9" providerId="ADAL" clId="{98B1D322-169F-4338-94A6-9C75A03E3594}" dt="2025-03-05T16:17:33.710" v="2844" actId="1035"/>
          <ac:cxnSpMkLst>
            <pc:docMk/>
            <pc:sldMk cId="136679111" sldId="2147482603"/>
            <ac:cxnSpMk id="11" creationId="{93A8B580-DBC6-BAFE-DCA8-825C65ED17A5}"/>
          </ac:cxnSpMkLst>
        </pc:cxnChg>
      </pc:sldChg>
      <pc:sldChg chg="modSp mod">
        <pc:chgData name="Hess, Christian Johannes" userId="3c21887f-2045-4c66-98d6-7d6208f3a5e9" providerId="ADAL" clId="{98B1D322-169F-4338-94A6-9C75A03E3594}" dt="2025-03-05T16:16:28.012" v="2753" actId="1035"/>
        <pc:sldMkLst>
          <pc:docMk/>
          <pc:sldMk cId="3386919135" sldId="2147482604"/>
        </pc:sldMkLst>
        <pc:spChg chg="mod">
          <ac:chgData name="Hess, Christian Johannes" userId="3c21887f-2045-4c66-98d6-7d6208f3a5e9" providerId="ADAL" clId="{98B1D322-169F-4338-94A6-9C75A03E3594}" dt="2025-03-05T15:34:34.941" v="916" actId="20577"/>
          <ac:spMkLst>
            <pc:docMk/>
            <pc:sldMk cId="3386919135" sldId="2147482604"/>
            <ac:spMk id="16" creationId="{71A9303A-95BB-D9FE-B177-D109E8E0F339}"/>
          </ac:spMkLst>
        </pc:spChg>
        <pc:spChg chg="mod">
          <ac:chgData name="Hess, Christian Johannes" userId="3c21887f-2045-4c66-98d6-7d6208f3a5e9" providerId="ADAL" clId="{98B1D322-169F-4338-94A6-9C75A03E3594}" dt="2025-03-05T15:34:08.215" v="893" actId="13926"/>
          <ac:spMkLst>
            <pc:docMk/>
            <pc:sldMk cId="3386919135" sldId="2147482604"/>
            <ac:spMk id="19" creationId="{D8CE7914-CBBC-5E99-3C4E-C5765617CC71}"/>
          </ac:spMkLst>
        </pc:spChg>
        <pc:spChg chg="mod">
          <ac:chgData name="Hess, Christian Johannes" userId="3c21887f-2045-4c66-98d6-7d6208f3a5e9" providerId="ADAL" clId="{98B1D322-169F-4338-94A6-9C75A03E3594}" dt="2025-03-05T15:34:14.960" v="907" actId="1036"/>
          <ac:spMkLst>
            <pc:docMk/>
            <pc:sldMk cId="3386919135" sldId="2147482604"/>
            <ac:spMk id="20" creationId="{B0D5819D-69F1-A952-719B-C21EBA2347B1}"/>
          </ac:spMkLst>
        </pc:spChg>
        <pc:spChg chg="mod">
          <ac:chgData name="Hess, Christian Johannes" userId="3c21887f-2045-4c66-98d6-7d6208f3a5e9" providerId="ADAL" clId="{98B1D322-169F-4338-94A6-9C75A03E3594}" dt="2025-03-05T16:15:23.172" v="2672"/>
          <ac:spMkLst>
            <pc:docMk/>
            <pc:sldMk cId="3386919135" sldId="2147482604"/>
            <ac:spMk id="22" creationId="{24A8C74C-491F-3135-9168-31168889F6C2}"/>
          </ac:spMkLst>
        </pc:spChg>
        <pc:spChg chg="mod">
          <ac:chgData name="Hess, Christian Johannes" userId="3c21887f-2045-4c66-98d6-7d6208f3a5e9" providerId="ADAL" clId="{98B1D322-169F-4338-94A6-9C75A03E3594}" dt="2025-03-05T15:34:14.960" v="907" actId="1036"/>
          <ac:spMkLst>
            <pc:docMk/>
            <pc:sldMk cId="3386919135" sldId="2147482604"/>
            <ac:spMk id="23" creationId="{3195ABAB-67CE-F714-1604-528A4C8CEAA4}"/>
          </ac:spMkLst>
        </pc:spChg>
        <pc:spChg chg="mod">
          <ac:chgData name="Hess, Christian Johannes" userId="3c21887f-2045-4c66-98d6-7d6208f3a5e9" providerId="ADAL" clId="{98B1D322-169F-4338-94A6-9C75A03E3594}" dt="2025-03-05T16:15:29.532" v="2684"/>
          <ac:spMkLst>
            <pc:docMk/>
            <pc:sldMk cId="3386919135" sldId="2147482604"/>
            <ac:spMk id="25" creationId="{3AF7F11E-CC97-D96C-595A-28C6B90225CE}"/>
          </ac:spMkLst>
        </pc:spChg>
        <pc:spChg chg="mod">
          <ac:chgData name="Hess, Christian Johannes" userId="3c21887f-2045-4c66-98d6-7d6208f3a5e9" providerId="ADAL" clId="{98B1D322-169F-4338-94A6-9C75A03E3594}" dt="2025-03-05T15:34:14.960" v="907" actId="1036"/>
          <ac:spMkLst>
            <pc:docMk/>
            <pc:sldMk cId="3386919135" sldId="2147482604"/>
            <ac:spMk id="26" creationId="{6A581ED3-601C-A044-A72C-7EED9696B2DB}"/>
          </ac:spMkLst>
        </pc:spChg>
        <pc:spChg chg="mod">
          <ac:chgData name="Hess, Christian Johannes" userId="3c21887f-2045-4c66-98d6-7d6208f3a5e9" providerId="ADAL" clId="{98B1D322-169F-4338-94A6-9C75A03E3594}" dt="2025-03-05T16:15:56.060" v="2708"/>
          <ac:spMkLst>
            <pc:docMk/>
            <pc:sldMk cId="3386919135" sldId="2147482604"/>
            <ac:spMk id="28" creationId="{AADF7B53-9E4C-8056-7221-86277A45CD44}"/>
          </ac:spMkLst>
        </pc:spChg>
        <pc:spChg chg="mod">
          <ac:chgData name="Hess, Christian Johannes" userId="3c21887f-2045-4c66-98d6-7d6208f3a5e9" providerId="ADAL" clId="{98B1D322-169F-4338-94A6-9C75A03E3594}" dt="2025-03-05T15:34:14.960" v="907" actId="1036"/>
          <ac:spMkLst>
            <pc:docMk/>
            <pc:sldMk cId="3386919135" sldId="2147482604"/>
            <ac:spMk id="29" creationId="{FFCD6AA0-DC23-0E27-AE73-415D18660094}"/>
          </ac:spMkLst>
        </pc:spChg>
        <pc:spChg chg="mod">
          <ac:chgData name="Hess, Christian Johannes" userId="3c21887f-2045-4c66-98d6-7d6208f3a5e9" providerId="ADAL" clId="{98B1D322-169F-4338-94A6-9C75A03E3594}" dt="2025-03-05T16:16:02.209" v="2720"/>
          <ac:spMkLst>
            <pc:docMk/>
            <pc:sldMk cId="3386919135" sldId="2147482604"/>
            <ac:spMk id="31" creationId="{223E6373-1FD2-8938-AFF2-CBED861BB861}"/>
          </ac:spMkLst>
        </pc:spChg>
        <pc:spChg chg="mod">
          <ac:chgData name="Hess, Christian Johannes" userId="3c21887f-2045-4c66-98d6-7d6208f3a5e9" providerId="ADAL" clId="{98B1D322-169F-4338-94A6-9C75A03E3594}" dt="2025-03-05T15:34:14.960" v="907" actId="1036"/>
          <ac:spMkLst>
            <pc:docMk/>
            <pc:sldMk cId="3386919135" sldId="2147482604"/>
            <ac:spMk id="32" creationId="{9828C3F1-4E39-BBB9-603A-D4A23446A554}"/>
          </ac:spMkLst>
        </pc:spChg>
        <pc:spChg chg="mod">
          <ac:chgData name="Hess, Christian Johannes" userId="3c21887f-2045-4c66-98d6-7d6208f3a5e9" providerId="ADAL" clId="{98B1D322-169F-4338-94A6-9C75A03E3594}" dt="2025-03-05T16:16:12.263" v="2732"/>
          <ac:spMkLst>
            <pc:docMk/>
            <pc:sldMk cId="3386919135" sldId="2147482604"/>
            <ac:spMk id="34" creationId="{D4588552-0F6F-D87D-A7FD-8FDCAEBA242F}"/>
          </ac:spMkLst>
        </pc:spChg>
        <pc:spChg chg="mod">
          <ac:chgData name="Hess, Christian Johannes" userId="3c21887f-2045-4c66-98d6-7d6208f3a5e9" providerId="ADAL" clId="{98B1D322-169F-4338-94A6-9C75A03E3594}" dt="2025-03-05T16:16:28.012" v="2753" actId="1035"/>
          <ac:spMkLst>
            <pc:docMk/>
            <pc:sldMk cId="3386919135" sldId="2147482604"/>
            <ac:spMk id="35" creationId="{2E057132-9E88-C186-8B26-2DDE5A5CE540}"/>
          </ac:spMkLst>
        </pc:spChg>
        <pc:spChg chg="mod">
          <ac:chgData name="Hess, Christian Johannes" userId="3c21887f-2045-4c66-98d6-7d6208f3a5e9" providerId="ADAL" clId="{98B1D322-169F-4338-94A6-9C75A03E3594}" dt="2025-03-05T16:16:28.012" v="2753" actId="1035"/>
          <ac:spMkLst>
            <pc:docMk/>
            <pc:sldMk cId="3386919135" sldId="2147482604"/>
            <ac:spMk id="37" creationId="{D3581E4D-BB4A-7910-DCB5-51234CCD2082}"/>
          </ac:spMkLst>
        </pc:spChg>
        <pc:picChg chg="mod">
          <ac:chgData name="Hess, Christian Johannes" userId="3c21887f-2045-4c66-98d6-7d6208f3a5e9" providerId="ADAL" clId="{98B1D322-169F-4338-94A6-9C75A03E3594}" dt="2025-03-05T15:34:14.960" v="907" actId="1036"/>
          <ac:picMkLst>
            <pc:docMk/>
            <pc:sldMk cId="3386919135" sldId="2147482604"/>
            <ac:picMk id="21" creationId="{14A30E23-9E63-670F-8D84-BEA3F2EE1158}"/>
          </ac:picMkLst>
        </pc:picChg>
        <pc:picChg chg="mod">
          <ac:chgData name="Hess, Christian Johannes" userId="3c21887f-2045-4c66-98d6-7d6208f3a5e9" providerId="ADAL" clId="{98B1D322-169F-4338-94A6-9C75A03E3594}" dt="2025-03-05T15:34:14.960" v="907" actId="1036"/>
          <ac:picMkLst>
            <pc:docMk/>
            <pc:sldMk cId="3386919135" sldId="2147482604"/>
            <ac:picMk id="24" creationId="{AAC929EF-7DB8-AFEB-4FE4-07EA09B60A2A}"/>
          </ac:picMkLst>
        </pc:picChg>
        <pc:picChg chg="mod">
          <ac:chgData name="Hess, Christian Johannes" userId="3c21887f-2045-4c66-98d6-7d6208f3a5e9" providerId="ADAL" clId="{98B1D322-169F-4338-94A6-9C75A03E3594}" dt="2025-03-05T15:34:14.960" v="907" actId="1036"/>
          <ac:picMkLst>
            <pc:docMk/>
            <pc:sldMk cId="3386919135" sldId="2147482604"/>
            <ac:picMk id="27" creationId="{8153E848-A20C-12D9-773B-0C43D7DCD143}"/>
          </ac:picMkLst>
        </pc:picChg>
        <pc:picChg chg="mod">
          <ac:chgData name="Hess, Christian Johannes" userId="3c21887f-2045-4c66-98d6-7d6208f3a5e9" providerId="ADAL" clId="{98B1D322-169F-4338-94A6-9C75A03E3594}" dt="2025-03-05T15:34:14.960" v="907" actId="1036"/>
          <ac:picMkLst>
            <pc:docMk/>
            <pc:sldMk cId="3386919135" sldId="2147482604"/>
            <ac:picMk id="30" creationId="{5BF1C9F1-6FF9-9BD2-EFD0-6861BC4D91BA}"/>
          </ac:picMkLst>
        </pc:picChg>
        <pc:picChg chg="mod">
          <ac:chgData name="Hess, Christian Johannes" userId="3c21887f-2045-4c66-98d6-7d6208f3a5e9" providerId="ADAL" clId="{98B1D322-169F-4338-94A6-9C75A03E3594}" dt="2025-03-05T15:34:14.960" v="907" actId="1036"/>
          <ac:picMkLst>
            <pc:docMk/>
            <pc:sldMk cId="3386919135" sldId="2147482604"/>
            <ac:picMk id="36" creationId="{7B2D7A7C-9E25-1B5A-4EB9-9D415BEE6CF9}"/>
          </ac:picMkLst>
        </pc:picChg>
        <pc:picChg chg="mod">
          <ac:chgData name="Hess, Christian Johannes" userId="3c21887f-2045-4c66-98d6-7d6208f3a5e9" providerId="ADAL" clId="{98B1D322-169F-4338-94A6-9C75A03E3594}" dt="2025-03-05T16:16:28.012" v="2753" actId="1035"/>
          <ac:picMkLst>
            <pc:docMk/>
            <pc:sldMk cId="3386919135" sldId="2147482604"/>
            <ac:picMk id="38" creationId="{AA4126E7-CB12-9914-37D8-91B3794BAE3F}"/>
          </ac:picMkLst>
        </pc:picChg>
        <pc:cxnChg chg="mod">
          <ac:chgData name="Hess, Christian Johannes" userId="3c21887f-2045-4c66-98d6-7d6208f3a5e9" providerId="ADAL" clId="{98B1D322-169F-4338-94A6-9C75A03E3594}" dt="2025-03-05T16:16:28.012" v="2753" actId="1035"/>
          <ac:cxnSpMkLst>
            <pc:docMk/>
            <pc:sldMk cId="3386919135" sldId="2147482604"/>
            <ac:cxnSpMk id="9" creationId="{2F1AD679-3446-0A79-C228-D2E3A9893797}"/>
          </ac:cxnSpMkLst>
        </pc:cxnChg>
        <pc:cxnChg chg="mod">
          <ac:chgData name="Hess, Christian Johannes" userId="3c21887f-2045-4c66-98d6-7d6208f3a5e9" providerId="ADAL" clId="{98B1D322-169F-4338-94A6-9C75A03E3594}" dt="2025-03-05T15:34:14.960" v="907" actId="1036"/>
          <ac:cxnSpMkLst>
            <pc:docMk/>
            <pc:sldMk cId="3386919135" sldId="2147482604"/>
            <ac:cxnSpMk id="10" creationId="{369B7892-BCCA-04CD-FCF9-9E945B809B7E}"/>
          </ac:cxnSpMkLst>
        </pc:cxnChg>
        <pc:cxnChg chg="mod">
          <ac:chgData name="Hess, Christian Johannes" userId="3c21887f-2045-4c66-98d6-7d6208f3a5e9" providerId="ADAL" clId="{98B1D322-169F-4338-94A6-9C75A03E3594}" dt="2025-03-05T15:34:14.960" v="907" actId="1036"/>
          <ac:cxnSpMkLst>
            <pc:docMk/>
            <pc:sldMk cId="3386919135" sldId="2147482604"/>
            <ac:cxnSpMk id="11" creationId="{93A8B580-DBC6-BAFE-DCA8-825C65ED17A5}"/>
          </ac:cxnSpMkLst>
        </pc:cxnChg>
        <pc:cxnChg chg="mod">
          <ac:chgData name="Hess, Christian Johannes" userId="3c21887f-2045-4c66-98d6-7d6208f3a5e9" providerId="ADAL" clId="{98B1D322-169F-4338-94A6-9C75A03E3594}" dt="2025-03-05T15:34:14.960" v="907" actId="1036"/>
          <ac:cxnSpMkLst>
            <pc:docMk/>
            <pc:sldMk cId="3386919135" sldId="2147482604"/>
            <ac:cxnSpMk id="12" creationId="{7C29100F-61B6-D099-8FB7-9534A7BF27A0}"/>
          </ac:cxnSpMkLst>
        </pc:cxnChg>
        <pc:cxnChg chg="mod">
          <ac:chgData name="Hess, Christian Johannes" userId="3c21887f-2045-4c66-98d6-7d6208f3a5e9" providerId="ADAL" clId="{98B1D322-169F-4338-94A6-9C75A03E3594}" dt="2025-03-05T15:34:14.960" v="907" actId="1036"/>
          <ac:cxnSpMkLst>
            <pc:docMk/>
            <pc:sldMk cId="3386919135" sldId="2147482604"/>
            <ac:cxnSpMk id="13" creationId="{2231C7CB-87EE-41DB-915C-B913F7C77FB1}"/>
          </ac:cxnSpMkLst>
        </pc:cxnChg>
        <pc:cxnChg chg="mod">
          <ac:chgData name="Hess, Christian Johannes" userId="3c21887f-2045-4c66-98d6-7d6208f3a5e9" providerId="ADAL" clId="{98B1D322-169F-4338-94A6-9C75A03E3594}" dt="2025-03-05T15:34:14.960" v="907" actId="1036"/>
          <ac:cxnSpMkLst>
            <pc:docMk/>
            <pc:sldMk cId="3386919135" sldId="2147482604"/>
            <ac:cxnSpMk id="14" creationId="{C4E7A8FD-6175-8F3E-BA29-58924B33BE67}"/>
          </ac:cxnSpMkLst>
        </pc:cxnChg>
      </pc:sldChg>
      <pc:sldChg chg="modSp mod">
        <pc:chgData name="Hess, Christian Johannes" userId="3c21887f-2045-4c66-98d6-7d6208f3a5e9" providerId="ADAL" clId="{98B1D322-169F-4338-94A6-9C75A03E3594}" dt="2025-03-05T16:14:24.273" v="2624"/>
        <pc:sldMkLst>
          <pc:docMk/>
          <pc:sldMk cId="881330902" sldId="2147482605"/>
        </pc:sldMkLst>
        <pc:spChg chg="mod">
          <ac:chgData name="Hess, Christian Johannes" userId="3c21887f-2045-4c66-98d6-7d6208f3a5e9" providerId="ADAL" clId="{98B1D322-169F-4338-94A6-9C75A03E3594}" dt="2025-03-05T15:31:37.027" v="878" actId="20577"/>
          <ac:spMkLst>
            <pc:docMk/>
            <pc:sldMk cId="881330902" sldId="2147482605"/>
            <ac:spMk id="16" creationId="{71A9303A-95BB-D9FE-B177-D109E8E0F339}"/>
          </ac:spMkLst>
        </pc:spChg>
        <pc:spChg chg="mod">
          <ac:chgData name="Hess, Christian Johannes" userId="3c21887f-2045-4c66-98d6-7d6208f3a5e9" providerId="ADAL" clId="{98B1D322-169F-4338-94A6-9C75A03E3594}" dt="2025-03-05T16:13:41.463" v="2564"/>
          <ac:spMkLst>
            <pc:docMk/>
            <pc:sldMk cId="881330902" sldId="2147482605"/>
            <ac:spMk id="22" creationId="{24A8C74C-491F-3135-9168-31168889F6C2}"/>
          </ac:spMkLst>
        </pc:spChg>
        <pc:spChg chg="mod">
          <ac:chgData name="Hess, Christian Johannes" userId="3c21887f-2045-4c66-98d6-7d6208f3a5e9" providerId="ADAL" clId="{98B1D322-169F-4338-94A6-9C75A03E3594}" dt="2025-03-05T15:22:59.914" v="799" actId="1036"/>
          <ac:spMkLst>
            <pc:docMk/>
            <pc:sldMk cId="881330902" sldId="2147482605"/>
            <ac:spMk id="23" creationId="{3195ABAB-67CE-F714-1604-528A4C8CEAA4}"/>
          </ac:spMkLst>
        </pc:spChg>
        <pc:spChg chg="mod">
          <ac:chgData name="Hess, Christian Johannes" userId="3c21887f-2045-4c66-98d6-7d6208f3a5e9" providerId="ADAL" clId="{98B1D322-169F-4338-94A6-9C75A03E3594}" dt="2025-03-05T16:13:50.517" v="2576"/>
          <ac:spMkLst>
            <pc:docMk/>
            <pc:sldMk cId="881330902" sldId="2147482605"/>
            <ac:spMk id="25" creationId="{3AF7F11E-CC97-D96C-595A-28C6B90225CE}"/>
          </ac:spMkLst>
        </pc:spChg>
        <pc:spChg chg="mod">
          <ac:chgData name="Hess, Christian Johannes" userId="3c21887f-2045-4c66-98d6-7d6208f3a5e9" providerId="ADAL" clId="{98B1D322-169F-4338-94A6-9C75A03E3594}" dt="2025-03-05T15:22:59.914" v="799" actId="1036"/>
          <ac:spMkLst>
            <pc:docMk/>
            <pc:sldMk cId="881330902" sldId="2147482605"/>
            <ac:spMk id="26" creationId="{6A581ED3-601C-A044-A72C-7EED9696B2DB}"/>
          </ac:spMkLst>
        </pc:spChg>
        <pc:spChg chg="mod">
          <ac:chgData name="Hess, Christian Johannes" userId="3c21887f-2045-4c66-98d6-7d6208f3a5e9" providerId="ADAL" clId="{98B1D322-169F-4338-94A6-9C75A03E3594}" dt="2025-03-05T16:13:57.437" v="2588"/>
          <ac:spMkLst>
            <pc:docMk/>
            <pc:sldMk cId="881330902" sldId="2147482605"/>
            <ac:spMk id="28" creationId="{AADF7B53-9E4C-8056-7221-86277A45CD44}"/>
          </ac:spMkLst>
        </pc:spChg>
        <pc:spChg chg="mod">
          <ac:chgData name="Hess, Christian Johannes" userId="3c21887f-2045-4c66-98d6-7d6208f3a5e9" providerId="ADAL" clId="{98B1D322-169F-4338-94A6-9C75A03E3594}" dt="2025-03-05T15:22:59.914" v="799" actId="1036"/>
          <ac:spMkLst>
            <pc:docMk/>
            <pc:sldMk cId="881330902" sldId="2147482605"/>
            <ac:spMk id="29" creationId="{FFCD6AA0-DC23-0E27-AE73-415D18660094}"/>
          </ac:spMkLst>
        </pc:spChg>
        <pc:spChg chg="mod">
          <ac:chgData name="Hess, Christian Johannes" userId="3c21887f-2045-4c66-98d6-7d6208f3a5e9" providerId="ADAL" clId="{98B1D322-169F-4338-94A6-9C75A03E3594}" dt="2025-03-05T16:14:05.997" v="2600"/>
          <ac:spMkLst>
            <pc:docMk/>
            <pc:sldMk cId="881330902" sldId="2147482605"/>
            <ac:spMk id="31" creationId="{223E6373-1FD2-8938-AFF2-CBED861BB861}"/>
          </ac:spMkLst>
        </pc:spChg>
        <pc:spChg chg="mod">
          <ac:chgData name="Hess, Christian Johannes" userId="3c21887f-2045-4c66-98d6-7d6208f3a5e9" providerId="ADAL" clId="{98B1D322-169F-4338-94A6-9C75A03E3594}" dt="2025-03-05T15:22:59.914" v="799" actId="1036"/>
          <ac:spMkLst>
            <pc:docMk/>
            <pc:sldMk cId="881330902" sldId="2147482605"/>
            <ac:spMk id="32" creationId="{9828C3F1-4E39-BBB9-603A-D4A23446A554}"/>
          </ac:spMkLst>
        </pc:spChg>
        <pc:spChg chg="mod">
          <ac:chgData name="Hess, Christian Johannes" userId="3c21887f-2045-4c66-98d6-7d6208f3a5e9" providerId="ADAL" clId="{98B1D322-169F-4338-94A6-9C75A03E3594}" dt="2025-03-05T16:14:14.885" v="2612"/>
          <ac:spMkLst>
            <pc:docMk/>
            <pc:sldMk cId="881330902" sldId="2147482605"/>
            <ac:spMk id="34" creationId="{D4588552-0F6F-D87D-A7FD-8FDCAEBA242F}"/>
          </ac:spMkLst>
        </pc:spChg>
        <pc:spChg chg="mod">
          <ac:chgData name="Hess, Christian Johannes" userId="3c21887f-2045-4c66-98d6-7d6208f3a5e9" providerId="ADAL" clId="{98B1D322-169F-4338-94A6-9C75A03E3594}" dt="2025-03-05T15:22:59.914" v="799" actId="1036"/>
          <ac:spMkLst>
            <pc:docMk/>
            <pc:sldMk cId="881330902" sldId="2147482605"/>
            <ac:spMk id="35" creationId="{2E057132-9E88-C186-8B26-2DDE5A5CE540}"/>
          </ac:spMkLst>
        </pc:spChg>
        <pc:spChg chg="mod">
          <ac:chgData name="Hess, Christian Johannes" userId="3c21887f-2045-4c66-98d6-7d6208f3a5e9" providerId="ADAL" clId="{98B1D322-169F-4338-94A6-9C75A03E3594}" dt="2025-03-05T16:14:24.273" v="2624"/>
          <ac:spMkLst>
            <pc:docMk/>
            <pc:sldMk cId="881330902" sldId="2147482605"/>
            <ac:spMk id="37" creationId="{D3581E4D-BB4A-7910-DCB5-51234CCD2082}"/>
          </ac:spMkLst>
        </pc:spChg>
        <pc:picChg chg="mod">
          <ac:chgData name="Hess, Christian Johannes" userId="3c21887f-2045-4c66-98d6-7d6208f3a5e9" providerId="ADAL" clId="{98B1D322-169F-4338-94A6-9C75A03E3594}" dt="2025-03-05T15:22:59.914" v="799" actId="1036"/>
          <ac:picMkLst>
            <pc:docMk/>
            <pc:sldMk cId="881330902" sldId="2147482605"/>
            <ac:picMk id="24" creationId="{32AE1F73-1276-E7FA-26DB-3FE8407F3B01}"/>
          </ac:picMkLst>
        </pc:picChg>
        <pc:picChg chg="mod">
          <ac:chgData name="Hess, Christian Johannes" userId="3c21887f-2045-4c66-98d6-7d6208f3a5e9" providerId="ADAL" clId="{98B1D322-169F-4338-94A6-9C75A03E3594}" dt="2025-03-05T15:22:59.914" v="799" actId="1036"/>
          <ac:picMkLst>
            <pc:docMk/>
            <pc:sldMk cId="881330902" sldId="2147482605"/>
            <ac:picMk id="30" creationId="{55FBC2D1-6BF3-5A32-5B76-9D09963DFC67}"/>
          </ac:picMkLst>
        </pc:picChg>
        <pc:picChg chg="mod">
          <ac:chgData name="Hess, Christian Johannes" userId="3c21887f-2045-4c66-98d6-7d6208f3a5e9" providerId="ADAL" clId="{98B1D322-169F-4338-94A6-9C75A03E3594}" dt="2025-03-05T15:22:59.914" v="799" actId="1036"/>
          <ac:picMkLst>
            <pc:docMk/>
            <pc:sldMk cId="881330902" sldId="2147482605"/>
            <ac:picMk id="33" creationId="{D1A9B08A-E407-3F69-0A84-CBD932B32874}"/>
          </ac:picMkLst>
        </pc:picChg>
        <pc:picChg chg="mod">
          <ac:chgData name="Hess, Christian Johannes" userId="3c21887f-2045-4c66-98d6-7d6208f3a5e9" providerId="ADAL" clId="{98B1D322-169F-4338-94A6-9C75A03E3594}" dt="2025-03-05T15:22:59.914" v="799" actId="1036"/>
          <ac:picMkLst>
            <pc:docMk/>
            <pc:sldMk cId="881330902" sldId="2147482605"/>
            <ac:picMk id="36" creationId="{A0D7E3C4-DB8C-64B0-5B15-D380C4E9304D}"/>
          </ac:picMkLst>
        </pc:picChg>
        <pc:picChg chg="mod">
          <ac:chgData name="Hess, Christian Johannes" userId="3c21887f-2045-4c66-98d6-7d6208f3a5e9" providerId="ADAL" clId="{98B1D322-169F-4338-94A6-9C75A03E3594}" dt="2025-03-05T15:22:59.914" v="799" actId="1036"/>
          <ac:picMkLst>
            <pc:docMk/>
            <pc:sldMk cId="881330902" sldId="2147482605"/>
            <ac:picMk id="38" creationId="{B3607A9B-7EA4-C088-24F5-F0B13762256E}"/>
          </ac:picMkLst>
        </pc:picChg>
        <pc:cxnChg chg="mod">
          <ac:chgData name="Hess, Christian Johannes" userId="3c21887f-2045-4c66-98d6-7d6208f3a5e9" providerId="ADAL" clId="{98B1D322-169F-4338-94A6-9C75A03E3594}" dt="2025-03-05T15:22:59.914" v="799" actId="1036"/>
          <ac:cxnSpMkLst>
            <pc:docMk/>
            <pc:sldMk cId="881330902" sldId="2147482605"/>
            <ac:cxnSpMk id="9" creationId="{2F1AD679-3446-0A79-C228-D2E3A9893797}"/>
          </ac:cxnSpMkLst>
        </pc:cxnChg>
        <pc:cxnChg chg="mod">
          <ac:chgData name="Hess, Christian Johannes" userId="3c21887f-2045-4c66-98d6-7d6208f3a5e9" providerId="ADAL" clId="{98B1D322-169F-4338-94A6-9C75A03E3594}" dt="2025-03-05T15:22:59.914" v="799" actId="1036"/>
          <ac:cxnSpMkLst>
            <pc:docMk/>
            <pc:sldMk cId="881330902" sldId="2147482605"/>
            <ac:cxnSpMk id="10" creationId="{369B7892-BCCA-04CD-FCF9-9E945B809B7E}"/>
          </ac:cxnSpMkLst>
        </pc:cxnChg>
        <pc:cxnChg chg="mod">
          <ac:chgData name="Hess, Christian Johannes" userId="3c21887f-2045-4c66-98d6-7d6208f3a5e9" providerId="ADAL" clId="{98B1D322-169F-4338-94A6-9C75A03E3594}" dt="2025-03-05T15:22:59.914" v="799" actId="1036"/>
          <ac:cxnSpMkLst>
            <pc:docMk/>
            <pc:sldMk cId="881330902" sldId="2147482605"/>
            <ac:cxnSpMk id="11" creationId="{93A8B580-DBC6-BAFE-DCA8-825C65ED17A5}"/>
          </ac:cxnSpMkLst>
        </pc:cxnChg>
        <pc:cxnChg chg="mod">
          <ac:chgData name="Hess, Christian Johannes" userId="3c21887f-2045-4c66-98d6-7d6208f3a5e9" providerId="ADAL" clId="{98B1D322-169F-4338-94A6-9C75A03E3594}" dt="2025-03-05T15:22:59.914" v="799" actId="1036"/>
          <ac:cxnSpMkLst>
            <pc:docMk/>
            <pc:sldMk cId="881330902" sldId="2147482605"/>
            <ac:cxnSpMk id="12" creationId="{7C29100F-61B6-D099-8FB7-9534A7BF27A0}"/>
          </ac:cxnSpMkLst>
        </pc:cxnChg>
        <pc:cxnChg chg="mod">
          <ac:chgData name="Hess, Christian Johannes" userId="3c21887f-2045-4c66-98d6-7d6208f3a5e9" providerId="ADAL" clId="{98B1D322-169F-4338-94A6-9C75A03E3594}" dt="2025-03-05T15:22:59.914" v="799" actId="1036"/>
          <ac:cxnSpMkLst>
            <pc:docMk/>
            <pc:sldMk cId="881330902" sldId="2147482605"/>
            <ac:cxnSpMk id="13" creationId="{2231C7CB-87EE-41DB-915C-B913F7C77FB1}"/>
          </ac:cxnSpMkLst>
        </pc:cxnChg>
      </pc:sldChg>
      <pc:sldChg chg="modSp mod">
        <pc:chgData name="Hess, Christian Johannes" userId="3c21887f-2045-4c66-98d6-7d6208f3a5e9" providerId="ADAL" clId="{98B1D322-169F-4338-94A6-9C75A03E3594}" dt="2025-03-05T16:13:32.677" v="2552" actId="1035"/>
        <pc:sldMkLst>
          <pc:docMk/>
          <pc:sldMk cId="2927116956" sldId="2147482606"/>
        </pc:sldMkLst>
        <pc:spChg chg="mod">
          <ac:chgData name="Hess, Christian Johannes" userId="3c21887f-2045-4c66-98d6-7d6208f3a5e9" providerId="ADAL" clId="{98B1D322-169F-4338-94A6-9C75A03E3594}" dt="2025-03-05T15:33:14.317" v="891" actId="20577"/>
          <ac:spMkLst>
            <pc:docMk/>
            <pc:sldMk cId="2927116956" sldId="2147482606"/>
            <ac:spMk id="16" creationId="{71A9303A-95BB-D9FE-B177-D109E8E0F339}"/>
          </ac:spMkLst>
        </pc:spChg>
        <pc:spChg chg="mod">
          <ac:chgData name="Hess, Christian Johannes" userId="3c21887f-2045-4c66-98d6-7d6208f3a5e9" providerId="ADAL" clId="{98B1D322-169F-4338-94A6-9C75A03E3594}" dt="2025-03-05T16:12:50.087" v="2486"/>
          <ac:spMkLst>
            <pc:docMk/>
            <pc:sldMk cId="2927116956" sldId="2147482606"/>
            <ac:spMk id="22" creationId="{24A8C74C-491F-3135-9168-31168889F6C2}"/>
          </ac:spMkLst>
        </pc:spChg>
        <pc:spChg chg="mod">
          <ac:chgData name="Hess, Christian Johannes" userId="3c21887f-2045-4c66-98d6-7d6208f3a5e9" providerId="ADAL" clId="{98B1D322-169F-4338-94A6-9C75A03E3594}" dt="2025-03-05T15:36:44.011" v="930" actId="1036"/>
          <ac:spMkLst>
            <pc:docMk/>
            <pc:sldMk cId="2927116956" sldId="2147482606"/>
            <ac:spMk id="23" creationId="{3195ABAB-67CE-F714-1604-528A4C8CEAA4}"/>
          </ac:spMkLst>
        </pc:spChg>
        <pc:spChg chg="mod">
          <ac:chgData name="Hess, Christian Johannes" userId="3c21887f-2045-4c66-98d6-7d6208f3a5e9" providerId="ADAL" clId="{98B1D322-169F-4338-94A6-9C75A03E3594}" dt="2025-03-05T16:12:57.428" v="2498"/>
          <ac:spMkLst>
            <pc:docMk/>
            <pc:sldMk cId="2927116956" sldId="2147482606"/>
            <ac:spMk id="25" creationId="{3AF7F11E-CC97-D96C-595A-28C6B90225CE}"/>
          </ac:spMkLst>
        </pc:spChg>
        <pc:spChg chg="mod">
          <ac:chgData name="Hess, Christian Johannes" userId="3c21887f-2045-4c66-98d6-7d6208f3a5e9" providerId="ADAL" clId="{98B1D322-169F-4338-94A6-9C75A03E3594}" dt="2025-03-05T16:13:32.677" v="2552" actId="1035"/>
          <ac:spMkLst>
            <pc:docMk/>
            <pc:sldMk cId="2927116956" sldId="2147482606"/>
            <ac:spMk id="26" creationId="{6A581ED3-601C-A044-A72C-7EED9696B2DB}"/>
          </ac:spMkLst>
        </pc:spChg>
        <pc:spChg chg="mod">
          <ac:chgData name="Hess, Christian Johannes" userId="3c21887f-2045-4c66-98d6-7d6208f3a5e9" providerId="ADAL" clId="{98B1D322-169F-4338-94A6-9C75A03E3594}" dt="2025-03-05T16:13:32.677" v="2552" actId="1035"/>
          <ac:spMkLst>
            <pc:docMk/>
            <pc:sldMk cId="2927116956" sldId="2147482606"/>
            <ac:spMk id="28" creationId="{AADF7B53-9E4C-8056-7221-86277A45CD44}"/>
          </ac:spMkLst>
        </pc:spChg>
        <pc:spChg chg="mod">
          <ac:chgData name="Hess, Christian Johannes" userId="3c21887f-2045-4c66-98d6-7d6208f3a5e9" providerId="ADAL" clId="{98B1D322-169F-4338-94A6-9C75A03E3594}" dt="2025-03-05T16:13:32.677" v="2552" actId="1035"/>
          <ac:spMkLst>
            <pc:docMk/>
            <pc:sldMk cId="2927116956" sldId="2147482606"/>
            <ac:spMk id="29" creationId="{FFCD6AA0-DC23-0E27-AE73-415D18660094}"/>
          </ac:spMkLst>
        </pc:spChg>
        <pc:spChg chg="mod">
          <ac:chgData name="Hess, Christian Johannes" userId="3c21887f-2045-4c66-98d6-7d6208f3a5e9" providerId="ADAL" clId="{98B1D322-169F-4338-94A6-9C75A03E3594}" dt="2025-03-05T16:13:32.677" v="2552" actId="1035"/>
          <ac:spMkLst>
            <pc:docMk/>
            <pc:sldMk cId="2927116956" sldId="2147482606"/>
            <ac:spMk id="31" creationId="{223E6373-1FD2-8938-AFF2-CBED861BB861}"/>
          </ac:spMkLst>
        </pc:spChg>
        <pc:spChg chg="mod">
          <ac:chgData name="Hess, Christian Johannes" userId="3c21887f-2045-4c66-98d6-7d6208f3a5e9" providerId="ADAL" clId="{98B1D322-169F-4338-94A6-9C75A03E3594}" dt="2025-03-05T16:13:32.677" v="2552" actId="1035"/>
          <ac:spMkLst>
            <pc:docMk/>
            <pc:sldMk cId="2927116956" sldId="2147482606"/>
            <ac:spMk id="32" creationId="{9828C3F1-4E39-BBB9-603A-D4A23446A554}"/>
          </ac:spMkLst>
        </pc:spChg>
        <pc:spChg chg="mod">
          <ac:chgData name="Hess, Christian Johannes" userId="3c21887f-2045-4c66-98d6-7d6208f3a5e9" providerId="ADAL" clId="{98B1D322-169F-4338-94A6-9C75A03E3594}" dt="2025-03-05T16:13:32.677" v="2552" actId="1035"/>
          <ac:spMkLst>
            <pc:docMk/>
            <pc:sldMk cId="2927116956" sldId="2147482606"/>
            <ac:spMk id="34" creationId="{D4588552-0F6F-D87D-A7FD-8FDCAEBA242F}"/>
          </ac:spMkLst>
        </pc:spChg>
        <pc:spChg chg="mod">
          <ac:chgData name="Hess, Christian Johannes" userId="3c21887f-2045-4c66-98d6-7d6208f3a5e9" providerId="ADAL" clId="{98B1D322-169F-4338-94A6-9C75A03E3594}" dt="2025-03-05T16:13:32.677" v="2552" actId="1035"/>
          <ac:spMkLst>
            <pc:docMk/>
            <pc:sldMk cId="2927116956" sldId="2147482606"/>
            <ac:spMk id="35" creationId="{2E057132-9E88-C186-8B26-2DDE5A5CE540}"/>
          </ac:spMkLst>
        </pc:spChg>
        <pc:spChg chg="mod">
          <ac:chgData name="Hess, Christian Johannes" userId="3c21887f-2045-4c66-98d6-7d6208f3a5e9" providerId="ADAL" clId="{98B1D322-169F-4338-94A6-9C75A03E3594}" dt="2025-03-05T16:13:32.677" v="2552" actId="1035"/>
          <ac:spMkLst>
            <pc:docMk/>
            <pc:sldMk cId="2927116956" sldId="2147482606"/>
            <ac:spMk id="37" creationId="{D3581E4D-BB4A-7910-DCB5-51234CCD2082}"/>
          </ac:spMkLst>
        </pc:spChg>
        <pc:picChg chg="mod">
          <ac:chgData name="Hess, Christian Johannes" userId="3c21887f-2045-4c66-98d6-7d6208f3a5e9" providerId="ADAL" clId="{98B1D322-169F-4338-94A6-9C75A03E3594}" dt="2025-03-05T16:13:32.677" v="2552" actId="1035"/>
          <ac:picMkLst>
            <pc:docMk/>
            <pc:sldMk cId="2927116956" sldId="2147482606"/>
            <ac:picMk id="21" creationId="{143C8243-9871-6DD5-7ABD-D989B4690C04}"/>
          </ac:picMkLst>
        </pc:picChg>
        <pc:picChg chg="mod">
          <ac:chgData name="Hess, Christian Johannes" userId="3c21887f-2045-4c66-98d6-7d6208f3a5e9" providerId="ADAL" clId="{98B1D322-169F-4338-94A6-9C75A03E3594}" dt="2025-03-05T16:13:32.677" v="2552" actId="1035"/>
          <ac:picMkLst>
            <pc:docMk/>
            <pc:sldMk cId="2927116956" sldId="2147482606"/>
            <ac:picMk id="24" creationId="{2E495EA3-8CF9-4A2B-890C-F49FAB5989C4}"/>
          </ac:picMkLst>
        </pc:picChg>
        <pc:picChg chg="mod">
          <ac:chgData name="Hess, Christian Johannes" userId="3c21887f-2045-4c66-98d6-7d6208f3a5e9" providerId="ADAL" clId="{98B1D322-169F-4338-94A6-9C75A03E3594}" dt="2025-03-05T16:13:32.677" v="2552" actId="1035"/>
          <ac:picMkLst>
            <pc:docMk/>
            <pc:sldMk cId="2927116956" sldId="2147482606"/>
            <ac:picMk id="30" creationId="{C95D8AF9-505A-BA50-6F99-60B2188E18AC}"/>
          </ac:picMkLst>
        </pc:picChg>
        <pc:picChg chg="mod">
          <ac:chgData name="Hess, Christian Johannes" userId="3c21887f-2045-4c66-98d6-7d6208f3a5e9" providerId="ADAL" clId="{98B1D322-169F-4338-94A6-9C75A03E3594}" dt="2025-03-05T16:13:32.677" v="2552" actId="1035"/>
          <ac:picMkLst>
            <pc:docMk/>
            <pc:sldMk cId="2927116956" sldId="2147482606"/>
            <ac:picMk id="33" creationId="{98DC00AE-D36A-B237-C65C-50D23B73C89F}"/>
          </ac:picMkLst>
        </pc:picChg>
        <pc:picChg chg="mod">
          <ac:chgData name="Hess, Christian Johannes" userId="3c21887f-2045-4c66-98d6-7d6208f3a5e9" providerId="ADAL" clId="{98B1D322-169F-4338-94A6-9C75A03E3594}" dt="2025-03-05T15:36:44.011" v="930" actId="1036"/>
          <ac:picMkLst>
            <pc:docMk/>
            <pc:sldMk cId="2927116956" sldId="2147482606"/>
            <ac:picMk id="36" creationId="{3A4017CF-3AF3-8C05-3489-B73076FB533A}"/>
          </ac:picMkLst>
        </pc:picChg>
        <pc:cxnChg chg="mod">
          <ac:chgData name="Hess, Christian Johannes" userId="3c21887f-2045-4c66-98d6-7d6208f3a5e9" providerId="ADAL" clId="{98B1D322-169F-4338-94A6-9C75A03E3594}" dt="2025-03-05T16:13:32.677" v="2552" actId="1035"/>
          <ac:cxnSpMkLst>
            <pc:docMk/>
            <pc:sldMk cId="2927116956" sldId="2147482606"/>
            <ac:cxnSpMk id="9" creationId="{2F1AD679-3446-0A79-C228-D2E3A9893797}"/>
          </ac:cxnSpMkLst>
        </pc:cxnChg>
        <pc:cxnChg chg="mod">
          <ac:chgData name="Hess, Christian Johannes" userId="3c21887f-2045-4c66-98d6-7d6208f3a5e9" providerId="ADAL" clId="{98B1D322-169F-4338-94A6-9C75A03E3594}" dt="2025-03-05T16:13:32.677" v="2552" actId="1035"/>
          <ac:cxnSpMkLst>
            <pc:docMk/>
            <pc:sldMk cId="2927116956" sldId="2147482606"/>
            <ac:cxnSpMk id="10" creationId="{369B7892-BCCA-04CD-FCF9-9E945B809B7E}"/>
          </ac:cxnSpMkLst>
        </pc:cxnChg>
        <pc:cxnChg chg="mod">
          <ac:chgData name="Hess, Christian Johannes" userId="3c21887f-2045-4c66-98d6-7d6208f3a5e9" providerId="ADAL" clId="{98B1D322-169F-4338-94A6-9C75A03E3594}" dt="2025-03-05T16:13:32.677" v="2552" actId="1035"/>
          <ac:cxnSpMkLst>
            <pc:docMk/>
            <pc:sldMk cId="2927116956" sldId="2147482606"/>
            <ac:cxnSpMk id="11" creationId="{93A8B580-DBC6-BAFE-DCA8-825C65ED17A5}"/>
          </ac:cxnSpMkLst>
        </pc:cxnChg>
        <pc:cxnChg chg="mod">
          <ac:chgData name="Hess, Christian Johannes" userId="3c21887f-2045-4c66-98d6-7d6208f3a5e9" providerId="ADAL" clId="{98B1D322-169F-4338-94A6-9C75A03E3594}" dt="2025-03-05T16:13:32.677" v="2552" actId="1035"/>
          <ac:cxnSpMkLst>
            <pc:docMk/>
            <pc:sldMk cId="2927116956" sldId="2147482606"/>
            <ac:cxnSpMk id="12" creationId="{7C29100F-61B6-D099-8FB7-9534A7BF27A0}"/>
          </ac:cxnSpMkLst>
        </pc:cxnChg>
        <pc:cxnChg chg="mod">
          <ac:chgData name="Hess, Christian Johannes" userId="3c21887f-2045-4c66-98d6-7d6208f3a5e9" providerId="ADAL" clId="{98B1D322-169F-4338-94A6-9C75A03E3594}" dt="2025-03-05T15:36:44.011" v="930" actId="1036"/>
          <ac:cxnSpMkLst>
            <pc:docMk/>
            <pc:sldMk cId="2927116956" sldId="2147482606"/>
            <ac:cxnSpMk id="13" creationId="{2231C7CB-87EE-41DB-915C-B913F7C77FB1}"/>
          </ac:cxnSpMkLst>
        </pc:cxnChg>
      </pc:sldChg>
      <pc:sldChg chg="modSp mod">
        <pc:chgData name="Hess, Christian Johannes" userId="3c21887f-2045-4c66-98d6-7d6208f3a5e9" providerId="ADAL" clId="{98B1D322-169F-4338-94A6-9C75A03E3594}" dt="2025-03-05T16:12:33.111" v="2474" actId="1035"/>
        <pc:sldMkLst>
          <pc:docMk/>
          <pc:sldMk cId="3175203520" sldId="2147482607"/>
        </pc:sldMkLst>
        <pc:spChg chg="mod">
          <ac:chgData name="Hess, Christian Johannes" userId="3c21887f-2045-4c66-98d6-7d6208f3a5e9" providerId="ADAL" clId="{98B1D322-169F-4338-94A6-9C75A03E3594}" dt="2025-03-05T16:11:44.865" v="2407"/>
          <ac:spMkLst>
            <pc:docMk/>
            <pc:sldMk cId="3175203520" sldId="2147482607"/>
            <ac:spMk id="22" creationId="{24A8C74C-491F-3135-9168-31168889F6C2}"/>
          </ac:spMkLst>
        </pc:spChg>
        <pc:spChg chg="mod">
          <ac:chgData name="Hess, Christian Johannes" userId="3c21887f-2045-4c66-98d6-7d6208f3a5e9" providerId="ADAL" clId="{98B1D322-169F-4338-94A6-9C75A03E3594}" dt="2025-03-05T16:11:53.626" v="2419"/>
          <ac:spMkLst>
            <pc:docMk/>
            <pc:sldMk cId="3175203520" sldId="2147482607"/>
            <ac:spMk id="25" creationId="{3AF7F11E-CC97-D96C-595A-28C6B90225CE}"/>
          </ac:spMkLst>
        </pc:spChg>
        <pc:spChg chg="mod">
          <ac:chgData name="Hess, Christian Johannes" userId="3c21887f-2045-4c66-98d6-7d6208f3a5e9" providerId="ADAL" clId="{98B1D322-169F-4338-94A6-9C75A03E3594}" dt="2025-03-05T16:12:01.744" v="2431"/>
          <ac:spMkLst>
            <pc:docMk/>
            <pc:sldMk cId="3175203520" sldId="2147482607"/>
            <ac:spMk id="28" creationId="{AADF7B53-9E4C-8056-7221-86277A45CD44}"/>
          </ac:spMkLst>
        </pc:spChg>
        <pc:spChg chg="mod">
          <ac:chgData name="Hess, Christian Johannes" userId="3c21887f-2045-4c66-98d6-7d6208f3a5e9" providerId="ADAL" clId="{98B1D322-169F-4338-94A6-9C75A03E3594}" dt="2025-03-05T16:12:08.040" v="2443"/>
          <ac:spMkLst>
            <pc:docMk/>
            <pc:sldMk cId="3175203520" sldId="2147482607"/>
            <ac:spMk id="31" creationId="{223E6373-1FD2-8938-AFF2-CBED861BB861}"/>
          </ac:spMkLst>
        </pc:spChg>
        <pc:spChg chg="mod">
          <ac:chgData name="Hess, Christian Johannes" userId="3c21887f-2045-4c66-98d6-7d6208f3a5e9" providerId="ADAL" clId="{98B1D322-169F-4338-94A6-9C75A03E3594}" dt="2025-03-05T16:12:33.111" v="2474" actId="1035"/>
          <ac:spMkLst>
            <pc:docMk/>
            <pc:sldMk cId="3175203520" sldId="2147482607"/>
            <ac:spMk id="32" creationId="{9828C3F1-4E39-BBB9-603A-D4A23446A554}"/>
          </ac:spMkLst>
        </pc:spChg>
        <pc:spChg chg="mod">
          <ac:chgData name="Hess, Christian Johannes" userId="3c21887f-2045-4c66-98d6-7d6208f3a5e9" providerId="ADAL" clId="{98B1D322-169F-4338-94A6-9C75A03E3594}" dt="2025-03-05T16:12:33.111" v="2474" actId="1035"/>
          <ac:spMkLst>
            <pc:docMk/>
            <pc:sldMk cId="3175203520" sldId="2147482607"/>
            <ac:spMk id="34" creationId="{D4588552-0F6F-D87D-A7FD-8FDCAEBA242F}"/>
          </ac:spMkLst>
        </pc:spChg>
        <pc:spChg chg="mod">
          <ac:chgData name="Hess, Christian Johannes" userId="3c21887f-2045-4c66-98d6-7d6208f3a5e9" providerId="ADAL" clId="{98B1D322-169F-4338-94A6-9C75A03E3594}" dt="2025-03-05T16:12:33.111" v="2474" actId="1035"/>
          <ac:spMkLst>
            <pc:docMk/>
            <pc:sldMk cId="3175203520" sldId="2147482607"/>
            <ac:spMk id="35" creationId="{2E057132-9E88-C186-8B26-2DDE5A5CE540}"/>
          </ac:spMkLst>
        </pc:spChg>
        <pc:spChg chg="mod">
          <ac:chgData name="Hess, Christian Johannes" userId="3c21887f-2045-4c66-98d6-7d6208f3a5e9" providerId="ADAL" clId="{98B1D322-169F-4338-94A6-9C75A03E3594}" dt="2025-03-05T16:12:33.111" v="2474" actId="1035"/>
          <ac:spMkLst>
            <pc:docMk/>
            <pc:sldMk cId="3175203520" sldId="2147482607"/>
            <ac:spMk id="37" creationId="{D3581E4D-BB4A-7910-DCB5-51234CCD2082}"/>
          </ac:spMkLst>
        </pc:spChg>
        <pc:picChg chg="mod">
          <ac:chgData name="Hess, Christian Johannes" userId="3c21887f-2045-4c66-98d6-7d6208f3a5e9" providerId="ADAL" clId="{98B1D322-169F-4338-94A6-9C75A03E3594}" dt="2025-03-05T16:12:33.111" v="2474" actId="1035"/>
          <ac:picMkLst>
            <pc:docMk/>
            <pc:sldMk cId="3175203520" sldId="2147482607"/>
            <ac:picMk id="33" creationId="{33E1E2F4-9B39-5D70-7EB3-43FC3AD4A8C4}"/>
          </ac:picMkLst>
        </pc:picChg>
        <pc:picChg chg="mod">
          <ac:chgData name="Hess, Christian Johannes" userId="3c21887f-2045-4c66-98d6-7d6208f3a5e9" providerId="ADAL" clId="{98B1D322-169F-4338-94A6-9C75A03E3594}" dt="2025-03-05T16:12:33.111" v="2474" actId="1035"/>
          <ac:picMkLst>
            <pc:docMk/>
            <pc:sldMk cId="3175203520" sldId="2147482607"/>
            <ac:picMk id="36" creationId="{A99F9BA7-7DC9-6DBE-462C-879F4395E7C2}"/>
          </ac:picMkLst>
        </pc:picChg>
        <pc:cxnChg chg="mod">
          <ac:chgData name="Hess, Christian Johannes" userId="3c21887f-2045-4c66-98d6-7d6208f3a5e9" providerId="ADAL" clId="{98B1D322-169F-4338-94A6-9C75A03E3594}" dt="2025-03-05T16:12:33.111" v="2474" actId="1035"/>
          <ac:cxnSpMkLst>
            <pc:docMk/>
            <pc:sldMk cId="3175203520" sldId="2147482607"/>
            <ac:cxnSpMk id="9" creationId="{2F1AD679-3446-0A79-C228-D2E3A9893797}"/>
          </ac:cxnSpMkLst>
        </pc:cxnChg>
        <pc:cxnChg chg="mod">
          <ac:chgData name="Hess, Christian Johannes" userId="3c21887f-2045-4c66-98d6-7d6208f3a5e9" providerId="ADAL" clId="{98B1D322-169F-4338-94A6-9C75A03E3594}" dt="2025-03-05T16:12:33.111" v="2474" actId="1035"/>
          <ac:cxnSpMkLst>
            <pc:docMk/>
            <pc:sldMk cId="3175203520" sldId="2147482607"/>
            <ac:cxnSpMk id="10" creationId="{369B7892-BCCA-04CD-FCF9-9E945B809B7E}"/>
          </ac:cxnSpMkLst>
        </pc:cxnChg>
      </pc:sldChg>
      <pc:sldChg chg="modSp mod">
        <pc:chgData name="Hess, Christian Johannes" userId="3c21887f-2045-4c66-98d6-7d6208f3a5e9" providerId="ADAL" clId="{98B1D322-169F-4338-94A6-9C75A03E3594}" dt="2025-03-05T16:11:04.807" v="2395" actId="1035"/>
        <pc:sldMkLst>
          <pc:docMk/>
          <pc:sldMk cId="2318338477" sldId="2147482608"/>
        </pc:sldMkLst>
        <pc:spChg chg="mod">
          <ac:chgData name="Hess, Christian Johannes" userId="3c21887f-2045-4c66-98d6-7d6208f3a5e9" providerId="ADAL" clId="{98B1D322-169F-4338-94A6-9C75A03E3594}" dt="2025-03-05T15:21:14.602" v="780" actId="20577"/>
          <ac:spMkLst>
            <pc:docMk/>
            <pc:sldMk cId="2318338477" sldId="2147482608"/>
            <ac:spMk id="16" creationId="{71A9303A-95BB-D9FE-B177-D109E8E0F339}"/>
          </ac:spMkLst>
        </pc:spChg>
        <pc:spChg chg="mod">
          <ac:chgData name="Hess, Christian Johannes" userId="3c21887f-2045-4c66-98d6-7d6208f3a5e9" providerId="ADAL" clId="{98B1D322-169F-4338-94A6-9C75A03E3594}" dt="2025-03-05T16:09:55.500" v="2311"/>
          <ac:spMkLst>
            <pc:docMk/>
            <pc:sldMk cId="2318338477" sldId="2147482608"/>
            <ac:spMk id="22" creationId="{24A8C74C-491F-3135-9168-31168889F6C2}"/>
          </ac:spMkLst>
        </pc:spChg>
        <pc:spChg chg="mod">
          <ac:chgData name="Hess, Christian Johannes" userId="3c21887f-2045-4c66-98d6-7d6208f3a5e9" providerId="ADAL" clId="{98B1D322-169F-4338-94A6-9C75A03E3594}" dt="2025-03-05T16:11:04.807" v="2395" actId="1035"/>
          <ac:spMkLst>
            <pc:docMk/>
            <pc:sldMk cId="2318338477" sldId="2147482608"/>
            <ac:spMk id="23" creationId="{3195ABAB-67CE-F714-1604-528A4C8CEAA4}"/>
          </ac:spMkLst>
        </pc:spChg>
        <pc:spChg chg="mod">
          <ac:chgData name="Hess, Christian Johannes" userId="3c21887f-2045-4c66-98d6-7d6208f3a5e9" providerId="ADAL" clId="{98B1D322-169F-4338-94A6-9C75A03E3594}" dt="2025-03-05T16:11:04.807" v="2395" actId="1035"/>
          <ac:spMkLst>
            <pc:docMk/>
            <pc:sldMk cId="2318338477" sldId="2147482608"/>
            <ac:spMk id="25" creationId="{3AF7F11E-CC97-D96C-595A-28C6B90225CE}"/>
          </ac:spMkLst>
        </pc:spChg>
        <pc:spChg chg="mod">
          <ac:chgData name="Hess, Christian Johannes" userId="3c21887f-2045-4c66-98d6-7d6208f3a5e9" providerId="ADAL" clId="{98B1D322-169F-4338-94A6-9C75A03E3594}" dt="2025-03-05T16:11:04.807" v="2395" actId="1035"/>
          <ac:spMkLst>
            <pc:docMk/>
            <pc:sldMk cId="2318338477" sldId="2147482608"/>
            <ac:spMk id="26" creationId="{6A581ED3-601C-A044-A72C-7EED9696B2DB}"/>
          </ac:spMkLst>
        </pc:spChg>
        <pc:spChg chg="mod">
          <ac:chgData name="Hess, Christian Johannes" userId="3c21887f-2045-4c66-98d6-7d6208f3a5e9" providerId="ADAL" clId="{98B1D322-169F-4338-94A6-9C75A03E3594}" dt="2025-03-05T16:11:04.807" v="2395" actId="1035"/>
          <ac:spMkLst>
            <pc:docMk/>
            <pc:sldMk cId="2318338477" sldId="2147482608"/>
            <ac:spMk id="28" creationId="{AADF7B53-9E4C-8056-7221-86277A45CD44}"/>
          </ac:spMkLst>
        </pc:spChg>
        <pc:spChg chg="mod">
          <ac:chgData name="Hess, Christian Johannes" userId="3c21887f-2045-4c66-98d6-7d6208f3a5e9" providerId="ADAL" clId="{98B1D322-169F-4338-94A6-9C75A03E3594}" dt="2025-03-05T16:11:04.807" v="2395" actId="1035"/>
          <ac:spMkLst>
            <pc:docMk/>
            <pc:sldMk cId="2318338477" sldId="2147482608"/>
            <ac:spMk id="29" creationId="{FFCD6AA0-DC23-0E27-AE73-415D18660094}"/>
          </ac:spMkLst>
        </pc:spChg>
        <pc:spChg chg="mod">
          <ac:chgData name="Hess, Christian Johannes" userId="3c21887f-2045-4c66-98d6-7d6208f3a5e9" providerId="ADAL" clId="{98B1D322-169F-4338-94A6-9C75A03E3594}" dt="2025-03-05T16:11:04.807" v="2395" actId="1035"/>
          <ac:spMkLst>
            <pc:docMk/>
            <pc:sldMk cId="2318338477" sldId="2147482608"/>
            <ac:spMk id="31" creationId="{223E6373-1FD2-8938-AFF2-CBED861BB861}"/>
          </ac:spMkLst>
        </pc:spChg>
        <pc:spChg chg="mod">
          <ac:chgData name="Hess, Christian Johannes" userId="3c21887f-2045-4c66-98d6-7d6208f3a5e9" providerId="ADAL" clId="{98B1D322-169F-4338-94A6-9C75A03E3594}" dt="2025-03-05T16:11:04.807" v="2395" actId="1035"/>
          <ac:spMkLst>
            <pc:docMk/>
            <pc:sldMk cId="2318338477" sldId="2147482608"/>
            <ac:spMk id="32" creationId="{9828C3F1-4E39-BBB9-603A-D4A23446A554}"/>
          </ac:spMkLst>
        </pc:spChg>
        <pc:spChg chg="mod">
          <ac:chgData name="Hess, Christian Johannes" userId="3c21887f-2045-4c66-98d6-7d6208f3a5e9" providerId="ADAL" clId="{98B1D322-169F-4338-94A6-9C75A03E3594}" dt="2025-03-05T16:11:04.807" v="2395" actId="1035"/>
          <ac:spMkLst>
            <pc:docMk/>
            <pc:sldMk cId="2318338477" sldId="2147482608"/>
            <ac:spMk id="34" creationId="{D4588552-0F6F-D87D-A7FD-8FDCAEBA242F}"/>
          </ac:spMkLst>
        </pc:spChg>
        <pc:spChg chg="mod">
          <ac:chgData name="Hess, Christian Johannes" userId="3c21887f-2045-4c66-98d6-7d6208f3a5e9" providerId="ADAL" clId="{98B1D322-169F-4338-94A6-9C75A03E3594}" dt="2025-03-05T16:11:04.807" v="2395" actId="1035"/>
          <ac:spMkLst>
            <pc:docMk/>
            <pc:sldMk cId="2318338477" sldId="2147482608"/>
            <ac:spMk id="35" creationId="{2E057132-9E88-C186-8B26-2DDE5A5CE540}"/>
          </ac:spMkLst>
        </pc:spChg>
        <pc:spChg chg="mod">
          <ac:chgData name="Hess, Christian Johannes" userId="3c21887f-2045-4c66-98d6-7d6208f3a5e9" providerId="ADAL" clId="{98B1D322-169F-4338-94A6-9C75A03E3594}" dt="2025-03-05T16:11:04.807" v="2395" actId="1035"/>
          <ac:spMkLst>
            <pc:docMk/>
            <pc:sldMk cId="2318338477" sldId="2147482608"/>
            <ac:spMk id="37" creationId="{D3581E4D-BB4A-7910-DCB5-51234CCD2082}"/>
          </ac:spMkLst>
        </pc:spChg>
        <pc:picChg chg="mod">
          <ac:chgData name="Hess, Christian Johannes" userId="3c21887f-2045-4c66-98d6-7d6208f3a5e9" providerId="ADAL" clId="{98B1D322-169F-4338-94A6-9C75A03E3594}" dt="2025-03-05T16:11:04.807" v="2395" actId="1035"/>
          <ac:picMkLst>
            <pc:docMk/>
            <pc:sldMk cId="2318338477" sldId="2147482608"/>
            <ac:picMk id="27" creationId="{2AE81EEC-A368-65BA-2659-B72276E6B438}"/>
          </ac:picMkLst>
        </pc:picChg>
        <pc:picChg chg="mod">
          <ac:chgData name="Hess, Christian Johannes" userId="3c21887f-2045-4c66-98d6-7d6208f3a5e9" providerId="ADAL" clId="{98B1D322-169F-4338-94A6-9C75A03E3594}" dt="2025-03-05T16:11:04.807" v="2395" actId="1035"/>
          <ac:picMkLst>
            <pc:docMk/>
            <pc:sldMk cId="2318338477" sldId="2147482608"/>
            <ac:picMk id="30" creationId="{4542D5A8-C2F4-5219-2AE7-1F45241255FA}"/>
          </ac:picMkLst>
        </pc:picChg>
        <pc:picChg chg="mod">
          <ac:chgData name="Hess, Christian Johannes" userId="3c21887f-2045-4c66-98d6-7d6208f3a5e9" providerId="ADAL" clId="{98B1D322-169F-4338-94A6-9C75A03E3594}" dt="2025-03-05T16:11:04.807" v="2395" actId="1035"/>
          <ac:picMkLst>
            <pc:docMk/>
            <pc:sldMk cId="2318338477" sldId="2147482608"/>
            <ac:picMk id="33" creationId="{7C18BE11-D7B8-70E3-84BB-75CADAC341F5}"/>
          </ac:picMkLst>
        </pc:picChg>
        <pc:picChg chg="mod">
          <ac:chgData name="Hess, Christian Johannes" userId="3c21887f-2045-4c66-98d6-7d6208f3a5e9" providerId="ADAL" clId="{98B1D322-169F-4338-94A6-9C75A03E3594}" dt="2025-03-05T16:11:04.807" v="2395" actId="1035"/>
          <ac:picMkLst>
            <pc:docMk/>
            <pc:sldMk cId="2318338477" sldId="2147482608"/>
            <ac:picMk id="36" creationId="{B4169E5B-0113-B098-F3BF-DC31E0D1D297}"/>
          </ac:picMkLst>
        </pc:picChg>
        <pc:picChg chg="mod">
          <ac:chgData name="Hess, Christian Johannes" userId="3c21887f-2045-4c66-98d6-7d6208f3a5e9" providerId="ADAL" clId="{98B1D322-169F-4338-94A6-9C75A03E3594}" dt="2025-03-05T16:11:04.807" v="2395" actId="1035"/>
          <ac:picMkLst>
            <pc:docMk/>
            <pc:sldMk cId="2318338477" sldId="2147482608"/>
            <ac:picMk id="38" creationId="{129B2E32-C1BF-860D-5D89-ABF78DF54F94}"/>
          </ac:picMkLst>
        </pc:picChg>
        <pc:cxnChg chg="mod">
          <ac:chgData name="Hess, Christian Johannes" userId="3c21887f-2045-4c66-98d6-7d6208f3a5e9" providerId="ADAL" clId="{98B1D322-169F-4338-94A6-9C75A03E3594}" dt="2025-03-05T16:11:04.807" v="2395" actId="1035"/>
          <ac:cxnSpMkLst>
            <pc:docMk/>
            <pc:sldMk cId="2318338477" sldId="2147482608"/>
            <ac:cxnSpMk id="9" creationId="{2F1AD679-3446-0A79-C228-D2E3A9893797}"/>
          </ac:cxnSpMkLst>
        </pc:cxnChg>
        <pc:cxnChg chg="mod">
          <ac:chgData name="Hess, Christian Johannes" userId="3c21887f-2045-4c66-98d6-7d6208f3a5e9" providerId="ADAL" clId="{98B1D322-169F-4338-94A6-9C75A03E3594}" dt="2025-03-05T16:11:04.807" v="2395" actId="1035"/>
          <ac:cxnSpMkLst>
            <pc:docMk/>
            <pc:sldMk cId="2318338477" sldId="2147482608"/>
            <ac:cxnSpMk id="10" creationId="{369B7892-BCCA-04CD-FCF9-9E945B809B7E}"/>
          </ac:cxnSpMkLst>
        </pc:cxnChg>
        <pc:cxnChg chg="mod">
          <ac:chgData name="Hess, Christian Johannes" userId="3c21887f-2045-4c66-98d6-7d6208f3a5e9" providerId="ADAL" clId="{98B1D322-169F-4338-94A6-9C75A03E3594}" dt="2025-03-05T16:11:04.807" v="2395" actId="1035"/>
          <ac:cxnSpMkLst>
            <pc:docMk/>
            <pc:sldMk cId="2318338477" sldId="2147482608"/>
            <ac:cxnSpMk id="11" creationId="{93A8B580-DBC6-BAFE-DCA8-825C65ED17A5}"/>
          </ac:cxnSpMkLst>
        </pc:cxnChg>
        <pc:cxnChg chg="mod">
          <ac:chgData name="Hess, Christian Johannes" userId="3c21887f-2045-4c66-98d6-7d6208f3a5e9" providerId="ADAL" clId="{98B1D322-169F-4338-94A6-9C75A03E3594}" dt="2025-03-05T16:11:04.807" v="2395" actId="1035"/>
          <ac:cxnSpMkLst>
            <pc:docMk/>
            <pc:sldMk cId="2318338477" sldId="2147482608"/>
            <ac:cxnSpMk id="12" creationId="{7C29100F-61B6-D099-8FB7-9534A7BF27A0}"/>
          </ac:cxnSpMkLst>
        </pc:cxnChg>
        <pc:cxnChg chg="mod">
          <ac:chgData name="Hess, Christian Johannes" userId="3c21887f-2045-4c66-98d6-7d6208f3a5e9" providerId="ADAL" clId="{98B1D322-169F-4338-94A6-9C75A03E3594}" dt="2025-03-05T16:11:04.807" v="2395" actId="1035"/>
          <ac:cxnSpMkLst>
            <pc:docMk/>
            <pc:sldMk cId="2318338477" sldId="2147482608"/>
            <ac:cxnSpMk id="13" creationId="{2231C7CB-87EE-41DB-915C-B913F7C77FB1}"/>
          </ac:cxnSpMkLst>
        </pc:cxnChg>
      </pc:sldChg>
      <pc:sldChg chg="modSp mod">
        <pc:chgData name="Hess, Christian Johannes" userId="3c21887f-2045-4c66-98d6-7d6208f3a5e9" providerId="ADAL" clId="{98B1D322-169F-4338-94A6-9C75A03E3594}" dt="2025-03-05T16:09:43.342" v="2299" actId="1035"/>
        <pc:sldMkLst>
          <pc:docMk/>
          <pc:sldMk cId="487561620" sldId="2147482609"/>
        </pc:sldMkLst>
        <pc:spChg chg="mod">
          <ac:chgData name="Hess, Christian Johannes" userId="3c21887f-2045-4c66-98d6-7d6208f3a5e9" providerId="ADAL" clId="{98B1D322-169F-4338-94A6-9C75A03E3594}" dt="2025-03-05T15:18:26.179" v="730" actId="20577"/>
          <ac:spMkLst>
            <pc:docMk/>
            <pc:sldMk cId="487561620" sldId="2147482609"/>
            <ac:spMk id="16" creationId="{71A9303A-95BB-D9FE-B177-D109E8E0F339}"/>
          </ac:spMkLst>
        </pc:spChg>
        <pc:spChg chg="mod">
          <ac:chgData name="Hess, Christian Johannes" userId="3c21887f-2045-4c66-98d6-7d6208f3a5e9" providerId="ADAL" clId="{98B1D322-169F-4338-94A6-9C75A03E3594}" dt="2025-03-05T15:17:48.308" v="701" actId="113"/>
          <ac:spMkLst>
            <pc:docMk/>
            <pc:sldMk cId="487561620" sldId="2147482609"/>
            <ac:spMk id="19" creationId="{D8CE7914-CBBC-5E99-3C4E-C5765617CC71}"/>
          </ac:spMkLst>
        </pc:spChg>
        <pc:spChg chg="mod">
          <ac:chgData name="Hess, Christian Johannes" userId="3c21887f-2045-4c66-98d6-7d6208f3a5e9" providerId="ADAL" clId="{98B1D322-169F-4338-94A6-9C75A03E3594}" dt="2025-03-05T16:08:37.762" v="2215"/>
          <ac:spMkLst>
            <pc:docMk/>
            <pc:sldMk cId="487561620" sldId="2147482609"/>
            <ac:spMk id="22" creationId="{24A8C74C-491F-3135-9168-31168889F6C2}"/>
          </ac:spMkLst>
        </pc:spChg>
        <pc:spChg chg="mod">
          <ac:chgData name="Hess, Christian Johannes" userId="3c21887f-2045-4c66-98d6-7d6208f3a5e9" providerId="ADAL" clId="{98B1D322-169F-4338-94A6-9C75A03E3594}" dt="2025-03-05T16:09:43.342" v="2299" actId="1035"/>
          <ac:spMkLst>
            <pc:docMk/>
            <pc:sldMk cId="487561620" sldId="2147482609"/>
            <ac:spMk id="23" creationId="{3195ABAB-67CE-F714-1604-528A4C8CEAA4}"/>
          </ac:spMkLst>
        </pc:spChg>
        <pc:spChg chg="mod">
          <ac:chgData name="Hess, Christian Johannes" userId="3c21887f-2045-4c66-98d6-7d6208f3a5e9" providerId="ADAL" clId="{98B1D322-169F-4338-94A6-9C75A03E3594}" dt="2025-03-05T16:09:43.342" v="2299" actId="1035"/>
          <ac:spMkLst>
            <pc:docMk/>
            <pc:sldMk cId="487561620" sldId="2147482609"/>
            <ac:spMk id="25" creationId="{3AF7F11E-CC97-D96C-595A-28C6B90225CE}"/>
          </ac:spMkLst>
        </pc:spChg>
        <pc:spChg chg="mod">
          <ac:chgData name="Hess, Christian Johannes" userId="3c21887f-2045-4c66-98d6-7d6208f3a5e9" providerId="ADAL" clId="{98B1D322-169F-4338-94A6-9C75A03E3594}" dt="2025-03-05T16:09:43.342" v="2299" actId="1035"/>
          <ac:spMkLst>
            <pc:docMk/>
            <pc:sldMk cId="487561620" sldId="2147482609"/>
            <ac:spMk id="26" creationId="{6A581ED3-601C-A044-A72C-7EED9696B2DB}"/>
          </ac:spMkLst>
        </pc:spChg>
        <pc:spChg chg="mod">
          <ac:chgData name="Hess, Christian Johannes" userId="3c21887f-2045-4c66-98d6-7d6208f3a5e9" providerId="ADAL" clId="{98B1D322-169F-4338-94A6-9C75A03E3594}" dt="2025-03-05T16:09:43.342" v="2299" actId="1035"/>
          <ac:spMkLst>
            <pc:docMk/>
            <pc:sldMk cId="487561620" sldId="2147482609"/>
            <ac:spMk id="28" creationId="{AADF7B53-9E4C-8056-7221-86277A45CD44}"/>
          </ac:spMkLst>
        </pc:spChg>
        <pc:spChg chg="mod">
          <ac:chgData name="Hess, Christian Johannes" userId="3c21887f-2045-4c66-98d6-7d6208f3a5e9" providerId="ADAL" clId="{98B1D322-169F-4338-94A6-9C75A03E3594}" dt="2025-03-05T16:09:43.342" v="2299" actId="1035"/>
          <ac:spMkLst>
            <pc:docMk/>
            <pc:sldMk cId="487561620" sldId="2147482609"/>
            <ac:spMk id="29" creationId="{FFCD6AA0-DC23-0E27-AE73-415D18660094}"/>
          </ac:spMkLst>
        </pc:spChg>
        <pc:spChg chg="mod">
          <ac:chgData name="Hess, Christian Johannes" userId="3c21887f-2045-4c66-98d6-7d6208f3a5e9" providerId="ADAL" clId="{98B1D322-169F-4338-94A6-9C75A03E3594}" dt="2025-03-05T16:09:43.342" v="2299" actId="1035"/>
          <ac:spMkLst>
            <pc:docMk/>
            <pc:sldMk cId="487561620" sldId="2147482609"/>
            <ac:spMk id="31" creationId="{223E6373-1FD2-8938-AFF2-CBED861BB861}"/>
          </ac:spMkLst>
        </pc:spChg>
        <pc:spChg chg="mod">
          <ac:chgData name="Hess, Christian Johannes" userId="3c21887f-2045-4c66-98d6-7d6208f3a5e9" providerId="ADAL" clId="{98B1D322-169F-4338-94A6-9C75A03E3594}" dt="2025-03-05T16:09:43.342" v="2299" actId="1035"/>
          <ac:spMkLst>
            <pc:docMk/>
            <pc:sldMk cId="487561620" sldId="2147482609"/>
            <ac:spMk id="32" creationId="{9828C3F1-4E39-BBB9-603A-D4A23446A554}"/>
          </ac:spMkLst>
        </pc:spChg>
        <pc:spChg chg="mod">
          <ac:chgData name="Hess, Christian Johannes" userId="3c21887f-2045-4c66-98d6-7d6208f3a5e9" providerId="ADAL" clId="{98B1D322-169F-4338-94A6-9C75A03E3594}" dt="2025-03-05T16:09:43.342" v="2299" actId="1035"/>
          <ac:spMkLst>
            <pc:docMk/>
            <pc:sldMk cId="487561620" sldId="2147482609"/>
            <ac:spMk id="34" creationId="{D4588552-0F6F-D87D-A7FD-8FDCAEBA242F}"/>
          </ac:spMkLst>
        </pc:spChg>
        <pc:spChg chg="mod">
          <ac:chgData name="Hess, Christian Johannes" userId="3c21887f-2045-4c66-98d6-7d6208f3a5e9" providerId="ADAL" clId="{98B1D322-169F-4338-94A6-9C75A03E3594}" dt="2025-03-05T16:09:43.342" v="2299" actId="1035"/>
          <ac:spMkLst>
            <pc:docMk/>
            <pc:sldMk cId="487561620" sldId="2147482609"/>
            <ac:spMk id="35" creationId="{2E057132-9E88-C186-8B26-2DDE5A5CE540}"/>
          </ac:spMkLst>
        </pc:spChg>
        <pc:spChg chg="mod">
          <ac:chgData name="Hess, Christian Johannes" userId="3c21887f-2045-4c66-98d6-7d6208f3a5e9" providerId="ADAL" clId="{98B1D322-169F-4338-94A6-9C75A03E3594}" dt="2025-03-05T16:09:43.342" v="2299" actId="1035"/>
          <ac:spMkLst>
            <pc:docMk/>
            <pc:sldMk cId="487561620" sldId="2147482609"/>
            <ac:spMk id="37" creationId="{D3581E4D-BB4A-7910-DCB5-51234CCD2082}"/>
          </ac:spMkLst>
        </pc:spChg>
        <pc:graphicFrameChg chg="mod">
          <ac:chgData name="Hess, Christian Johannes" userId="3c21887f-2045-4c66-98d6-7d6208f3a5e9" providerId="ADAL" clId="{98B1D322-169F-4338-94A6-9C75A03E3594}" dt="2025-03-05T16:09:22.649" v="2277"/>
          <ac:graphicFrameMkLst>
            <pc:docMk/>
            <pc:sldMk cId="487561620" sldId="2147482609"/>
            <ac:graphicFrameMk id="5" creationId="{CC7C828D-2E2C-DD0E-5063-4C014F29512E}"/>
          </ac:graphicFrameMkLst>
        </pc:graphicFrameChg>
        <pc:picChg chg="mod">
          <ac:chgData name="Hess, Christian Johannes" userId="3c21887f-2045-4c66-98d6-7d6208f3a5e9" providerId="ADAL" clId="{98B1D322-169F-4338-94A6-9C75A03E3594}" dt="2025-03-05T16:09:43.342" v="2299" actId="1035"/>
          <ac:picMkLst>
            <pc:docMk/>
            <pc:sldMk cId="487561620" sldId="2147482609"/>
            <ac:picMk id="24" creationId="{6F3D301C-8343-1C69-C732-B06DFE954F1C}"/>
          </ac:picMkLst>
        </pc:picChg>
        <pc:picChg chg="mod">
          <ac:chgData name="Hess, Christian Johannes" userId="3c21887f-2045-4c66-98d6-7d6208f3a5e9" providerId="ADAL" clId="{98B1D322-169F-4338-94A6-9C75A03E3594}" dt="2025-03-05T16:09:43.342" v="2299" actId="1035"/>
          <ac:picMkLst>
            <pc:docMk/>
            <pc:sldMk cId="487561620" sldId="2147482609"/>
            <ac:picMk id="27" creationId="{A9CB637F-DEDA-B988-53FD-33DAAE573BF6}"/>
          </ac:picMkLst>
        </pc:picChg>
        <pc:picChg chg="mod">
          <ac:chgData name="Hess, Christian Johannes" userId="3c21887f-2045-4c66-98d6-7d6208f3a5e9" providerId="ADAL" clId="{98B1D322-169F-4338-94A6-9C75A03E3594}" dt="2025-03-05T16:09:43.342" v="2299" actId="1035"/>
          <ac:picMkLst>
            <pc:docMk/>
            <pc:sldMk cId="487561620" sldId="2147482609"/>
            <ac:picMk id="33" creationId="{3BAA84F1-ED67-E3EF-72F2-AF981AA4BEFF}"/>
          </ac:picMkLst>
        </pc:picChg>
        <pc:picChg chg="mod">
          <ac:chgData name="Hess, Christian Johannes" userId="3c21887f-2045-4c66-98d6-7d6208f3a5e9" providerId="ADAL" clId="{98B1D322-169F-4338-94A6-9C75A03E3594}" dt="2025-03-05T16:09:43.342" v="2299" actId="1035"/>
          <ac:picMkLst>
            <pc:docMk/>
            <pc:sldMk cId="487561620" sldId="2147482609"/>
            <ac:picMk id="36" creationId="{A93C7C6D-CC61-82C7-B529-5D6D9F888A48}"/>
          </ac:picMkLst>
        </pc:picChg>
        <pc:picChg chg="mod">
          <ac:chgData name="Hess, Christian Johannes" userId="3c21887f-2045-4c66-98d6-7d6208f3a5e9" providerId="ADAL" clId="{98B1D322-169F-4338-94A6-9C75A03E3594}" dt="2025-03-05T16:09:43.342" v="2299" actId="1035"/>
          <ac:picMkLst>
            <pc:docMk/>
            <pc:sldMk cId="487561620" sldId="2147482609"/>
            <ac:picMk id="38" creationId="{07845421-C0F4-5420-BDDE-42C093A49022}"/>
          </ac:picMkLst>
        </pc:picChg>
        <pc:cxnChg chg="mod">
          <ac:chgData name="Hess, Christian Johannes" userId="3c21887f-2045-4c66-98d6-7d6208f3a5e9" providerId="ADAL" clId="{98B1D322-169F-4338-94A6-9C75A03E3594}" dt="2025-03-05T16:09:43.342" v="2299" actId="1035"/>
          <ac:cxnSpMkLst>
            <pc:docMk/>
            <pc:sldMk cId="487561620" sldId="2147482609"/>
            <ac:cxnSpMk id="9" creationId="{2F1AD679-3446-0A79-C228-D2E3A9893797}"/>
          </ac:cxnSpMkLst>
        </pc:cxnChg>
        <pc:cxnChg chg="mod">
          <ac:chgData name="Hess, Christian Johannes" userId="3c21887f-2045-4c66-98d6-7d6208f3a5e9" providerId="ADAL" clId="{98B1D322-169F-4338-94A6-9C75A03E3594}" dt="2025-03-05T16:09:43.342" v="2299" actId="1035"/>
          <ac:cxnSpMkLst>
            <pc:docMk/>
            <pc:sldMk cId="487561620" sldId="2147482609"/>
            <ac:cxnSpMk id="10" creationId="{369B7892-BCCA-04CD-FCF9-9E945B809B7E}"/>
          </ac:cxnSpMkLst>
        </pc:cxnChg>
        <pc:cxnChg chg="mod">
          <ac:chgData name="Hess, Christian Johannes" userId="3c21887f-2045-4c66-98d6-7d6208f3a5e9" providerId="ADAL" clId="{98B1D322-169F-4338-94A6-9C75A03E3594}" dt="2025-03-05T16:09:43.342" v="2299" actId="1035"/>
          <ac:cxnSpMkLst>
            <pc:docMk/>
            <pc:sldMk cId="487561620" sldId="2147482609"/>
            <ac:cxnSpMk id="11" creationId="{93A8B580-DBC6-BAFE-DCA8-825C65ED17A5}"/>
          </ac:cxnSpMkLst>
        </pc:cxnChg>
        <pc:cxnChg chg="mod">
          <ac:chgData name="Hess, Christian Johannes" userId="3c21887f-2045-4c66-98d6-7d6208f3a5e9" providerId="ADAL" clId="{98B1D322-169F-4338-94A6-9C75A03E3594}" dt="2025-03-05T16:09:43.342" v="2299" actId="1035"/>
          <ac:cxnSpMkLst>
            <pc:docMk/>
            <pc:sldMk cId="487561620" sldId="2147482609"/>
            <ac:cxnSpMk id="12" creationId="{7C29100F-61B6-D099-8FB7-9534A7BF27A0}"/>
          </ac:cxnSpMkLst>
        </pc:cxnChg>
        <pc:cxnChg chg="mod">
          <ac:chgData name="Hess, Christian Johannes" userId="3c21887f-2045-4c66-98d6-7d6208f3a5e9" providerId="ADAL" clId="{98B1D322-169F-4338-94A6-9C75A03E3594}" dt="2025-03-05T16:09:43.342" v="2299" actId="1035"/>
          <ac:cxnSpMkLst>
            <pc:docMk/>
            <pc:sldMk cId="487561620" sldId="2147482609"/>
            <ac:cxnSpMk id="13" creationId="{2231C7CB-87EE-41DB-915C-B913F7C77FB1}"/>
          </ac:cxnSpMkLst>
        </pc:cxnChg>
      </pc:sldChg>
      <pc:sldChg chg="modSp mod">
        <pc:chgData name="Hess, Christian Johannes" userId="3c21887f-2045-4c66-98d6-7d6208f3a5e9" providerId="ADAL" clId="{98B1D322-169F-4338-94A6-9C75A03E3594}" dt="2025-03-05T16:08:23.010" v="2203" actId="1035"/>
        <pc:sldMkLst>
          <pc:docMk/>
          <pc:sldMk cId="1987510105" sldId="2147482610"/>
        </pc:sldMkLst>
        <pc:spChg chg="mod">
          <ac:chgData name="Hess, Christian Johannes" userId="3c21887f-2045-4c66-98d6-7d6208f3a5e9" providerId="ADAL" clId="{98B1D322-169F-4338-94A6-9C75A03E3594}" dt="2025-03-05T15:01:41.529" v="666" actId="20577"/>
          <ac:spMkLst>
            <pc:docMk/>
            <pc:sldMk cId="1987510105" sldId="2147482610"/>
            <ac:spMk id="16" creationId="{71A9303A-95BB-D9FE-B177-D109E8E0F339}"/>
          </ac:spMkLst>
        </pc:spChg>
        <pc:spChg chg="mod">
          <ac:chgData name="Hess, Christian Johannes" userId="3c21887f-2045-4c66-98d6-7d6208f3a5e9" providerId="ADAL" clId="{98B1D322-169F-4338-94A6-9C75A03E3594}" dt="2025-03-05T16:07:46.692" v="2149"/>
          <ac:spMkLst>
            <pc:docMk/>
            <pc:sldMk cId="1987510105" sldId="2147482610"/>
            <ac:spMk id="22" creationId="{24A8C74C-491F-3135-9168-31168889F6C2}"/>
          </ac:spMkLst>
        </pc:spChg>
        <pc:spChg chg="mod">
          <ac:chgData name="Hess, Christian Johannes" userId="3c21887f-2045-4c66-98d6-7d6208f3a5e9" providerId="ADAL" clId="{98B1D322-169F-4338-94A6-9C75A03E3594}" dt="2025-03-05T15:01:06.444" v="644" actId="1036"/>
          <ac:spMkLst>
            <pc:docMk/>
            <pc:sldMk cId="1987510105" sldId="2147482610"/>
            <ac:spMk id="23" creationId="{3195ABAB-67CE-F714-1604-528A4C8CEAA4}"/>
          </ac:spMkLst>
        </pc:spChg>
        <pc:spChg chg="mod">
          <ac:chgData name="Hess, Christian Johannes" userId="3c21887f-2045-4c66-98d6-7d6208f3a5e9" providerId="ADAL" clId="{98B1D322-169F-4338-94A6-9C75A03E3594}" dt="2025-03-05T16:07:53.972" v="2161"/>
          <ac:spMkLst>
            <pc:docMk/>
            <pc:sldMk cId="1987510105" sldId="2147482610"/>
            <ac:spMk id="25" creationId="{3AF7F11E-CC97-D96C-595A-28C6B90225CE}"/>
          </ac:spMkLst>
        </pc:spChg>
        <pc:spChg chg="mod">
          <ac:chgData name="Hess, Christian Johannes" userId="3c21887f-2045-4c66-98d6-7d6208f3a5e9" providerId="ADAL" clId="{98B1D322-169F-4338-94A6-9C75A03E3594}" dt="2025-03-05T16:08:16.306" v="2194" actId="1035"/>
          <ac:spMkLst>
            <pc:docMk/>
            <pc:sldMk cId="1987510105" sldId="2147482610"/>
            <ac:spMk id="29" creationId="{FFCD6AA0-DC23-0E27-AE73-415D18660094}"/>
          </ac:spMkLst>
        </pc:spChg>
        <pc:spChg chg="mod">
          <ac:chgData name="Hess, Christian Johannes" userId="3c21887f-2045-4c66-98d6-7d6208f3a5e9" providerId="ADAL" clId="{98B1D322-169F-4338-94A6-9C75A03E3594}" dt="2025-03-05T16:08:16.306" v="2194" actId="1035"/>
          <ac:spMkLst>
            <pc:docMk/>
            <pc:sldMk cId="1987510105" sldId="2147482610"/>
            <ac:spMk id="31" creationId="{223E6373-1FD2-8938-AFF2-CBED861BB861}"/>
          </ac:spMkLst>
        </pc:spChg>
        <pc:spChg chg="mod">
          <ac:chgData name="Hess, Christian Johannes" userId="3c21887f-2045-4c66-98d6-7d6208f3a5e9" providerId="ADAL" clId="{98B1D322-169F-4338-94A6-9C75A03E3594}" dt="2025-03-05T16:08:23.010" v="2203" actId="1035"/>
          <ac:spMkLst>
            <pc:docMk/>
            <pc:sldMk cId="1987510105" sldId="2147482610"/>
            <ac:spMk id="35" creationId="{2E057132-9E88-C186-8B26-2DDE5A5CE540}"/>
          </ac:spMkLst>
        </pc:spChg>
        <pc:spChg chg="mod">
          <ac:chgData name="Hess, Christian Johannes" userId="3c21887f-2045-4c66-98d6-7d6208f3a5e9" providerId="ADAL" clId="{98B1D322-169F-4338-94A6-9C75A03E3594}" dt="2025-03-05T16:08:23.010" v="2203" actId="1035"/>
          <ac:spMkLst>
            <pc:docMk/>
            <pc:sldMk cId="1987510105" sldId="2147482610"/>
            <ac:spMk id="37" creationId="{D3581E4D-BB4A-7910-DCB5-51234CCD2082}"/>
          </ac:spMkLst>
        </pc:spChg>
        <pc:picChg chg="mod">
          <ac:chgData name="Hess, Christian Johannes" userId="3c21887f-2045-4c66-98d6-7d6208f3a5e9" providerId="ADAL" clId="{98B1D322-169F-4338-94A6-9C75A03E3594}" dt="2025-03-05T15:01:06.444" v="644" actId="1036"/>
          <ac:picMkLst>
            <pc:docMk/>
            <pc:sldMk cId="1987510105" sldId="2147482610"/>
            <ac:picMk id="30" creationId="{CBA24954-6D3D-B2BA-895D-746CEC9B0DF6}"/>
          </ac:picMkLst>
        </pc:picChg>
        <pc:picChg chg="mod">
          <ac:chgData name="Hess, Christian Johannes" userId="3c21887f-2045-4c66-98d6-7d6208f3a5e9" providerId="ADAL" clId="{98B1D322-169F-4338-94A6-9C75A03E3594}" dt="2025-03-05T16:08:16.306" v="2194" actId="1035"/>
          <ac:picMkLst>
            <pc:docMk/>
            <pc:sldMk cId="1987510105" sldId="2147482610"/>
            <ac:picMk id="33" creationId="{172F917B-E084-141F-26A1-3641E839967B}"/>
          </ac:picMkLst>
        </pc:picChg>
        <pc:picChg chg="mod">
          <ac:chgData name="Hess, Christian Johannes" userId="3c21887f-2045-4c66-98d6-7d6208f3a5e9" providerId="ADAL" clId="{98B1D322-169F-4338-94A6-9C75A03E3594}" dt="2025-03-05T16:08:23.010" v="2203" actId="1035"/>
          <ac:picMkLst>
            <pc:docMk/>
            <pc:sldMk cId="1987510105" sldId="2147482610"/>
            <ac:picMk id="36" creationId="{E0484327-2F12-292A-554B-3F13F2F15AA7}"/>
          </ac:picMkLst>
        </pc:picChg>
        <pc:cxnChg chg="mod">
          <ac:chgData name="Hess, Christian Johannes" userId="3c21887f-2045-4c66-98d6-7d6208f3a5e9" providerId="ADAL" clId="{98B1D322-169F-4338-94A6-9C75A03E3594}" dt="2025-03-05T16:08:23.010" v="2203" actId="1035"/>
          <ac:cxnSpMkLst>
            <pc:docMk/>
            <pc:sldMk cId="1987510105" sldId="2147482610"/>
            <ac:cxnSpMk id="9" creationId="{2F1AD679-3446-0A79-C228-D2E3A9893797}"/>
          </ac:cxnSpMkLst>
        </pc:cxnChg>
        <pc:cxnChg chg="mod">
          <ac:chgData name="Hess, Christian Johannes" userId="3c21887f-2045-4c66-98d6-7d6208f3a5e9" providerId="ADAL" clId="{98B1D322-169F-4338-94A6-9C75A03E3594}" dt="2025-03-05T16:08:16.306" v="2194" actId="1035"/>
          <ac:cxnSpMkLst>
            <pc:docMk/>
            <pc:sldMk cId="1987510105" sldId="2147482610"/>
            <ac:cxnSpMk id="11" creationId="{93A8B580-DBC6-BAFE-DCA8-825C65ED17A5}"/>
          </ac:cxnSpMkLst>
        </pc:cxnChg>
        <pc:cxnChg chg="mod">
          <ac:chgData name="Hess, Christian Johannes" userId="3c21887f-2045-4c66-98d6-7d6208f3a5e9" providerId="ADAL" clId="{98B1D322-169F-4338-94A6-9C75A03E3594}" dt="2025-03-05T15:01:06.444" v="644" actId="1036"/>
          <ac:cxnSpMkLst>
            <pc:docMk/>
            <pc:sldMk cId="1987510105" sldId="2147482610"/>
            <ac:cxnSpMk id="13" creationId="{2231C7CB-87EE-41DB-915C-B913F7C77FB1}"/>
          </ac:cxnSpMkLst>
        </pc:cxnChg>
      </pc:sldChg>
      <pc:sldChg chg="modSp mod">
        <pc:chgData name="Hess, Christian Johannes" userId="3c21887f-2045-4c66-98d6-7d6208f3a5e9" providerId="ADAL" clId="{98B1D322-169F-4338-94A6-9C75A03E3594}" dt="2025-03-05T16:07:33.751" v="2137" actId="1035"/>
        <pc:sldMkLst>
          <pc:docMk/>
          <pc:sldMk cId="962060765" sldId="2147482611"/>
        </pc:sldMkLst>
        <pc:spChg chg="mod">
          <ac:chgData name="Hess, Christian Johannes" userId="3c21887f-2045-4c66-98d6-7d6208f3a5e9" providerId="ADAL" clId="{98B1D322-169F-4338-94A6-9C75A03E3594}" dt="2025-03-05T15:03:05.871" v="699" actId="20577"/>
          <ac:spMkLst>
            <pc:docMk/>
            <pc:sldMk cId="962060765" sldId="2147482611"/>
            <ac:spMk id="16" creationId="{71A9303A-95BB-D9FE-B177-D109E8E0F339}"/>
          </ac:spMkLst>
        </pc:spChg>
        <pc:spChg chg="mod">
          <ac:chgData name="Hess, Christian Johannes" userId="3c21887f-2045-4c66-98d6-7d6208f3a5e9" providerId="ADAL" clId="{98B1D322-169F-4338-94A6-9C75A03E3594}" dt="2025-03-05T16:06:43.720" v="2062"/>
          <ac:spMkLst>
            <pc:docMk/>
            <pc:sldMk cId="962060765" sldId="2147482611"/>
            <ac:spMk id="22" creationId="{24A8C74C-491F-3135-9168-31168889F6C2}"/>
          </ac:spMkLst>
        </pc:spChg>
        <pc:spChg chg="mod">
          <ac:chgData name="Hess, Christian Johannes" userId="3c21887f-2045-4c66-98d6-7d6208f3a5e9" providerId="ADAL" clId="{98B1D322-169F-4338-94A6-9C75A03E3594}" dt="2025-03-05T16:07:33.751" v="2137" actId="1035"/>
          <ac:spMkLst>
            <pc:docMk/>
            <pc:sldMk cId="962060765" sldId="2147482611"/>
            <ac:spMk id="23" creationId="{3195ABAB-67CE-F714-1604-528A4C8CEAA4}"/>
          </ac:spMkLst>
        </pc:spChg>
        <pc:spChg chg="mod">
          <ac:chgData name="Hess, Christian Johannes" userId="3c21887f-2045-4c66-98d6-7d6208f3a5e9" providerId="ADAL" clId="{98B1D322-169F-4338-94A6-9C75A03E3594}" dt="2025-03-05T16:07:33.751" v="2137" actId="1035"/>
          <ac:spMkLst>
            <pc:docMk/>
            <pc:sldMk cId="962060765" sldId="2147482611"/>
            <ac:spMk id="25" creationId="{3AF7F11E-CC97-D96C-595A-28C6B90225CE}"/>
          </ac:spMkLst>
        </pc:spChg>
        <pc:spChg chg="mod">
          <ac:chgData name="Hess, Christian Johannes" userId="3c21887f-2045-4c66-98d6-7d6208f3a5e9" providerId="ADAL" clId="{98B1D322-169F-4338-94A6-9C75A03E3594}" dt="2025-03-05T16:07:33.751" v="2137" actId="1035"/>
          <ac:spMkLst>
            <pc:docMk/>
            <pc:sldMk cId="962060765" sldId="2147482611"/>
            <ac:spMk id="26" creationId="{6A581ED3-601C-A044-A72C-7EED9696B2DB}"/>
          </ac:spMkLst>
        </pc:spChg>
        <pc:spChg chg="mod">
          <ac:chgData name="Hess, Christian Johannes" userId="3c21887f-2045-4c66-98d6-7d6208f3a5e9" providerId="ADAL" clId="{98B1D322-169F-4338-94A6-9C75A03E3594}" dt="2025-03-05T16:07:33.751" v="2137" actId="1035"/>
          <ac:spMkLst>
            <pc:docMk/>
            <pc:sldMk cId="962060765" sldId="2147482611"/>
            <ac:spMk id="28" creationId="{AADF7B53-9E4C-8056-7221-86277A45CD44}"/>
          </ac:spMkLst>
        </pc:spChg>
        <pc:spChg chg="mod">
          <ac:chgData name="Hess, Christian Johannes" userId="3c21887f-2045-4c66-98d6-7d6208f3a5e9" providerId="ADAL" clId="{98B1D322-169F-4338-94A6-9C75A03E3594}" dt="2025-03-05T16:07:33.751" v="2137" actId="1035"/>
          <ac:spMkLst>
            <pc:docMk/>
            <pc:sldMk cId="962060765" sldId="2147482611"/>
            <ac:spMk id="29" creationId="{FFCD6AA0-DC23-0E27-AE73-415D18660094}"/>
          </ac:spMkLst>
        </pc:spChg>
        <pc:spChg chg="mod">
          <ac:chgData name="Hess, Christian Johannes" userId="3c21887f-2045-4c66-98d6-7d6208f3a5e9" providerId="ADAL" clId="{98B1D322-169F-4338-94A6-9C75A03E3594}" dt="2025-03-05T16:07:33.751" v="2137" actId="1035"/>
          <ac:spMkLst>
            <pc:docMk/>
            <pc:sldMk cId="962060765" sldId="2147482611"/>
            <ac:spMk id="31" creationId="{223E6373-1FD2-8938-AFF2-CBED861BB861}"/>
          </ac:spMkLst>
        </pc:spChg>
        <pc:spChg chg="mod">
          <ac:chgData name="Hess, Christian Johannes" userId="3c21887f-2045-4c66-98d6-7d6208f3a5e9" providerId="ADAL" clId="{98B1D322-169F-4338-94A6-9C75A03E3594}" dt="2025-03-05T16:07:33.751" v="2137" actId="1035"/>
          <ac:spMkLst>
            <pc:docMk/>
            <pc:sldMk cId="962060765" sldId="2147482611"/>
            <ac:spMk id="32" creationId="{9828C3F1-4E39-BBB9-603A-D4A23446A554}"/>
          </ac:spMkLst>
        </pc:spChg>
        <pc:spChg chg="mod">
          <ac:chgData name="Hess, Christian Johannes" userId="3c21887f-2045-4c66-98d6-7d6208f3a5e9" providerId="ADAL" clId="{98B1D322-169F-4338-94A6-9C75A03E3594}" dt="2025-03-05T16:07:33.751" v="2137" actId="1035"/>
          <ac:spMkLst>
            <pc:docMk/>
            <pc:sldMk cId="962060765" sldId="2147482611"/>
            <ac:spMk id="34" creationId="{D4588552-0F6F-D87D-A7FD-8FDCAEBA242F}"/>
          </ac:spMkLst>
        </pc:spChg>
        <pc:spChg chg="mod">
          <ac:chgData name="Hess, Christian Johannes" userId="3c21887f-2045-4c66-98d6-7d6208f3a5e9" providerId="ADAL" clId="{98B1D322-169F-4338-94A6-9C75A03E3594}" dt="2025-03-05T16:07:33.751" v="2137" actId="1035"/>
          <ac:spMkLst>
            <pc:docMk/>
            <pc:sldMk cId="962060765" sldId="2147482611"/>
            <ac:spMk id="35" creationId="{2E057132-9E88-C186-8B26-2DDE5A5CE540}"/>
          </ac:spMkLst>
        </pc:spChg>
        <pc:spChg chg="mod">
          <ac:chgData name="Hess, Christian Johannes" userId="3c21887f-2045-4c66-98d6-7d6208f3a5e9" providerId="ADAL" clId="{98B1D322-169F-4338-94A6-9C75A03E3594}" dt="2025-03-05T16:07:33.751" v="2137" actId="1035"/>
          <ac:spMkLst>
            <pc:docMk/>
            <pc:sldMk cId="962060765" sldId="2147482611"/>
            <ac:spMk id="37" creationId="{D3581E4D-BB4A-7910-DCB5-51234CCD2082}"/>
          </ac:spMkLst>
        </pc:spChg>
        <pc:picChg chg="mod">
          <ac:chgData name="Hess, Christian Johannes" userId="3c21887f-2045-4c66-98d6-7d6208f3a5e9" providerId="ADAL" clId="{98B1D322-169F-4338-94A6-9C75A03E3594}" dt="2025-03-05T16:07:33.751" v="2137" actId="1035"/>
          <ac:picMkLst>
            <pc:docMk/>
            <pc:sldMk cId="962060765" sldId="2147482611"/>
            <ac:picMk id="24" creationId="{48FFF2B7-AF21-034A-2787-6BBCB3E39412}"/>
          </ac:picMkLst>
        </pc:picChg>
        <pc:picChg chg="mod">
          <ac:chgData name="Hess, Christian Johannes" userId="3c21887f-2045-4c66-98d6-7d6208f3a5e9" providerId="ADAL" clId="{98B1D322-169F-4338-94A6-9C75A03E3594}" dt="2025-03-05T16:07:33.751" v="2137" actId="1035"/>
          <ac:picMkLst>
            <pc:docMk/>
            <pc:sldMk cId="962060765" sldId="2147482611"/>
            <ac:picMk id="27" creationId="{8B2418D4-2C52-CE7A-77A5-4015C8EBB3B3}"/>
          </ac:picMkLst>
        </pc:picChg>
        <pc:picChg chg="mod">
          <ac:chgData name="Hess, Christian Johannes" userId="3c21887f-2045-4c66-98d6-7d6208f3a5e9" providerId="ADAL" clId="{98B1D322-169F-4338-94A6-9C75A03E3594}" dt="2025-03-05T16:07:33.751" v="2137" actId="1035"/>
          <ac:picMkLst>
            <pc:docMk/>
            <pc:sldMk cId="962060765" sldId="2147482611"/>
            <ac:picMk id="30" creationId="{2DD30F01-3EBB-BFBB-B77E-A110278FA381}"/>
          </ac:picMkLst>
        </pc:picChg>
        <pc:picChg chg="mod">
          <ac:chgData name="Hess, Christian Johannes" userId="3c21887f-2045-4c66-98d6-7d6208f3a5e9" providerId="ADAL" clId="{98B1D322-169F-4338-94A6-9C75A03E3594}" dt="2025-03-05T16:07:33.751" v="2137" actId="1035"/>
          <ac:picMkLst>
            <pc:docMk/>
            <pc:sldMk cId="962060765" sldId="2147482611"/>
            <ac:picMk id="33" creationId="{A8A138DD-5958-34B9-8501-27DD4F100757}"/>
          </ac:picMkLst>
        </pc:picChg>
        <pc:picChg chg="mod">
          <ac:chgData name="Hess, Christian Johannes" userId="3c21887f-2045-4c66-98d6-7d6208f3a5e9" providerId="ADAL" clId="{98B1D322-169F-4338-94A6-9C75A03E3594}" dt="2025-03-05T16:07:33.751" v="2137" actId="1035"/>
          <ac:picMkLst>
            <pc:docMk/>
            <pc:sldMk cId="962060765" sldId="2147482611"/>
            <ac:picMk id="36" creationId="{4156E7C5-DE52-CAA4-AFA1-B143EE3A0BB3}"/>
          </ac:picMkLst>
        </pc:picChg>
        <pc:cxnChg chg="mod">
          <ac:chgData name="Hess, Christian Johannes" userId="3c21887f-2045-4c66-98d6-7d6208f3a5e9" providerId="ADAL" clId="{98B1D322-169F-4338-94A6-9C75A03E3594}" dt="2025-03-05T16:07:33.751" v="2137" actId="1035"/>
          <ac:cxnSpMkLst>
            <pc:docMk/>
            <pc:sldMk cId="962060765" sldId="2147482611"/>
            <ac:cxnSpMk id="9" creationId="{2F1AD679-3446-0A79-C228-D2E3A9893797}"/>
          </ac:cxnSpMkLst>
        </pc:cxnChg>
        <pc:cxnChg chg="mod">
          <ac:chgData name="Hess, Christian Johannes" userId="3c21887f-2045-4c66-98d6-7d6208f3a5e9" providerId="ADAL" clId="{98B1D322-169F-4338-94A6-9C75A03E3594}" dt="2025-03-05T16:07:33.751" v="2137" actId="1035"/>
          <ac:cxnSpMkLst>
            <pc:docMk/>
            <pc:sldMk cId="962060765" sldId="2147482611"/>
            <ac:cxnSpMk id="10" creationId="{369B7892-BCCA-04CD-FCF9-9E945B809B7E}"/>
          </ac:cxnSpMkLst>
        </pc:cxnChg>
        <pc:cxnChg chg="mod">
          <ac:chgData name="Hess, Christian Johannes" userId="3c21887f-2045-4c66-98d6-7d6208f3a5e9" providerId="ADAL" clId="{98B1D322-169F-4338-94A6-9C75A03E3594}" dt="2025-03-05T16:07:33.751" v="2137" actId="1035"/>
          <ac:cxnSpMkLst>
            <pc:docMk/>
            <pc:sldMk cId="962060765" sldId="2147482611"/>
            <ac:cxnSpMk id="11" creationId="{93A8B580-DBC6-BAFE-DCA8-825C65ED17A5}"/>
          </ac:cxnSpMkLst>
        </pc:cxnChg>
        <pc:cxnChg chg="mod">
          <ac:chgData name="Hess, Christian Johannes" userId="3c21887f-2045-4c66-98d6-7d6208f3a5e9" providerId="ADAL" clId="{98B1D322-169F-4338-94A6-9C75A03E3594}" dt="2025-03-05T16:07:33.751" v="2137" actId="1035"/>
          <ac:cxnSpMkLst>
            <pc:docMk/>
            <pc:sldMk cId="962060765" sldId="2147482611"/>
            <ac:cxnSpMk id="12" creationId="{7C29100F-61B6-D099-8FB7-9534A7BF27A0}"/>
          </ac:cxnSpMkLst>
        </pc:cxnChg>
        <pc:cxnChg chg="mod">
          <ac:chgData name="Hess, Christian Johannes" userId="3c21887f-2045-4c66-98d6-7d6208f3a5e9" providerId="ADAL" clId="{98B1D322-169F-4338-94A6-9C75A03E3594}" dt="2025-03-05T16:07:33.751" v="2137" actId="1035"/>
          <ac:cxnSpMkLst>
            <pc:docMk/>
            <pc:sldMk cId="962060765" sldId="2147482611"/>
            <ac:cxnSpMk id="13" creationId="{2231C7CB-87EE-41DB-915C-B913F7C77FB1}"/>
          </ac:cxnSpMkLst>
        </pc:cxnChg>
      </pc:sldChg>
      <pc:sldChg chg="modSp mod">
        <pc:chgData name="Hess, Christian Johannes" userId="3c21887f-2045-4c66-98d6-7d6208f3a5e9" providerId="ADAL" clId="{98B1D322-169F-4338-94A6-9C75A03E3594}" dt="2025-03-05T16:06:28.231" v="2050" actId="1035"/>
        <pc:sldMkLst>
          <pc:docMk/>
          <pc:sldMk cId="3538152459" sldId="2147482612"/>
        </pc:sldMkLst>
        <pc:spChg chg="mod">
          <ac:chgData name="Hess, Christian Johannes" userId="3c21887f-2045-4c66-98d6-7d6208f3a5e9" providerId="ADAL" clId="{98B1D322-169F-4338-94A6-9C75A03E3594}" dt="2025-03-05T16:05:08.512" v="1960"/>
          <ac:spMkLst>
            <pc:docMk/>
            <pc:sldMk cId="3538152459" sldId="2147482612"/>
            <ac:spMk id="22" creationId="{24A8C74C-491F-3135-9168-31168889F6C2}"/>
          </ac:spMkLst>
        </pc:spChg>
        <pc:spChg chg="mod">
          <ac:chgData name="Hess, Christian Johannes" userId="3c21887f-2045-4c66-98d6-7d6208f3a5e9" providerId="ADAL" clId="{98B1D322-169F-4338-94A6-9C75A03E3594}" dt="2025-03-05T16:05:16.717" v="1972"/>
          <ac:spMkLst>
            <pc:docMk/>
            <pc:sldMk cId="3538152459" sldId="2147482612"/>
            <ac:spMk id="25" creationId="{3AF7F11E-CC97-D96C-595A-28C6B90225CE}"/>
          </ac:spMkLst>
        </pc:spChg>
        <pc:spChg chg="mod">
          <ac:chgData name="Hess, Christian Johannes" userId="3c21887f-2045-4c66-98d6-7d6208f3a5e9" providerId="ADAL" clId="{98B1D322-169F-4338-94A6-9C75A03E3594}" dt="2025-03-05T16:05:28.850" v="1984"/>
          <ac:spMkLst>
            <pc:docMk/>
            <pc:sldMk cId="3538152459" sldId="2147482612"/>
            <ac:spMk id="28" creationId="{AADF7B53-9E4C-8056-7221-86277A45CD44}"/>
          </ac:spMkLst>
        </pc:spChg>
        <pc:spChg chg="mod">
          <ac:chgData name="Hess, Christian Johannes" userId="3c21887f-2045-4c66-98d6-7d6208f3a5e9" providerId="ADAL" clId="{98B1D322-169F-4338-94A6-9C75A03E3594}" dt="2025-03-05T16:05:43.148" v="1996"/>
          <ac:spMkLst>
            <pc:docMk/>
            <pc:sldMk cId="3538152459" sldId="2147482612"/>
            <ac:spMk id="31" creationId="{223E6373-1FD2-8938-AFF2-CBED861BB861}"/>
          </ac:spMkLst>
        </pc:spChg>
        <pc:spChg chg="mod">
          <ac:chgData name="Hess, Christian Johannes" userId="3c21887f-2045-4c66-98d6-7d6208f3a5e9" providerId="ADAL" clId="{98B1D322-169F-4338-94A6-9C75A03E3594}" dt="2025-03-05T16:05:53.233" v="2008"/>
          <ac:spMkLst>
            <pc:docMk/>
            <pc:sldMk cId="3538152459" sldId="2147482612"/>
            <ac:spMk id="34" creationId="{D4588552-0F6F-D87D-A7FD-8FDCAEBA242F}"/>
          </ac:spMkLst>
        </pc:spChg>
        <pc:spChg chg="mod">
          <ac:chgData name="Hess, Christian Johannes" userId="3c21887f-2045-4c66-98d6-7d6208f3a5e9" providerId="ADAL" clId="{98B1D322-169F-4338-94A6-9C75A03E3594}" dt="2025-03-05T16:06:02.749" v="2020"/>
          <ac:spMkLst>
            <pc:docMk/>
            <pc:sldMk cId="3538152459" sldId="2147482612"/>
            <ac:spMk id="37" creationId="{D3581E4D-BB4A-7910-DCB5-51234CCD2082}"/>
          </ac:spMkLst>
        </pc:spChg>
        <pc:spChg chg="mod">
          <ac:chgData name="Hess, Christian Johannes" userId="3c21887f-2045-4c66-98d6-7d6208f3a5e9" providerId="ADAL" clId="{98B1D322-169F-4338-94A6-9C75A03E3594}" dt="2025-03-05T16:06:28.231" v="2050" actId="1035"/>
          <ac:spMkLst>
            <pc:docMk/>
            <pc:sldMk cId="3538152459" sldId="2147482612"/>
            <ac:spMk id="43" creationId="{A939AD0A-6ED3-C592-1183-5AFAE0E8C59A}"/>
          </ac:spMkLst>
        </pc:spChg>
        <pc:spChg chg="mod">
          <ac:chgData name="Hess, Christian Johannes" userId="3c21887f-2045-4c66-98d6-7d6208f3a5e9" providerId="ADAL" clId="{98B1D322-169F-4338-94A6-9C75A03E3594}" dt="2025-03-05T16:06:28.231" v="2050" actId="1035"/>
          <ac:spMkLst>
            <pc:docMk/>
            <pc:sldMk cId="3538152459" sldId="2147482612"/>
            <ac:spMk id="44" creationId="{030FCF59-58B9-ED73-C191-327D760733A9}"/>
          </ac:spMkLst>
        </pc:spChg>
        <pc:spChg chg="mod">
          <ac:chgData name="Hess, Christian Johannes" userId="3c21887f-2045-4c66-98d6-7d6208f3a5e9" providerId="ADAL" clId="{98B1D322-169F-4338-94A6-9C75A03E3594}" dt="2025-03-05T16:06:28.231" v="2050" actId="1035"/>
          <ac:spMkLst>
            <pc:docMk/>
            <pc:sldMk cId="3538152459" sldId="2147482612"/>
            <ac:spMk id="45" creationId="{A091D523-E532-E177-072B-F41DD0F112D2}"/>
          </ac:spMkLst>
        </pc:spChg>
        <pc:spChg chg="mod">
          <ac:chgData name="Hess, Christian Johannes" userId="3c21887f-2045-4c66-98d6-7d6208f3a5e9" providerId="ADAL" clId="{98B1D322-169F-4338-94A6-9C75A03E3594}" dt="2025-03-05T16:06:28.231" v="2050" actId="1035"/>
          <ac:spMkLst>
            <pc:docMk/>
            <pc:sldMk cId="3538152459" sldId="2147482612"/>
            <ac:spMk id="46" creationId="{0CC81394-AD07-647A-B195-5348ECC03022}"/>
          </ac:spMkLst>
        </pc:spChg>
        <pc:picChg chg="mod">
          <ac:chgData name="Hess, Christian Johannes" userId="3c21887f-2045-4c66-98d6-7d6208f3a5e9" providerId="ADAL" clId="{98B1D322-169F-4338-94A6-9C75A03E3594}" dt="2025-03-05T16:06:28.231" v="2050" actId="1035"/>
          <ac:picMkLst>
            <pc:docMk/>
            <pc:sldMk cId="3538152459" sldId="2147482612"/>
            <ac:picMk id="21" creationId="{DC3C2B5F-CDCB-F88A-8709-2C703728E5E3}"/>
          </ac:picMkLst>
        </pc:picChg>
        <pc:picChg chg="mod">
          <ac:chgData name="Hess, Christian Johannes" userId="3c21887f-2045-4c66-98d6-7d6208f3a5e9" providerId="ADAL" clId="{98B1D322-169F-4338-94A6-9C75A03E3594}" dt="2025-03-05T16:06:28.231" v="2050" actId="1035"/>
          <ac:picMkLst>
            <pc:docMk/>
            <pc:sldMk cId="3538152459" sldId="2147482612"/>
            <ac:picMk id="30" creationId="{FCE73022-DE09-50FB-FAC0-74B512ADEF3F}"/>
          </ac:picMkLst>
        </pc:picChg>
        <pc:cxnChg chg="mod">
          <ac:chgData name="Hess, Christian Johannes" userId="3c21887f-2045-4c66-98d6-7d6208f3a5e9" providerId="ADAL" clId="{98B1D322-169F-4338-94A6-9C75A03E3594}" dt="2025-03-05T16:06:28.231" v="2050" actId="1035"/>
          <ac:cxnSpMkLst>
            <pc:docMk/>
            <pc:sldMk cId="3538152459" sldId="2147482612"/>
            <ac:cxnSpMk id="41" creationId="{27C9B5DF-6013-1EDE-81E0-330EB27C18FC}"/>
          </ac:cxnSpMkLst>
        </pc:cxnChg>
        <pc:cxnChg chg="mod">
          <ac:chgData name="Hess, Christian Johannes" userId="3c21887f-2045-4c66-98d6-7d6208f3a5e9" providerId="ADAL" clId="{98B1D322-169F-4338-94A6-9C75A03E3594}" dt="2025-03-05T16:06:28.231" v="2050" actId="1035"/>
          <ac:cxnSpMkLst>
            <pc:docMk/>
            <pc:sldMk cId="3538152459" sldId="2147482612"/>
            <ac:cxnSpMk id="42" creationId="{DDC45C85-9C60-33F2-D95E-C16113A734F3}"/>
          </ac:cxnSpMkLst>
        </pc:cxnChg>
      </pc:sldChg>
      <pc:sldChg chg="modSp mod">
        <pc:chgData name="Hess, Christian Johannes" userId="3c21887f-2045-4c66-98d6-7d6208f3a5e9" providerId="ADAL" clId="{98B1D322-169F-4338-94A6-9C75A03E3594}" dt="2025-03-05T16:04:09.362" v="1946"/>
        <pc:sldMkLst>
          <pc:docMk/>
          <pc:sldMk cId="3524780635" sldId="2147482613"/>
        </pc:sldMkLst>
        <pc:spChg chg="mod">
          <ac:chgData name="Hess, Christian Johannes" userId="3c21887f-2045-4c66-98d6-7d6208f3a5e9" providerId="ADAL" clId="{98B1D322-169F-4338-94A6-9C75A03E3594}" dt="2025-03-05T14:49:24.351" v="533" actId="20577"/>
          <ac:spMkLst>
            <pc:docMk/>
            <pc:sldMk cId="3524780635" sldId="2147482613"/>
            <ac:spMk id="16" creationId="{71A9303A-95BB-D9FE-B177-D109E8E0F339}"/>
          </ac:spMkLst>
        </pc:spChg>
        <pc:spChg chg="mod">
          <ac:chgData name="Hess, Christian Johannes" userId="3c21887f-2045-4c66-98d6-7d6208f3a5e9" providerId="ADAL" clId="{98B1D322-169F-4338-94A6-9C75A03E3594}" dt="2025-03-05T14:57:44.949" v="592"/>
          <ac:spMkLst>
            <pc:docMk/>
            <pc:sldMk cId="3524780635" sldId="2147482613"/>
            <ac:spMk id="19" creationId="{D8CE7914-CBBC-5E99-3C4E-C5765617CC71}"/>
          </ac:spMkLst>
        </pc:spChg>
        <pc:spChg chg="mod">
          <ac:chgData name="Hess, Christian Johannes" userId="3c21887f-2045-4c66-98d6-7d6208f3a5e9" providerId="ADAL" clId="{98B1D322-169F-4338-94A6-9C75A03E3594}" dt="2025-03-05T14:57:51.561" v="602" actId="1036"/>
          <ac:spMkLst>
            <pc:docMk/>
            <pc:sldMk cId="3524780635" sldId="2147482613"/>
            <ac:spMk id="23" creationId="{3195ABAB-67CE-F714-1604-528A4C8CEAA4}"/>
          </ac:spMkLst>
        </pc:spChg>
        <pc:spChg chg="mod">
          <ac:chgData name="Hess, Christian Johannes" userId="3c21887f-2045-4c66-98d6-7d6208f3a5e9" providerId="ADAL" clId="{98B1D322-169F-4338-94A6-9C75A03E3594}" dt="2025-03-05T16:03:46.868" v="1910"/>
          <ac:spMkLst>
            <pc:docMk/>
            <pc:sldMk cId="3524780635" sldId="2147482613"/>
            <ac:spMk id="25" creationId="{3AF7F11E-CC97-D96C-595A-28C6B90225CE}"/>
          </ac:spMkLst>
        </pc:spChg>
        <pc:spChg chg="mod">
          <ac:chgData name="Hess, Christian Johannes" userId="3c21887f-2045-4c66-98d6-7d6208f3a5e9" providerId="ADAL" clId="{98B1D322-169F-4338-94A6-9C75A03E3594}" dt="2025-03-05T14:57:51.561" v="602" actId="1036"/>
          <ac:spMkLst>
            <pc:docMk/>
            <pc:sldMk cId="3524780635" sldId="2147482613"/>
            <ac:spMk id="26" creationId="{6A581ED3-601C-A044-A72C-7EED9696B2DB}"/>
          </ac:spMkLst>
        </pc:spChg>
        <pc:spChg chg="mod">
          <ac:chgData name="Hess, Christian Johannes" userId="3c21887f-2045-4c66-98d6-7d6208f3a5e9" providerId="ADAL" clId="{98B1D322-169F-4338-94A6-9C75A03E3594}" dt="2025-03-05T16:03:54.578" v="1922"/>
          <ac:spMkLst>
            <pc:docMk/>
            <pc:sldMk cId="3524780635" sldId="2147482613"/>
            <ac:spMk id="28" creationId="{AADF7B53-9E4C-8056-7221-86277A45CD44}"/>
          </ac:spMkLst>
        </pc:spChg>
        <pc:spChg chg="mod">
          <ac:chgData name="Hess, Christian Johannes" userId="3c21887f-2045-4c66-98d6-7d6208f3a5e9" providerId="ADAL" clId="{98B1D322-169F-4338-94A6-9C75A03E3594}" dt="2025-03-05T14:57:51.561" v="602" actId="1036"/>
          <ac:spMkLst>
            <pc:docMk/>
            <pc:sldMk cId="3524780635" sldId="2147482613"/>
            <ac:spMk id="32" creationId="{9828C3F1-4E39-BBB9-603A-D4A23446A554}"/>
          </ac:spMkLst>
        </pc:spChg>
        <pc:spChg chg="mod">
          <ac:chgData name="Hess, Christian Johannes" userId="3c21887f-2045-4c66-98d6-7d6208f3a5e9" providerId="ADAL" clId="{98B1D322-169F-4338-94A6-9C75A03E3594}" dt="2025-03-05T16:04:01.733" v="1934"/>
          <ac:spMkLst>
            <pc:docMk/>
            <pc:sldMk cId="3524780635" sldId="2147482613"/>
            <ac:spMk id="34" creationId="{D4588552-0F6F-D87D-A7FD-8FDCAEBA242F}"/>
          </ac:spMkLst>
        </pc:spChg>
        <pc:spChg chg="mod">
          <ac:chgData name="Hess, Christian Johannes" userId="3c21887f-2045-4c66-98d6-7d6208f3a5e9" providerId="ADAL" clId="{98B1D322-169F-4338-94A6-9C75A03E3594}" dt="2025-03-05T14:57:51.561" v="602" actId="1036"/>
          <ac:spMkLst>
            <pc:docMk/>
            <pc:sldMk cId="3524780635" sldId="2147482613"/>
            <ac:spMk id="35" creationId="{2E057132-9E88-C186-8B26-2DDE5A5CE540}"/>
          </ac:spMkLst>
        </pc:spChg>
        <pc:spChg chg="mod">
          <ac:chgData name="Hess, Christian Johannes" userId="3c21887f-2045-4c66-98d6-7d6208f3a5e9" providerId="ADAL" clId="{98B1D322-169F-4338-94A6-9C75A03E3594}" dt="2025-03-05T16:04:09.362" v="1946"/>
          <ac:spMkLst>
            <pc:docMk/>
            <pc:sldMk cId="3524780635" sldId="2147482613"/>
            <ac:spMk id="37" creationId="{D3581E4D-BB4A-7910-DCB5-51234CCD2082}"/>
          </ac:spMkLst>
        </pc:spChg>
        <pc:graphicFrameChg chg="mod">
          <ac:chgData name="Hess, Christian Johannes" userId="3c21887f-2045-4c66-98d6-7d6208f3a5e9" providerId="ADAL" clId="{98B1D322-169F-4338-94A6-9C75A03E3594}" dt="2025-03-05T14:49:07.951" v="528"/>
          <ac:graphicFrameMkLst>
            <pc:docMk/>
            <pc:sldMk cId="3524780635" sldId="2147482613"/>
            <ac:graphicFrameMk id="5" creationId="{CC7C828D-2E2C-DD0E-5063-4C014F29512E}"/>
          </ac:graphicFrameMkLst>
        </pc:graphicFrameChg>
        <pc:picChg chg="mod">
          <ac:chgData name="Hess, Christian Johannes" userId="3c21887f-2045-4c66-98d6-7d6208f3a5e9" providerId="ADAL" clId="{98B1D322-169F-4338-94A6-9C75A03E3594}" dt="2025-03-05T14:57:51.561" v="602" actId="1036"/>
          <ac:picMkLst>
            <pc:docMk/>
            <pc:sldMk cId="3524780635" sldId="2147482613"/>
            <ac:picMk id="24" creationId="{3009D042-DC52-C3F7-F3D2-319B12CAF0F6}"/>
          </ac:picMkLst>
        </pc:picChg>
        <pc:picChg chg="mod">
          <ac:chgData name="Hess, Christian Johannes" userId="3c21887f-2045-4c66-98d6-7d6208f3a5e9" providerId="ADAL" clId="{98B1D322-169F-4338-94A6-9C75A03E3594}" dt="2025-03-05T14:57:51.561" v="602" actId="1036"/>
          <ac:picMkLst>
            <pc:docMk/>
            <pc:sldMk cId="3524780635" sldId="2147482613"/>
            <ac:picMk id="30" creationId="{738AD3F8-F975-1F07-D175-C1F80F08A323}"/>
          </ac:picMkLst>
        </pc:picChg>
        <pc:picChg chg="mod">
          <ac:chgData name="Hess, Christian Johannes" userId="3c21887f-2045-4c66-98d6-7d6208f3a5e9" providerId="ADAL" clId="{98B1D322-169F-4338-94A6-9C75A03E3594}" dt="2025-03-05T14:57:51.561" v="602" actId="1036"/>
          <ac:picMkLst>
            <pc:docMk/>
            <pc:sldMk cId="3524780635" sldId="2147482613"/>
            <ac:picMk id="33" creationId="{85223015-9610-7DBC-F13C-D6124FCD9ADB}"/>
          </ac:picMkLst>
        </pc:picChg>
        <pc:picChg chg="mod">
          <ac:chgData name="Hess, Christian Johannes" userId="3c21887f-2045-4c66-98d6-7d6208f3a5e9" providerId="ADAL" clId="{98B1D322-169F-4338-94A6-9C75A03E3594}" dt="2025-03-05T14:57:51.561" v="602" actId="1036"/>
          <ac:picMkLst>
            <pc:docMk/>
            <pc:sldMk cId="3524780635" sldId="2147482613"/>
            <ac:picMk id="36" creationId="{0D4C25DD-13FA-9E05-B806-6CA5FF27EFCD}"/>
          </ac:picMkLst>
        </pc:picChg>
        <pc:cxnChg chg="mod">
          <ac:chgData name="Hess, Christian Johannes" userId="3c21887f-2045-4c66-98d6-7d6208f3a5e9" providerId="ADAL" clId="{98B1D322-169F-4338-94A6-9C75A03E3594}" dt="2025-03-05T14:57:51.561" v="602" actId="1036"/>
          <ac:cxnSpMkLst>
            <pc:docMk/>
            <pc:sldMk cId="3524780635" sldId="2147482613"/>
            <ac:cxnSpMk id="9" creationId="{2F1AD679-3446-0A79-C228-D2E3A9893797}"/>
          </ac:cxnSpMkLst>
        </pc:cxnChg>
        <pc:cxnChg chg="mod">
          <ac:chgData name="Hess, Christian Johannes" userId="3c21887f-2045-4c66-98d6-7d6208f3a5e9" providerId="ADAL" clId="{98B1D322-169F-4338-94A6-9C75A03E3594}" dt="2025-03-05T14:57:51.561" v="602" actId="1036"/>
          <ac:cxnSpMkLst>
            <pc:docMk/>
            <pc:sldMk cId="3524780635" sldId="2147482613"/>
            <ac:cxnSpMk id="10" creationId="{369B7892-BCCA-04CD-FCF9-9E945B809B7E}"/>
          </ac:cxnSpMkLst>
        </pc:cxnChg>
        <pc:cxnChg chg="mod">
          <ac:chgData name="Hess, Christian Johannes" userId="3c21887f-2045-4c66-98d6-7d6208f3a5e9" providerId="ADAL" clId="{98B1D322-169F-4338-94A6-9C75A03E3594}" dt="2025-03-05T14:57:51.561" v="602" actId="1036"/>
          <ac:cxnSpMkLst>
            <pc:docMk/>
            <pc:sldMk cId="3524780635" sldId="2147482613"/>
            <ac:cxnSpMk id="12" creationId="{7C29100F-61B6-D099-8FB7-9534A7BF27A0}"/>
          </ac:cxnSpMkLst>
        </pc:cxnChg>
        <pc:cxnChg chg="mod">
          <ac:chgData name="Hess, Christian Johannes" userId="3c21887f-2045-4c66-98d6-7d6208f3a5e9" providerId="ADAL" clId="{98B1D322-169F-4338-94A6-9C75A03E3594}" dt="2025-03-05T14:57:51.561" v="602" actId="1036"/>
          <ac:cxnSpMkLst>
            <pc:docMk/>
            <pc:sldMk cId="3524780635" sldId="2147482613"/>
            <ac:cxnSpMk id="13" creationId="{2231C7CB-87EE-41DB-915C-B913F7C77FB1}"/>
          </ac:cxnSpMkLst>
        </pc:cxnChg>
      </pc:sldChg>
      <pc:sldChg chg="modSp mod">
        <pc:chgData name="Hess, Christian Johannes" userId="3c21887f-2045-4c66-98d6-7d6208f3a5e9" providerId="ADAL" clId="{98B1D322-169F-4338-94A6-9C75A03E3594}" dt="2025-03-05T16:03:28.063" v="1898" actId="1035"/>
        <pc:sldMkLst>
          <pc:docMk/>
          <pc:sldMk cId="3858331246" sldId="2147482614"/>
        </pc:sldMkLst>
        <pc:spChg chg="mod">
          <ac:chgData name="Hess, Christian Johannes" userId="3c21887f-2045-4c66-98d6-7d6208f3a5e9" providerId="ADAL" clId="{98B1D322-169F-4338-94A6-9C75A03E3594}" dt="2025-03-05T14:56:04.382" v="588" actId="20577"/>
          <ac:spMkLst>
            <pc:docMk/>
            <pc:sldMk cId="3858331246" sldId="2147482614"/>
            <ac:spMk id="16" creationId="{71A9303A-95BB-D9FE-B177-D109E8E0F339}"/>
          </ac:spMkLst>
        </pc:spChg>
        <pc:spChg chg="mod">
          <ac:chgData name="Hess, Christian Johannes" userId="3c21887f-2045-4c66-98d6-7d6208f3a5e9" providerId="ADAL" clId="{98B1D322-169F-4338-94A6-9C75A03E3594}" dt="2025-03-05T14:37:15.916" v="463"/>
          <ac:spMkLst>
            <pc:docMk/>
            <pc:sldMk cId="3858331246" sldId="2147482614"/>
            <ac:spMk id="19" creationId="{D8CE7914-CBBC-5E99-3C4E-C5765617CC71}"/>
          </ac:spMkLst>
        </pc:spChg>
        <pc:spChg chg="mod">
          <ac:chgData name="Hess, Christian Johannes" userId="3c21887f-2045-4c66-98d6-7d6208f3a5e9" providerId="ADAL" clId="{98B1D322-169F-4338-94A6-9C75A03E3594}" dt="2025-03-05T16:02:55.999" v="1853"/>
          <ac:spMkLst>
            <pc:docMk/>
            <pc:sldMk cId="3858331246" sldId="2147482614"/>
            <ac:spMk id="22" creationId="{24A8C74C-491F-3135-9168-31168889F6C2}"/>
          </ac:spMkLst>
        </pc:spChg>
        <pc:spChg chg="mod">
          <ac:chgData name="Hess, Christian Johannes" userId="3c21887f-2045-4c66-98d6-7d6208f3a5e9" providerId="ADAL" clId="{98B1D322-169F-4338-94A6-9C75A03E3594}" dt="2025-03-05T14:46:26.876" v="490" actId="1036"/>
          <ac:spMkLst>
            <pc:docMk/>
            <pc:sldMk cId="3858331246" sldId="2147482614"/>
            <ac:spMk id="23" creationId="{3195ABAB-67CE-F714-1604-528A4C8CEAA4}"/>
          </ac:spMkLst>
        </pc:spChg>
        <pc:spChg chg="mod">
          <ac:chgData name="Hess, Christian Johannes" userId="3c21887f-2045-4c66-98d6-7d6208f3a5e9" providerId="ADAL" clId="{98B1D322-169F-4338-94A6-9C75A03E3594}" dt="2025-03-05T16:03:05.015" v="1865"/>
          <ac:spMkLst>
            <pc:docMk/>
            <pc:sldMk cId="3858331246" sldId="2147482614"/>
            <ac:spMk id="25" creationId="{3AF7F11E-CC97-D96C-595A-28C6B90225CE}"/>
          </ac:spMkLst>
        </pc:spChg>
        <pc:spChg chg="mod">
          <ac:chgData name="Hess, Christian Johannes" userId="3c21887f-2045-4c66-98d6-7d6208f3a5e9" providerId="ADAL" clId="{98B1D322-169F-4338-94A6-9C75A03E3594}" dt="2025-03-05T14:46:26.876" v="490" actId="1036"/>
          <ac:spMkLst>
            <pc:docMk/>
            <pc:sldMk cId="3858331246" sldId="2147482614"/>
            <ac:spMk id="26" creationId="{6A581ED3-601C-A044-A72C-7EED9696B2DB}"/>
          </ac:spMkLst>
        </pc:spChg>
        <pc:spChg chg="mod">
          <ac:chgData name="Hess, Christian Johannes" userId="3c21887f-2045-4c66-98d6-7d6208f3a5e9" providerId="ADAL" clId="{98B1D322-169F-4338-94A6-9C75A03E3594}" dt="2025-03-05T16:03:12.070" v="1877"/>
          <ac:spMkLst>
            <pc:docMk/>
            <pc:sldMk cId="3858331246" sldId="2147482614"/>
            <ac:spMk id="28" creationId="{AADF7B53-9E4C-8056-7221-86277A45CD44}"/>
          </ac:spMkLst>
        </pc:spChg>
        <pc:spChg chg="mod">
          <ac:chgData name="Hess, Christian Johannes" userId="3c21887f-2045-4c66-98d6-7d6208f3a5e9" providerId="ADAL" clId="{98B1D322-169F-4338-94A6-9C75A03E3594}" dt="2025-03-05T16:03:28.063" v="1898" actId="1035"/>
          <ac:spMkLst>
            <pc:docMk/>
            <pc:sldMk cId="3858331246" sldId="2147482614"/>
            <ac:spMk id="29" creationId="{FFCD6AA0-DC23-0E27-AE73-415D18660094}"/>
          </ac:spMkLst>
        </pc:spChg>
        <pc:spChg chg="mod">
          <ac:chgData name="Hess, Christian Johannes" userId="3c21887f-2045-4c66-98d6-7d6208f3a5e9" providerId="ADAL" clId="{98B1D322-169F-4338-94A6-9C75A03E3594}" dt="2025-03-05T16:03:28.063" v="1898" actId="1035"/>
          <ac:spMkLst>
            <pc:docMk/>
            <pc:sldMk cId="3858331246" sldId="2147482614"/>
            <ac:spMk id="31" creationId="{223E6373-1FD2-8938-AFF2-CBED861BB861}"/>
          </ac:spMkLst>
        </pc:spChg>
        <pc:picChg chg="mod">
          <ac:chgData name="Hess, Christian Johannes" userId="3c21887f-2045-4c66-98d6-7d6208f3a5e9" providerId="ADAL" clId="{98B1D322-169F-4338-94A6-9C75A03E3594}" dt="2025-03-05T14:46:26.876" v="490" actId="1036"/>
          <ac:picMkLst>
            <pc:docMk/>
            <pc:sldMk cId="3858331246" sldId="2147482614"/>
            <ac:picMk id="27" creationId="{0E9D15C0-BDC7-AA80-B459-2F3A92E27E9C}"/>
          </ac:picMkLst>
        </pc:picChg>
        <pc:picChg chg="mod">
          <ac:chgData name="Hess, Christian Johannes" userId="3c21887f-2045-4c66-98d6-7d6208f3a5e9" providerId="ADAL" clId="{98B1D322-169F-4338-94A6-9C75A03E3594}" dt="2025-03-05T14:46:26.876" v="490" actId="1036"/>
          <ac:picMkLst>
            <pc:docMk/>
            <pc:sldMk cId="3858331246" sldId="2147482614"/>
            <ac:picMk id="30" creationId="{207397C1-EAF9-C107-4E34-DB54DADD09AE}"/>
          </ac:picMkLst>
        </pc:picChg>
        <pc:picChg chg="mod">
          <ac:chgData name="Hess, Christian Johannes" userId="3c21887f-2045-4c66-98d6-7d6208f3a5e9" providerId="ADAL" clId="{98B1D322-169F-4338-94A6-9C75A03E3594}" dt="2025-03-05T16:03:28.063" v="1898" actId="1035"/>
          <ac:picMkLst>
            <pc:docMk/>
            <pc:sldMk cId="3858331246" sldId="2147482614"/>
            <ac:picMk id="33" creationId="{9A1D0B33-2CD5-2E2D-56C7-0CFDCEBBEC53}"/>
          </ac:picMkLst>
        </pc:picChg>
        <pc:cxnChg chg="mod">
          <ac:chgData name="Hess, Christian Johannes" userId="3c21887f-2045-4c66-98d6-7d6208f3a5e9" providerId="ADAL" clId="{98B1D322-169F-4338-94A6-9C75A03E3594}" dt="2025-03-05T16:03:28.063" v="1898" actId="1035"/>
          <ac:cxnSpMkLst>
            <pc:docMk/>
            <pc:sldMk cId="3858331246" sldId="2147482614"/>
            <ac:cxnSpMk id="11" creationId="{93A8B580-DBC6-BAFE-DCA8-825C65ED17A5}"/>
          </ac:cxnSpMkLst>
        </pc:cxnChg>
        <pc:cxnChg chg="mod">
          <ac:chgData name="Hess, Christian Johannes" userId="3c21887f-2045-4c66-98d6-7d6208f3a5e9" providerId="ADAL" clId="{98B1D322-169F-4338-94A6-9C75A03E3594}" dt="2025-03-05T14:46:26.876" v="490" actId="1036"/>
          <ac:cxnSpMkLst>
            <pc:docMk/>
            <pc:sldMk cId="3858331246" sldId="2147482614"/>
            <ac:cxnSpMk id="12" creationId="{7C29100F-61B6-D099-8FB7-9534A7BF27A0}"/>
          </ac:cxnSpMkLst>
        </pc:cxnChg>
        <pc:cxnChg chg="mod">
          <ac:chgData name="Hess, Christian Johannes" userId="3c21887f-2045-4c66-98d6-7d6208f3a5e9" providerId="ADAL" clId="{98B1D322-169F-4338-94A6-9C75A03E3594}" dt="2025-03-05T14:46:26.876" v="490" actId="1036"/>
          <ac:cxnSpMkLst>
            <pc:docMk/>
            <pc:sldMk cId="3858331246" sldId="2147482614"/>
            <ac:cxnSpMk id="13" creationId="{2231C7CB-87EE-41DB-915C-B913F7C77FB1}"/>
          </ac:cxnSpMkLst>
        </pc:cxnChg>
      </pc:sldChg>
      <pc:sldChg chg="addSp modSp mod">
        <pc:chgData name="Hess, Christian Johannes" userId="3c21887f-2045-4c66-98d6-7d6208f3a5e9" providerId="ADAL" clId="{98B1D322-169F-4338-94A6-9C75A03E3594}" dt="2025-03-05T16:02:45.139" v="1841" actId="1035"/>
        <pc:sldMkLst>
          <pc:docMk/>
          <pc:sldMk cId="2916895298" sldId="2147482615"/>
        </pc:sldMkLst>
        <pc:spChg chg="add">
          <ac:chgData name="Hess, Christian Johannes" userId="3c21887f-2045-4c66-98d6-7d6208f3a5e9" providerId="ADAL" clId="{98B1D322-169F-4338-94A6-9C75A03E3594}" dt="2025-03-05T14:47:02.716" v="492"/>
          <ac:spMkLst>
            <pc:docMk/>
            <pc:sldMk cId="2916895298" sldId="2147482615"/>
            <ac:spMk id="4" creationId="{E0F0438E-D015-D49B-2720-AC92F536BA6C}"/>
          </ac:spMkLst>
        </pc:spChg>
        <pc:spChg chg="add">
          <ac:chgData name="Hess, Christian Johannes" userId="3c21887f-2045-4c66-98d6-7d6208f3a5e9" providerId="ADAL" clId="{98B1D322-169F-4338-94A6-9C75A03E3594}" dt="2025-03-05T14:58:44.335" v="603"/>
          <ac:spMkLst>
            <pc:docMk/>
            <pc:sldMk cId="2916895298" sldId="2147482615"/>
            <ac:spMk id="6" creationId="{25FE0631-BB45-9B62-DA54-85C3AA73949E}"/>
          </ac:spMkLst>
        </pc:spChg>
        <pc:spChg chg="mod">
          <ac:chgData name="Hess, Christian Johannes" userId="3c21887f-2045-4c66-98d6-7d6208f3a5e9" providerId="ADAL" clId="{98B1D322-169F-4338-94A6-9C75A03E3594}" dt="2025-03-05T14:59:37.977" v="627" actId="20577"/>
          <ac:spMkLst>
            <pc:docMk/>
            <pc:sldMk cId="2916895298" sldId="2147482615"/>
            <ac:spMk id="16" creationId="{71A9303A-95BB-D9FE-B177-D109E8E0F339}"/>
          </ac:spMkLst>
        </pc:spChg>
        <pc:spChg chg="mod">
          <ac:chgData name="Hess, Christian Johannes" userId="3c21887f-2045-4c66-98d6-7d6208f3a5e9" providerId="ADAL" clId="{98B1D322-169F-4338-94A6-9C75A03E3594}" dt="2025-03-05T16:01:44.196" v="1764"/>
          <ac:spMkLst>
            <pc:docMk/>
            <pc:sldMk cId="2916895298" sldId="2147482615"/>
            <ac:spMk id="22" creationId="{24A8C74C-491F-3135-9168-31168889F6C2}"/>
          </ac:spMkLst>
        </pc:spChg>
        <pc:spChg chg="mod">
          <ac:chgData name="Hess, Christian Johannes" userId="3c21887f-2045-4c66-98d6-7d6208f3a5e9" providerId="ADAL" clId="{98B1D322-169F-4338-94A6-9C75A03E3594}" dt="2025-03-05T14:59:22.034" v="618" actId="1035"/>
          <ac:spMkLst>
            <pc:docMk/>
            <pc:sldMk cId="2916895298" sldId="2147482615"/>
            <ac:spMk id="23" creationId="{3195ABAB-67CE-F714-1604-528A4C8CEAA4}"/>
          </ac:spMkLst>
        </pc:spChg>
        <pc:spChg chg="mod">
          <ac:chgData name="Hess, Christian Johannes" userId="3c21887f-2045-4c66-98d6-7d6208f3a5e9" providerId="ADAL" clId="{98B1D322-169F-4338-94A6-9C75A03E3594}" dt="2025-03-05T16:01:53.033" v="1776"/>
          <ac:spMkLst>
            <pc:docMk/>
            <pc:sldMk cId="2916895298" sldId="2147482615"/>
            <ac:spMk id="25" creationId="{3AF7F11E-CC97-D96C-595A-28C6B90225CE}"/>
          </ac:spMkLst>
        </pc:spChg>
        <pc:spChg chg="mod">
          <ac:chgData name="Hess, Christian Johannes" userId="3c21887f-2045-4c66-98d6-7d6208f3a5e9" providerId="ADAL" clId="{98B1D322-169F-4338-94A6-9C75A03E3594}" dt="2025-03-05T16:02:30.133" v="1831" actId="1035"/>
          <ac:spMkLst>
            <pc:docMk/>
            <pc:sldMk cId="2916895298" sldId="2147482615"/>
            <ac:spMk id="26" creationId="{6A581ED3-601C-A044-A72C-7EED9696B2DB}"/>
          </ac:spMkLst>
        </pc:spChg>
        <pc:spChg chg="mod">
          <ac:chgData name="Hess, Christian Johannes" userId="3c21887f-2045-4c66-98d6-7d6208f3a5e9" providerId="ADAL" clId="{98B1D322-169F-4338-94A6-9C75A03E3594}" dt="2025-03-05T16:02:30.133" v="1831" actId="1035"/>
          <ac:spMkLst>
            <pc:docMk/>
            <pc:sldMk cId="2916895298" sldId="2147482615"/>
            <ac:spMk id="28" creationId="{AADF7B53-9E4C-8056-7221-86277A45CD44}"/>
          </ac:spMkLst>
        </pc:spChg>
        <pc:spChg chg="mod">
          <ac:chgData name="Hess, Christian Johannes" userId="3c21887f-2045-4c66-98d6-7d6208f3a5e9" providerId="ADAL" clId="{98B1D322-169F-4338-94A6-9C75A03E3594}" dt="2025-03-05T16:02:36.440" v="1836" actId="1035"/>
          <ac:spMkLst>
            <pc:docMk/>
            <pc:sldMk cId="2916895298" sldId="2147482615"/>
            <ac:spMk id="29" creationId="{FFCD6AA0-DC23-0E27-AE73-415D18660094}"/>
          </ac:spMkLst>
        </pc:spChg>
        <pc:spChg chg="mod">
          <ac:chgData name="Hess, Christian Johannes" userId="3c21887f-2045-4c66-98d6-7d6208f3a5e9" providerId="ADAL" clId="{98B1D322-169F-4338-94A6-9C75A03E3594}" dt="2025-03-05T16:02:36.440" v="1836" actId="1035"/>
          <ac:spMkLst>
            <pc:docMk/>
            <pc:sldMk cId="2916895298" sldId="2147482615"/>
            <ac:spMk id="31" creationId="{223E6373-1FD2-8938-AFF2-CBED861BB861}"/>
          </ac:spMkLst>
        </pc:spChg>
        <pc:spChg chg="mod">
          <ac:chgData name="Hess, Christian Johannes" userId="3c21887f-2045-4c66-98d6-7d6208f3a5e9" providerId="ADAL" clId="{98B1D322-169F-4338-94A6-9C75A03E3594}" dt="2025-03-05T16:02:36.440" v="1836" actId="1035"/>
          <ac:spMkLst>
            <pc:docMk/>
            <pc:sldMk cId="2916895298" sldId="2147482615"/>
            <ac:spMk id="32" creationId="{9828C3F1-4E39-BBB9-603A-D4A23446A554}"/>
          </ac:spMkLst>
        </pc:spChg>
        <pc:spChg chg="mod">
          <ac:chgData name="Hess, Christian Johannes" userId="3c21887f-2045-4c66-98d6-7d6208f3a5e9" providerId="ADAL" clId="{98B1D322-169F-4338-94A6-9C75A03E3594}" dt="2025-03-05T16:02:36.440" v="1836" actId="1035"/>
          <ac:spMkLst>
            <pc:docMk/>
            <pc:sldMk cId="2916895298" sldId="2147482615"/>
            <ac:spMk id="34" creationId="{D4588552-0F6F-D87D-A7FD-8FDCAEBA242F}"/>
          </ac:spMkLst>
        </pc:spChg>
        <pc:spChg chg="mod">
          <ac:chgData name="Hess, Christian Johannes" userId="3c21887f-2045-4c66-98d6-7d6208f3a5e9" providerId="ADAL" clId="{98B1D322-169F-4338-94A6-9C75A03E3594}" dt="2025-03-05T16:02:45.139" v="1841" actId="1035"/>
          <ac:spMkLst>
            <pc:docMk/>
            <pc:sldMk cId="2916895298" sldId="2147482615"/>
            <ac:spMk id="35" creationId="{2E057132-9E88-C186-8B26-2DDE5A5CE540}"/>
          </ac:spMkLst>
        </pc:spChg>
        <pc:spChg chg="mod">
          <ac:chgData name="Hess, Christian Johannes" userId="3c21887f-2045-4c66-98d6-7d6208f3a5e9" providerId="ADAL" clId="{98B1D322-169F-4338-94A6-9C75A03E3594}" dt="2025-03-05T16:02:45.139" v="1841" actId="1035"/>
          <ac:spMkLst>
            <pc:docMk/>
            <pc:sldMk cId="2916895298" sldId="2147482615"/>
            <ac:spMk id="37" creationId="{D3581E4D-BB4A-7910-DCB5-51234CCD2082}"/>
          </ac:spMkLst>
        </pc:spChg>
        <pc:picChg chg="mod">
          <ac:chgData name="Hess, Christian Johannes" userId="3c21887f-2045-4c66-98d6-7d6208f3a5e9" providerId="ADAL" clId="{98B1D322-169F-4338-94A6-9C75A03E3594}" dt="2025-03-05T16:02:36.440" v="1836" actId="1035"/>
          <ac:picMkLst>
            <pc:docMk/>
            <pc:sldMk cId="2916895298" sldId="2147482615"/>
            <ac:picMk id="24" creationId="{7A9A016A-39E5-A398-846A-75F34806E2A6}"/>
          </ac:picMkLst>
        </pc:picChg>
        <pc:picChg chg="mod">
          <ac:chgData name="Hess, Christian Johannes" userId="3c21887f-2045-4c66-98d6-7d6208f3a5e9" providerId="ADAL" clId="{98B1D322-169F-4338-94A6-9C75A03E3594}" dt="2025-03-05T16:02:36.440" v="1836" actId="1035"/>
          <ac:picMkLst>
            <pc:docMk/>
            <pc:sldMk cId="2916895298" sldId="2147482615"/>
            <ac:picMk id="27" creationId="{86063786-3CE3-98C6-C82B-BB0F84C52F3A}"/>
          </ac:picMkLst>
        </pc:picChg>
        <pc:picChg chg="mod">
          <ac:chgData name="Hess, Christian Johannes" userId="3c21887f-2045-4c66-98d6-7d6208f3a5e9" providerId="ADAL" clId="{98B1D322-169F-4338-94A6-9C75A03E3594}" dt="2025-03-05T16:02:30.133" v="1831" actId="1035"/>
          <ac:picMkLst>
            <pc:docMk/>
            <pc:sldMk cId="2916895298" sldId="2147482615"/>
            <ac:picMk id="30" creationId="{284BC391-F49E-EB9F-BA74-FC0123A8FF1F}"/>
          </ac:picMkLst>
        </pc:picChg>
        <pc:picChg chg="mod">
          <ac:chgData name="Hess, Christian Johannes" userId="3c21887f-2045-4c66-98d6-7d6208f3a5e9" providerId="ADAL" clId="{98B1D322-169F-4338-94A6-9C75A03E3594}" dt="2025-03-05T14:59:22.034" v="618" actId="1035"/>
          <ac:picMkLst>
            <pc:docMk/>
            <pc:sldMk cId="2916895298" sldId="2147482615"/>
            <ac:picMk id="33" creationId="{0BEA5FBE-3C03-6E32-471F-ACBC49C7A545}"/>
          </ac:picMkLst>
        </pc:picChg>
        <pc:picChg chg="mod">
          <ac:chgData name="Hess, Christian Johannes" userId="3c21887f-2045-4c66-98d6-7d6208f3a5e9" providerId="ADAL" clId="{98B1D322-169F-4338-94A6-9C75A03E3594}" dt="2025-03-05T16:02:45.139" v="1841" actId="1035"/>
          <ac:picMkLst>
            <pc:docMk/>
            <pc:sldMk cId="2916895298" sldId="2147482615"/>
            <ac:picMk id="39" creationId="{42120A56-68D1-44B7-D84C-B38E39FE5C72}"/>
          </ac:picMkLst>
        </pc:picChg>
        <pc:cxnChg chg="mod">
          <ac:chgData name="Hess, Christian Johannes" userId="3c21887f-2045-4c66-98d6-7d6208f3a5e9" providerId="ADAL" clId="{98B1D322-169F-4338-94A6-9C75A03E3594}" dt="2025-03-05T16:02:45.139" v="1841" actId="1035"/>
          <ac:cxnSpMkLst>
            <pc:docMk/>
            <pc:sldMk cId="2916895298" sldId="2147482615"/>
            <ac:cxnSpMk id="9" creationId="{2F1AD679-3446-0A79-C228-D2E3A9893797}"/>
          </ac:cxnSpMkLst>
        </pc:cxnChg>
        <pc:cxnChg chg="mod">
          <ac:chgData name="Hess, Christian Johannes" userId="3c21887f-2045-4c66-98d6-7d6208f3a5e9" providerId="ADAL" clId="{98B1D322-169F-4338-94A6-9C75A03E3594}" dt="2025-03-05T16:02:36.440" v="1836" actId="1035"/>
          <ac:cxnSpMkLst>
            <pc:docMk/>
            <pc:sldMk cId="2916895298" sldId="2147482615"/>
            <ac:cxnSpMk id="10" creationId="{369B7892-BCCA-04CD-FCF9-9E945B809B7E}"/>
          </ac:cxnSpMkLst>
        </pc:cxnChg>
        <pc:cxnChg chg="mod">
          <ac:chgData name="Hess, Christian Johannes" userId="3c21887f-2045-4c66-98d6-7d6208f3a5e9" providerId="ADAL" clId="{98B1D322-169F-4338-94A6-9C75A03E3594}" dt="2025-03-05T16:02:36.440" v="1836" actId="1035"/>
          <ac:cxnSpMkLst>
            <pc:docMk/>
            <pc:sldMk cId="2916895298" sldId="2147482615"/>
            <ac:cxnSpMk id="11" creationId="{93A8B580-DBC6-BAFE-DCA8-825C65ED17A5}"/>
          </ac:cxnSpMkLst>
        </pc:cxnChg>
        <pc:cxnChg chg="mod">
          <ac:chgData name="Hess, Christian Johannes" userId="3c21887f-2045-4c66-98d6-7d6208f3a5e9" providerId="ADAL" clId="{98B1D322-169F-4338-94A6-9C75A03E3594}" dt="2025-03-05T16:02:30.133" v="1831" actId="1035"/>
          <ac:cxnSpMkLst>
            <pc:docMk/>
            <pc:sldMk cId="2916895298" sldId="2147482615"/>
            <ac:cxnSpMk id="12" creationId="{7C29100F-61B6-D099-8FB7-9534A7BF27A0}"/>
          </ac:cxnSpMkLst>
        </pc:cxnChg>
        <pc:cxnChg chg="mod">
          <ac:chgData name="Hess, Christian Johannes" userId="3c21887f-2045-4c66-98d6-7d6208f3a5e9" providerId="ADAL" clId="{98B1D322-169F-4338-94A6-9C75A03E3594}" dt="2025-03-05T14:59:22.034" v="618" actId="1035"/>
          <ac:cxnSpMkLst>
            <pc:docMk/>
            <pc:sldMk cId="2916895298" sldId="2147482615"/>
            <ac:cxnSpMk id="13" creationId="{2231C7CB-87EE-41DB-915C-B913F7C77FB1}"/>
          </ac:cxnSpMkLst>
        </pc:cxnChg>
      </pc:sldChg>
      <pc:sldChg chg="modSp mod">
        <pc:chgData name="Hess, Christian Johannes" userId="3c21887f-2045-4c66-98d6-7d6208f3a5e9" providerId="ADAL" clId="{98B1D322-169F-4338-94A6-9C75A03E3594}" dt="2025-03-05T16:01:06.529" v="1752" actId="1035"/>
        <pc:sldMkLst>
          <pc:docMk/>
          <pc:sldMk cId="3188756818" sldId="2147482616"/>
        </pc:sldMkLst>
        <pc:spChg chg="mod">
          <ac:chgData name="Hess, Christian Johannes" userId="3c21887f-2045-4c66-98d6-7d6208f3a5e9" providerId="ADAL" clId="{98B1D322-169F-4338-94A6-9C75A03E3594}" dt="2025-03-05T14:51:40.408" v="550" actId="20577"/>
          <ac:spMkLst>
            <pc:docMk/>
            <pc:sldMk cId="3188756818" sldId="2147482616"/>
            <ac:spMk id="16" creationId="{71A9303A-95BB-D9FE-B177-D109E8E0F339}"/>
          </ac:spMkLst>
        </pc:spChg>
        <pc:spChg chg="mod">
          <ac:chgData name="Hess, Christian Johannes" userId="3c21887f-2045-4c66-98d6-7d6208f3a5e9" providerId="ADAL" clId="{98B1D322-169F-4338-94A6-9C75A03E3594}" dt="2025-03-05T14:51:17.148" v="537"/>
          <ac:spMkLst>
            <pc:docMk/>
            <pc:sldMk cId="3188756818" sldId="2147482616"/>
            <ac:spMk id="19" creationId="{D8CE7914-CBBC-5E99-3C4E-C5765617CC71}"/>
          </ac:spMkLst>
        </pc:spChg>
        <pc:spChg chg="mod">
          <ac:chgData name="Hess, Christian Johannes" userId="3c21887f-2045-4c66-98d6-7d6208f3a5e9" providerId="ADAL" clId="{98B1D322-169F-4338-94A6-9C75A03E3594}" dt="2025-03-05T14:51:23.263" v="544" actId="1036"/>
          <ac:spMkLst>
            <pc:docMk/>
            <pc:sldMk cId="3188756818" sldId="2147482616"/>
            <ac:spMk id="23" creationId="{3195ABAB-67CE-F714-1604-528A4C8CEAA4}"/>
          </ac:spMkLst>
        </pc:spChg>
        <pc:spChg chg="mod">
          <ac:chgData name="Hess, Christian Johannes" userId="3c21887f-2045-4c66-98d6-7d6208f3a5e9" providerId="ADAL" clId="{98B1D322-169F-4338-94A6-9C75A03E3594}" dt="2025-03-05T16:00:45.288" v="1722"/>
          <ac:spMkLst>
            <pc:docMk/>
            <pc:sldMk cId="3188756818" sldId="2147482616"/>
            <ac:spMk id="25" creationId="{3AF7F11E-CC97-D96C-595A-28C6B90225CE}"/>
          </ac:spMkLst>
        </pc:spChg>
        <pc:spChg chg="mod">
          <ac:chgData name="Hess, Christian Johannes" userId="3c21887f-2045-4c66-98d6-7d6208f3a5e9" providerId="ADAL" clId="{98B1D322-169F-4338-94A6-9C75A03E3594}" dt="2025-03-05T16:01:06.529" v="1752" actId="1035"/>
          <ac:spMkLst>
            <pc:docMk/>
            <pc:sldMk cId="3188756818" sldId="2147482616"/>
            <ac:spMk id="26" creationId="{6A581ED3-601C-A044-A72C-7EED9696B2DB}"/>
          </ac:spMkLst>
        </pc:spChg>
        <pc:spChg chg="mod">
          <ac:chgData name="Hess, Christian Johannes" userId="3c21887f-2045-4c66-98d6-7d6208f3a5e9" providerId="ADAL" clId="{98B1D322-169F-4338-94A6-9C75A03E3594}" dt="2025-03-05T16:01:06.529" v="1752" actId="1035"/>
          <ac:spMkLst>
            <pc:docMk/>
            <pc:sldMk cId="3188756818" sldId="2147482616"/>
            <ac:spMk id="28" creationId="{AADF7B53-9E4C-8056-7221-86277A45CD44}"/>
          </ac:spMkLst>
        </pc:spChg>
        <pc:spChg chg="mod">
          <ac:chgData name="Hess, Christian Johannes" userId="3c21887f-2045-4c66-98d6-7d6208f3a5e9" providerId="ADAL" clId="{98B1D322-169F-4338-94A6-9C75A03E3594}" dt="2025-03-05T16:01:06.529" v="1752" actId="1035"/>
          <ac:spMkLst>
            <pc:docMk/>
            <pc:sldMk cId="3188756818" sldId="2147482616"/>
            <ac:spMk id="32" creationId="{9828C3F1-4E39-BBB9-603A-D4A23446A554}"/>
          </ac:spMkLst>
        </pc:spChg>
        <pc:spChg chg="mod">
          <ac:chgData name="Hess, Christian Johannes" userId="3c21887f-2045-4c66-98d6-7d6208f3a5e9" providerId="ADAL" clId="{98B1D322-169F-4338-94A6-9C75A03E3594}" dt="2025-03-05T16:01:06.529" v="1752" actId="1035"/>
          <ac:spMkLst>
            <pc:docMk/>
            <pc:sldMk cId="3188756818" sldId="2147482616"/>
            <ac:spMk id="34" creationId="{D4588552-0F6F-D87D-A7FD-8FDCAEBA242F}"/>
          </ac:spMkLst>
        </pc:spChg>
        <pc:picChg chg="mod">
          <ac:chgData name="Hess, Christian Johannes" userId="3c21887f-2045-4c66-98d6-7d6208f3a5e9" providerId="ADAL" clId="{98B1D322-169F-4338-94A6-9C75A03E3594}" dt="2025-03-05T16:01:06.529" v="1752" actId="1035"/>
          <ac:picMkLst>
            <pc:docMk/>
            <pc:sldMk cId="3188756818" sldId="2147482616"/>
            <ac:picMk id="21" creationId="{AD746285-306A-AF66-5A93-0684BB46CB96}"/>
          </ac:picMkLst>
        </pc:picChg>
        <pc:picChg chg="mod">
          <ac:chgData name="Hess, Christian Johannes" userId="3c21887f-2045-4c66-98d6-7d6208f3a5e9" providerId="ADAL" clId="{98B1D322-169F-4338-94A6-9C75A03E3594}" dt="2025-03-05T14:51:23.263" v="544" actId="1036"/>
          <ac:picMkLst>
            <pc:docMk/>
            <pc:sldMk cId="3188756818" sldId="2147482616"/>
            <ac:picMk id="24" creationId="{17DFE80D-C3F8-9D93-597D-7E690FAEF558}"/>
          </ac:picMkLst>
        </pc:picChg>
        <pc:picChg chg="mod">
          <ac:chgData name="Hess, Christian Johannes" userId="3c21887f-2045-4c66-98d6-7d6208f3a5e9" providerId="ADAL" clId="{98B1D322-169F-4338-94A6-9C75A03E3594}" dt="2025-03-05T16:01:06.529" v="1752" actId="1035"/>
          <ac:picMkLst>
            <pc:docMk/>
            <pc:sldMk cId="3188756818" sldId="2147482616"/>
            <ac:picMk id="30" creationId="{C478725E-AA44-364F-DF2C-4E1131B3518B}"/>
          </ac:picMkLst>
        </pc:picChg>
        <pc:cxnChg chg="mod">
          <ac:chgData name="Hess, Christian Johannes" userId="3c21887f-2045-4c66-98d6-7d6208f3a5e9" providerId="ADAL" clId="{98B1D322-169F-4338-94A6-9C75A03E3594}" dt="2025-03-05T16:01:06.529" v="1752" actId="1035"/>
          <ac:cxnSpMkLst>
            <pc:docMk/>
            <pc:sldMk cId="3188756818" sldId="2147482616"/>
            <ac:cxnSpMk id="10" creationId="{369B7892-BCCA-04CD-FCF9-9E945B809B7E}"/>
          </ac:cxnSpMkLst>
        </pc:cxnChg>
        <pc:cxnChg chg="mod">
          <ac:chgData name="Hess, Christian Johannes" userId="3c21887f-2045-4c66-98d6-7d6208f3a5e9" providerId="ADAL" clId="{98B1D322-169F-4338-94A6-9C75A03E3594}" dt="2025-03-05T16:01:06.529" v="1752" actId="1035"/>
          <ac:cxnSpMkLst>
            <pc:docMk/>
            <pc:sldMk cId="3188756818" sldId="2147482616"/>
            <ac:cxnSpMk id="12" creationId="{7C29100F-61B6-D099-8FB7-9534A7BF27A0}"/>
          </ac:cxnSpMkLst>
        </pc:cxnChg>
        <pc:cxnChg chg="mod">
          <ac:chgData name="Hess, Christian Johannes" userId="3c21887f-2045-4c66-98d6-7d6208f3a5e9" providerId="ADAL" clId="{98B1D322-169F-4338-94A6-9C75A03E3594}" dt="2025-03-05T14:51:23.263" v="544" actId="1036"/>
          <ac:cxnSpMkLst>
            <pc:docMk/>
            <pc:sldMk cId="3188756818" sldId="2147482616"/>
            <ac:cxnSpMk id="13" creationId="{2231C7CB-87EE-41DB-915C-B913F7C77FB1}"/>
          </ac:cxnSpMkLst>
        </pc:cxnChg>
      </pc:sldChg>
      <pc:sldChg chg="modSp mod">
        <pc:chgData name="Hess, Christian Johannes" userId="3c21887f-2045-4c66-98d6-7d6208f3a5e9" providerId="ADAL" clId="{98B1D322-169F-4338-94A6-9C75A03E3594}" dt="2025-03-05T16:00:36.149" v="1710"/>
        <pc:sldMkLst>
          <pc:docMk/>
          <pc:sldMk cId="1917559313" sldId="2147482617"/>
        </pc:sldMkLst>
        <pc:spChg chg="mod">
          <ac:chgData name="Hess, Christian Johannes" userId="3c21887f-2045-4c66-98d6-7d6208f3a5e9" providerId="ADAL" clId="{98B1D322-169F-4338-94A6-9C75A03E3594}" dt="2025-03-05T15:45:45.498" v="935" actId="13926"/>
          <ac:spMkLst>
            <pc:docMk/>
            <pc:sldMk cId="1917559313" sldId="2147482617"/>
            <ac:spMk id="19" creationId="{D8CE7914-CBBC-5E99-3C4E-C5765617CC71}"/>
          </ac:spMkLst>
        </pc:spChg>
        <pc:spChg chg="mod">
          <ac:chgData name="Hess, Christian Johannes" userId="3c21887f-2045-4c66-98d6-7d6208f3a5e9" providerId="ADAL" clId="{98B1D322-169F-4338-94A6-9C75A03E3594}" dt="2025-03-05T14:20:32.127" v="386" actId="1036"/>
          <ac:spMkLst>
            <pc:docMk/>
            <pc:sldMk cId="1917559313" sldId="2147482617"/>
            <ac:spMk id="20" creationId="{B0D5819D-69F1-A952-719B-C21EBA2347B1}"/>
          </ac:spMkLst>
        </pc:spChg>
        <pc:spChg chg="mod">
          <ac:chgData name="Hess, Christian Johannes" userId="3c21887f-2045-4c66-98d6-7d6208f3a5e9" providerId="ADAL" clId="{98B1D322-169F-4338-94A6-9C75A03E3594}" dt="2025-03-05T16:00:22.252" v="1686"/>
          <ac:spMkLst>
            <pc:docMk/>
            <pc:sldMk cId="1917559313" sldId="2147482617"/>
            <ac:spMk id="22" creationId="{24A8C74C-491F-3135-9168-31168889F6C2}"/>
          </ac:spMkLst>
        </pc:spChg>
        <pc:spChg chg="mod">
          <ac:chgData name="Hess, Christian Johannes" userId="3c21887f-2045-4c66-98d6-7d6208f3a5e9" providerId="ADAL" clId="{98B1D322-169F-4338-94A6-9C75A03E3594}" dt="2025-03-05T14:20:32.127" v="386" actId="1036"/>
          <ac:spMkLst>
            <pc:docMk/>
            <pc:sldMk cId="1917559313" sldId="2147482617"/>
            <ac:spMk id="26" creationId="{6A581ED3-601C-A044-A72C-7EED9696B2DB}"/>
          </ac:spMkLst>
        </pc:spChg>
        <pc:spChg chg="mod">
          <ac:chgData name="Hess, Christian Johannes" userId="3c21887f-2045-4c66-98d6-7d6208f3a5e9" providerId="ADAL" clId="{98B1D322-169F-4338-94A6-9C75A03E3594}" dt="2025-03-05T16:00:28.719" v="1698"/>
          <ac:spMkLst>
            <pc:docMk/>
            <pc:sldMk cId="1917559313" sldId="2147482617"/>
            <ac:spMk id="28" creationId="{AADF7B53-9E4C-8056-7221-86277A45CD44}"/>
          </ac:spMkLst>
        </pc:spChg>
        <pc:spChg chg="mod">
          <ac:chgData name="Hess, Christian Johannes" userId="3c21887f-2045-4c66-98d6-7d6208f3a5e9" providerId="ADAL" clId="{98B1D322-169F-4338-94A6-9C75A03E3594}" dt="2025-03-05T16:00:36.149" v="1710"/>
          <ac:spMkLst>
            <pc:docMk/>
            <pc:sldMk cId="1917559313" sldId="2147482617"/>
            <ac:spMk id="31" creationId="{223E6373-1FD2-8938-AFF2-CBED861BB861}"/>
          </ac:spMkLst>
        </pc:spChg>
        <pc:spChg chg="mod">
          <ac:chgData name="Hess, Christian Johannes" userId="3c21887f-2045-4c66-98d6-7d6208f3a5e9" providerId="ADAL" clId="{98B1D322-169F-4338-94A6-9C75A03E3594}" dt="2025-03-05T14:20:32.127" v="386" actId="1036"/>
          <ac:spMkLst>
            <pc:docMk/>
            <pc:sldMk cId="1917559313" sldId="2147482617"/>
            <ac:spMk id="32" creationId="{9828C3F1-4E39-BBB9-603A-D4A23446A554}"/>
          </ac:spMkLst>
        </pc:spChg>
        <pc:spChg chg="mod">
          <ac:chgData name="Hess, Christian Johannes" userId="3c21887f-2045-4c66-98d6-7d6208f3a5e9" providerId="ADAL" clId="{98B1D322-169F-4338-94A6-9C75A03E3594}" dt="2025-03-05T14:20:32.127" v="386" actId="1036"/>
          <ac:spMkLst>
            <pc:docMk/>
            <pc:sldMk cId="1917559313" sldId="2147482617"/>
            <ac:spMk id="35" creationId="{2E057132-9E88-C186-8B26-2DDE5A5CE540}"/>
          </ac:spMkLst>
        </pc:spChg>
        <pc:spChg chg="mod">
          <ac:chgData name="Hess, Christian Johannes" userId="3c21887f-2045-4c66-98d6-7d6208f3a5e9" providerId="ADAL" clId="{98B1D322-169F-4338-94A6-9C75A03E3594}" dt="2025-03-05T14:20:32.127" v="386" actId="1036"/>
          <ac:spMkLst>
            <pc:docMk/>
            <pc:sldMk cId="1917559313" sldId="2147482617"/>
            <ac:spMk id="38" creationId="{98E16F99-7FB5-382B-EC4A-93C7D9D50B6C}"/>
          </ac:spMkLst>
        </pc:spChg>
        <pc:spChg chg="mod">
          <ac:chgData name="Hess, Christian Johannes" userId="3c21887f-2045-4c66-98d6-7d6208f3a5e9" providerId="ADAL" clId="{98B1D322-169F-4338-94A6-9C75A03E3594}" dt="2025-03-05T14:25:34.251" v="415" actId="20577"/>
          <ac:spMkLst>
            <pc:docMk/>
            <pc:sldMk cId="1917559313" sldId="2147482617"/>
            <ac:spMk id="39" creationId="{2F403B54-A756-1072-4E70-F9E82DF08EB2}"/>
          </ac:spMkLst>
        </pc:spChg>
        <pc:picChg chg="mod">
          <ac:chgData name="Hess, Christian Johannes" userId="3c21887f-2045-4c66-98d6-7d6208f3a5e9" providerId="ADAL" clId="{98B1D322-169F-4338-94A6-9C75A03E3594}" dt="2025-03-05T14:20:32.127" v="386" actId="1036"/>
          <ac:picMkLst>
            <pc:docMk/>
            <pc:sldMk cId="1917559313" sldId="2147482617"/>
            <ac:picMk id="21" creationId="{A594AD80-5DE4-3FFA-EE2C-0B25571D16A4}"/>
          </ac:picMkLst>
        </pc:picChg>
        <pc:picChg chg="mod">
          <ac:chgData name="Hess, Christian Johannes" userId="3c21887f-2045-4c66-98d6-7d6208f3a5e9" providerId="ADAL" clId="{98B1D322-169F-4338-94A6-9C75A03E3594}" dt="2025-03-05T14:20:32.127" v="386" actId="1036"/>
          <ac:picMkLst>
            <pc:docMk/>
            <pc:sldMk cId="1917559313" sldId="2147482617"/>
            <ac:picMk id="24" creationId="{9F967EFF-FB92-2D06-CB1C-653A0ADEB619}"/>
          </ac:picMkLst>
        </pc:picChg>
        <pc:picChg chg="mod">
          <ac:chgData name="Hess, Christian Johannes" userId="3c21887f-2045-4c66-98d6-7d6208f3a5e9" providerId="ADAL" clId="{98B1D322-169F-4338-94A6-9C75A03E3594}" dt="2025-03-05T14:20:32.127" v="386" actId="1036"/>
          <ac:picMkLst>
            <pc:docMk/>
            <pc:sldMk cId="1917559313" sldId="2147482617"/>
            <ac:picMk id="30" creationId="{31877043-1E44-6C58-EB6B-3871C18647ED}"/>
          </ac:picMkLst>
        </pc:picChg>
        <pc:picChg chg="mod">
          <ac:chgData name="Hess, Christian Johannes" userId="3c21887f-2045-4c66-98d6-7d6208f3a5e9" providerId="ADAL" clId="{98B1D322-169F-4338-94A6-9C75A03E3594}" dt="2025-03-05T14:20:32.127" v="386" actId="1036"/>
          <ac:picMkLst>
            <pc:docMk/>
            <pc:sldMk cId="1917559313" sldId="2147482617"/>
            <ac:picMk id="33" creationId="{4B7501B4-0051-2B6A-E235-3BE36530654D}"/>
          </ac:picMkLst>
        </pc:picChg>
        <pc:picChg chg="mod">
          <ac:chgData name="Hess, Christian Johannes" userId="3c21887f-2045-4c66-98d6-7d6208f3a5e9" providerId="ADAL" clId="{98B1D322-169F-4338-94A6-9C75A03E3594}" dt="2025-03-05T14:20:32.127" v="386" actId="1036"/>
          <ac:picMkLst>
            <pc:docMk/>
            <pc:sldMk cId="1917559313" sldId="2147482617"/>
            <ac:picMk id="36" creationId="{55CC9209-7566-13F8-77C5-B940F397FBF0}"/>
          </ac:picMkLst>
        </pc:picChg>
        <pc:cxnChg chg="mod">
          <ac:chgData name="Hess, Christian Johannes" userId="3c21887f-2045-4c66-98d6-7d6208f3a5e9" providerId="ADAL" clId="{98B1D322-169F-4338-94A6-9C75A03E3594}" dt="2025-03-05T14:20:32.127" v="386" actId="1036"/>
          <ac:cxnSpMkLst>
            <pc:docMk/>
            <pc:sldMk cId="1917559313" sldId="2147482617"/>
            <ac:cxnSpMk id="11" creationId="{93A8B580-DBC6-BAFE-DCA8-825C65ED17A5}"/>
          </ac:cxnSpMkLst>
        </pc:cxnChg>
        <pc:cxnChg chg="mod">
          <ac:chgData name="Hess, Christian Johannes" userId="3c21887f-2045-4c66-98d6-7d6208f3a5e9" providerId="ADAL" clId="{98B1D322-169F-4338-94A6-9C75A03E3594}" dt="2025-03-05T14:20:32.127" v="386" actId="1036"/>
          <ac:cxnSpMkLst>
            <pc:docMk/>
            <pc:sldMk cId="1917559313" sldId="2147482617"/>
            <ac:cxnSpMk id="12" creationId="{7C29100F-61B6-D099-8FB7-9534A7BF27A0}"/>
          </ac:cxnSpMkLst>
        </pc:cxnChg>
        <pc:cxnChg chg="mod">
          <ac:chgData name="Hess, Christian Johannes" userId="3c21887f-2045-4c66-98d6-7d6208f3a5e9" providerId="ADAL" clId="{98B1D322-169F-4338-94A6-9C75A03E3594}" dt="2025-03-05T14:20:32.127" v="386" actId="1036"/>
          <ac:cxnSpMkLst>
            <pc:docMk/>
            <pc:sldMk cId="1917559313" sldId="2147482617"/>
            <ac:cxnSpMk id="14" creationId="{C4E7A8FD-6175-8F3E-BA29-58924B33BE67}"/>
          </ac:cxnSpMkLst>
        </pc:cxnChg>
      </pc:sldChg>
      <pc:sldChg chg="addSp modSp mod">
        <pc:chgData name="Hess, Christian Johannes" userId="3c21887f-2045-4c66-98d6-7d6208f3a5e9" providerId="ADAL" clId="{98B1D322-169F-4338-94A6-9C75A03E3594}" dt="2025-03-05T16:00:09.393" v="1674"/>
        <pc:sldMkLst>
          <pc:docMk/>
          <pc:sldMk cId="3226258099" sldId="2147482618"/>
        </pc:sldMkLst>
        <pc:spChg chg="add">
          <ac:chgData name="Hess, Christian Johannes" userId="3c21887f-2045-4c66-98d6-7d6208f3a5e9" providerId="ADAL" clId="{98B1D322-169F-4338-94A6-9C75A03E3594}" dt="2025-03-05T14:27:43.832" v="432"/>
          <ac:spMkLst>
            <pc:docMk/>
            <pc:sldMk cId="3226258099" sldId="2147482618"/>
            <ac:spMk id="4" creationId="{4AA2687C-8654-0F54-03E0-69C9E627EF5D}"/>
          </ac:spMkLst>
        </pc:spChg>
        <pc:spChg chg="mod">
          <ac:chgData name="Hess, Christian Johannes" userId="3c21887f-2045-4c66-98d6-7d6208f3a5e9" providerId="ADAL" clId="{98B1D322-169F-4338-94A6-9C75A03E3594}" dt="2025-03-05T14:28:16.673" v="459" actId="20577"/>
          <ac:spMkLst>
            <pc:docMk/>
            <pc:sldMk cId="3226258099" sldId="2147482618"/>
            <ac:spMk id="16" creationId="{71A9303A-95BB-D9FE-B177-D109E8E0F339}"/>
          </ac:spMkLst>
        </pc:spChg>
        <pc:spChg chg="mod">
          <ac:chgData name="Hess, Christian Johannes" userId="3c21887f-2045-4c66-98d6-7d6208f3a5e9" providerId="ADAL" clId="{98B1D322-169F-4338-94A6-9C75A03E3594}" dt="2025-03-05T15:59:55.916" v="1650"/>
          <ac:spMkLst>
            <pc:docMk/>
            <pc:sldMk cId="3226258099" sldId="2147482618"/>
            <ac:spMk id="25" creationId="{3AF7F11E-CC97-D96C-595A-28C6B90225CE}"/>
          </ac:spMkLst>
        </pc:spChg>
        <pc:spChg chg="mod">
          <ac:chgData name="Hess, Christian Johannes" userId="3c21887f-2045-4c66-98d6-7d6208f3a5e9" providerId="ADAL" clId="{98B1D322-169F-4338-94A6-9C75A03E3594}" dt="2025-03-05T14:27:56.515" v="446" actId="1036"/>
          <ac:spMkLst>
            <pc:docMk/>
            <pc:sldMk cId="3226258099" sldId="2147482618"/>
            <ac:spMk id="29" creationId="{FFCD6AA0-DC23-0E27-AE73-415D18660094}"/>
          </ac:spMkLst>
        </pc:spChg>
        <pc:spChg chg="mod">
          <ac:chgData name="Hess, Christian Johannes" userId="3c21887f-2045-4c66-98d6-7d6208f3a5e9" providerId="ADAL" clId="{98B1D322-169F-4338-94A6-9C75A03E3594}" dt="2025-03-05T16:00:02.894" v="1662"/>
          <ac:spMkLst>
            <pc:docMk/>
            <pc:sldMk cId="3226258099" sldId="2147482618"/>
            <ac:spMk id="31" creationId="{223E6373-1FD2-8938-AFF2-CBED861BB861}"/>
          </ac:spMkLst>
        </pc:spChg>
        <pc:spChg chg="mod">
          <ac:chgData name="Hess, Christian Johannes" userId="3c21887f-2045-4c66-98d6-7d6208f3a5e9" providerId="ADAL" clId="{98B1D322-169F-4338-94A6-9C75A03E3594}" dt="2025-03-05T14:27:56.515" v="446" actId="1036"/>
          <ac:spMkLst>
            <pc:docMk/>
            <pc:sldMk cId="3226258099" sldId="2147482618"/>
            <ac:spMk id="35" creationId="{2E057132-9E88-C186-8B26-2DDE5A5CE540}"/>
          </ac:spMkLst>
        </pc:spChg>
        <pc:spChg chg="mod">
          <ac:chgData name="Hess, Christian Johannes" userId="3c21887f-2045-4c66-98d6-7d6208f3a5e9" providerId="ADAL" clId="{98B1D322-169F-4338-94A6-9C75A03E3594}" dt="2025-03-05T16:00:09.393" v="1674"/>
          <ac:spMkLst>
            <pc:docMk/>
            <pc:sldMk cId="3226258099" sldId="2147482618"/>
            <ac:spMk id="37" creationId="{D3581E4D-BB4A-7910-DCB5-51234CCD2082}"/>
          </ac:spMkLst>
        </pc:spChg>
        <pc:picChg chg="mod">
          <ac:chgData name="Hess, Christian Johannes" userId="3c21887f-2045-4c66-98d6-7d6208f3a5e9" providerId="ADAL" clId="{98B1D322-169F-4338-94A6-9C75A03E3594}" dt="2025-03-05T14:27:56.515" v="446" actId="1036"/>
          <ac:picMkLst>
            <pc:docMk/>
            <pc:sldMk cId="3226258099" sldId="2147482618"/>
            <ac:picMk id="21" creationId="{65D141EA-B9EA-7506-339D-B515973BCF02}"/>
          </ac:picMkLst>
        </pc:picChg>
        <pc:picChg chg="mod">
          <ac:chgData name="Hess, Christian Johannes" userId="3c21887f-2045-4c66-98d6-7d6208f3a5e9" providerId="ADAL" clId="{98B1D322-169F-4338-94A6-9C75A03E3594}" dt="2025-03-05T14:27:56.515" v="446" actId="1036"/>
          <ac:picMkLst>
            <pc:docMk/>
            <pc:sldMk cId="3226258099" sldId="2147482618"/>
            <ac:picMk id="30" creationId="{935CCF54-9EB7-DD5A-4D5A-C10AEF335487}"/>
          </ac:picMkLst>
        </pc:picChg>
        <pc:cxnChg chg="mod">
          <ac:chgData name="Hess, Christian Johannes" userId="3c21887f-2045-4c66-98d6-7d6208f3a5e9" providerId="ADAL" clId="{98B1D322-169F-4338-94A6-9C75A03E3594}" dt="2025-03-05T14:27:56.515" v="446" actId="1036"/>
          <ac:cxnSpMkLst>
            <pc:docMk/>
            <pc:sldMk cId="3226258099" sldId="2147482618"/>
            <ac:cxnSpMk id="9" creationId="{2F1AD679-3446-0A79-C228-D2E3A9893797}"/>
          </ac:cxnSpMkLst>
        </pc:cxnChg>
        <pc:cxnChg chg="mod">
          <ac:chgData name="Hess, Christian Johannes" userId="3c21887f-2045-4c66-98d6-7d6208f3a5e9" providerId="ADAL" clId="{98B1D322-169F-4338-94A6-9C75A03E3594}" dt="2025-03-05T14:27:56.515" v="446" actId="1036"/>
          <ac:cxnSpMkLst>
            <pc:docMk/>
            <pc:sldMk cId="3226258099" sldId="2147482618"/>
            <ac:cxnSpMk id="11" creationId="{93A8B580-DBC6-BAFE-DCA8-825C65ED17A5}"/>
          </ac:cxnSpMkLst>
        </pc:cxnChg>
      </pc:sldChg>
      <pc:sldChg chg="addSp modSp mod">
        <pc:chgData name="Hess, Christian Johannes" userId="3c21887f-2045-4c66-98d6-7d6208f3a5e9" providerId="ADAL" clId="{98B1D322-169F-4338-94A6-9C75A03E3594}" dt="2025-03-05T15:59:46.751" v="1638" actId="1036"/>
        <pc:sldMkLst>
          <pc:docMk/>
          <pc:sldMk cId="3708005198" sldId="2147482619"/>
        </pc:sldMkLst>
        <pc:spChg chg="add">
          <ac:chgData name="Hess, Christian Johannes" userId="3c21887f-2045-4c66-98d6-7d6208f3a5e9" providerId="ADAL" clId="{98B1D322-169F-4338-94A6-9C75A03E3594}" dt="2025-03-05T14:26:31.138" v="417"/>
          <ac:spMkLst>
            <pc:docMk/>
            <pc:sldMk cId="3708005198" sldId="2147482619"/>
            <ac:spMk id="4" creationId="{6F5A8F80-988C-89F8-7041-56D02A8CE89E}"/>
          </ac:spMkLst>
        </pc:spChg>
        <pc:spChg chg="mod">
          <ac:chgData name="Hess, Christian Johannes" userId="3c21887f-2045-4c66-98d6-7d6208f3a5e9" providerId="ADAL" clId="{98B1D322-169F-4338-94A6-9C75A03E3594}" dt="2025-03-05T14:26:55.591" v="430" actId="5793"/>
          <ac:spMkLst>
            <pc:docMk/>
            <pc:sldMk cId="3708005198" sldId="2147482619"/>
            <ac:spMk id="16" creationId="{71A9303A-95BB-D9FE-B177-D109E8E0F339}"/>
          </ac:spMkLst>
        </pc:spChg>
        <pc:spChg chg="mod">
          <ac:chgData name="Hess, Christian Johannes" userId="3c21887f-2045-4c66-98d6-7d6208f3a5e9" providerId="ADAL" clId="{98B1D322-169F-4338-94A6-9C75A03E3594}" dt="2025-03-05T14:23:35.503" v="392"/>
          <ac:spMkLst>
            <pc:docMk/>
            <pc:sldMk cId="3708005198" sldId="2147482619"/>
            <ac:spMk id="19" creationId="{D8CE7914-CBBC-5E99-3C4E-C5765617CC71}"/>
          </ac:spMkLst>
        </pc:spChg>
        <pc:spChg chg="mod">
          <ac:chgData name="Hess, Christian Johannes" userId="3c21887f-2045-4c66-98d6-7d6208f3a5e9" providerId="ADAL" clId="{98B1D322-169F-4338-94A6-9C75A03E3594}" dt="2025-03-05T15:59:11.982" v="1599"/>
          <ac:spMkLst>
            <pc:docMk/>
            <pc:sldMk cId="3708005198" sldId="2147482619"/>
            <ac:spMk id="25" creationId="{3AF7F11E-CC97-D96C-595A-28C6B90225CE}"/>
          </ac:spMkLst>
        </pc:spChg>
        <pc:spChg chg="mod">
          <ac:chgData name="Hess, Christian Johannes" userId="3c21887f-2045-4c66-98d6-7d6208f3a5e9" providerId="ADAL" clId="{98B1D322-169F-4338-94A6-9C75A03E3594}" dt="2025-03-05T15:59:24.029" v="1611"/>
          <ac:spMkLst>
            <pc:docMk/>
            <pc:sldMk cId="3708005198" sldId="2147482619"/>
            <ac:spMk id="31" creationId="{223E6373-1FD2-8938-AFF2-CBED861BB861}"/>
          </ac:spMkLst>
        </pc:spChg>
        <pc:spChg chg="mod">
          <ac:chgData name="Hess, Christian Johannes" userId="3c21887f-2045-4c66-98d6-7d6208f3a5e9" providerId="ADAL" clId="{98B1D322-169F-4338-94A6-9C75A03E3594}" dt="2025-03-05T15:59:32.789" v="1623"/>
          <ac:spMkLst>
            <pc:docMk/>
            <pc:sldMk cId="3708005198" sldId="2147482619"/>
            <ac:spMk id="34" creationId="{D4588552-0F6F-D87D-A7FD-8FDCAEBA242F}"/>
          </ac:spMkLst>
        </pc:spChg>
        <pc:spChg chg="mod">
          <ac:chgData name="Hess, Christian Johannes" userId="3c21887f-2045-4c66-98d6-7d6208f3a5e9" providerId="ADAL" clId="{98B1D322-169F-4338-94A6-9C75A03E3594}" dt="2025-03-05T15:59:46.751" v="1638" actId="1036"/>
          <ac:spMkLst>
            <pc:docMk/>
            <pc:sldMk cId="3708005198" sldId="2147482619"/>
            <ac:spMk id="35" creationId="{2E057132-9E88-C186-8B26-2DDE5A5CE540}"/>
          </ac:spMkLst>
        </pc:spChg>
        <pc:spChg chg="mod">
          <ac:chgData name="Hess, Christian Johannes" userId="3c21887f-2045-4c66-98d6-7d6208f3a5e9" providerId="ADAL" clId="{98B1D322-169F-4338-94A6-9C75A03E3594}" dt="2025-03-05T15:59:46.751" v="1638" actId="1036"/>
          <ac:spMkLst>
            <pc:docMk/>
            <pc:sldMk cId="3708005198" sldId="2147482619"/>
            <ac:spMk id="37" creationId="{D3581E4D-BB4A-7910-DCB5-51234CCD2082}"/>
          </ac:spMkLst>
        </pc:spChg>
        <pc:picChg chg="mod">
          <ac:chgData name="Hess, Christian Johannes" userId="3c21887f-2045-4c66-98d6-7d6208f3a5e9" providerId="ADAL" clId="{98B1D322-169F-4338-94A6-9C75A03E3594}" dt="2025-03-05T15:59:46.751" v="1638" actId="1036"/>
          <ac:picMkLst>
            <pc:docMk/>
            <pc:sldMk cId="3708005198" sldId="2147482619"/>
            <ac:picMk id="33" creationId="{E33A9AA0-ADB8-18A2-B170-DF76A46514D1}"/>
          </ac:picMkLst>
        </pc:picChg>
        <pc:cxnChg chg="mod">
          <ac:chgData name="Hess, Christian Johannes" userId="3c21887f-2045-4c66-98d6-7d6208f3a5e9" providerId="ADAL" clId="{98B1D322-169F-4338-94A6-9C75A03E3594}" dt="2025-03-05T15:59:46.751" v="1638" actId="1036"/>
          <ac:cxnSpMkLst>
            <pc:docMk/>
            <pc:sldMk cId="3708005198" sldId="2147482619"/>
            <ac:cxnSpMk id="9" creationId="{2F1AD679-3446-0A79-C228-D2E3A9893797}"/>
          </ac:cxnSpMkLst>
        </pc:cxnChg>
      </pc:sldChg>
      <pc:sldChg chg="modSp mod">
        <pc:chgData name="Hess, Christian Johannes" userId="3c21887f-2045-4c66-98d6-7d6208f3a5e9" providerId="ADAL" clId="{98B1D322-169F-4338-94A6-9C75A03E3594}" dt="2025-03-05T15:58:59.077" v="1587"/>
        <pc:sldMkLst>
          <pc:docMk/>
          <pc:sldMk cId="163561008" sldId="2147482620"/>
        </pc:sldMkLst>
        <pc:spChg chg="mod">
          <ac:chgData name="Hess, Christian Johannes" userId="3c21887f-2045-4c66-98d6-7d6208f3a5e9" providerId="ADAL" clId="{98B1D322-169F-4338-94A6-9C75A03E3594}" dt="2025-03-05T15:58:24.372" v="1539"/>
          <ac:spMkLst>
            <pc:docMk/>
            <pc:sldMk cId="163561008" sldId="2147482620"/>
            <ac:spMk id="22" creationId="{24A8C74C-491F-3135-9168-31168889F6C2}"/>
          </ac:spMkLst>
        </pc:spChg>
        <pc:spChg chg="mod">
          <ac:chgData name="Hess, Christian Johannes" userId="3c21887f-2045-4c66-98d6-7d6208f3a5e9" providerId="ADAL" clId="{98B1D322-169F-4338-94A6-9C75A03E3594}" dt="2025-03-05T15:58:35.682" v="1551"/>
          <ac:spMkLst>
            <pc:docMk/>
            <pc:sldMk cId="163561008" sldId="2147482620"/>
            <ac:spMk id="25" creationId="{3AF7F11E-CC97-D96C-595A-28C6B90225CE}"/>
          </ac:spMkLst>
        </pc:spChg>
        <pc:spChg chg="mod">
          <ac:chgData name="Hess, Christian Johannes" userId="3c21887f-2045-4c66-98d6-7d6208f3a5e9" providerId="ADAL" clId="{98B1D322-169F-4338-94A6-9C75A03E3594}" dt="2025-03-05T15:58:43.563" v="1563"/>
          <ac:spMkLst>
            <pc:docMk/>
            <pc:sldMk cId="163561008" sldId="2147482620"/>
            <ac:spMk id="31" creationId="{223E6373-1FD2-8938-AFF2-CBED861BB861}"/>
          </ac:spMkLst>
        </pc:spChg>
        <pc:spChg chg="mod">
          <ac:chgData name="Hess, Christian Johannes" userId="3c21887f-2045-4c66-98d6-7d6208f3a5e9" providerId="ADAL" clId="{98B1D322-169F-4338-94A6-9C75A03E3594}" dt="2025-03-05T15:58:50.482" v="1575"/>
          <ac:spMkLst>
            <pc:docMk/>
            <pc:sldMk cId="163561008" sldId="2147482620"/>
            <ac:spMk id="34" creationId="{D4588552-0F6F-D87D-A7FD-8FDCAEBA242F}"/>
          </ac:spMkLst>
        </pc:spChg>
        <pc:spChg chg="mod">
          <ac:chgData name="Hess, Christian Johannes" userId="3c21887f-2045-4c66-98d6-7d6208f3a5e9" providerId="ADAL" clId="{98B1D322-169F-4338-94A6-9C75A03E3594}" dt="2025-03-05T15:58:59.077" v="1587"/>
          <ac:spMkLst>
            <pc:docMk/>
            <pc:sldMk cId="163561008" sldId="2147482620"/>
            <ac:spMk id="37" creationId="{D3581E4D-BB4A-7910-DCB5-51234CCD2082}"/>
          </ac:spMkLst>
        </pc:spChg>
      </pc:sldChg>
      <pc:sldChg chg="modSp mod">
        <pc:chgData name="Hess, Christian Johannes" userId="3c21887f-2045-4c66-98d6-7d6208f3a5e9" providerId="ADAL" clId="{98B1D322-169F-4338-94A6-9C75A03E3594}" dt="2025-03-05T15:58:08.519" v="1527" actId="1035"/>
        <pc:sldMkLst>
          <pc:docMk/>
          <pc:sldMk cId="2782580343" sldId="2147482621"/>
        </pc:sldMkLst>
        <pc:spChg chg="mod">
          <ac:chgData name="Hess, Christian Johannes" userId="3c21887f-2045-4c66-98d6-7d6208f3a5e9" providerId="ADAL" clId="{98B1D322-169F-4338-94A6-9C75A03E3594}" dt="2025-03-05T14:16:17.254" v="337" actId="20577"/>
          <ac:spMkLst>
            <pc:docMk/>
            <pc:sldMk cId="2782580343" sldId="2147482621"/>
            <ac:spMk id="16" creationId="{71A9303A-95BB-D9FE-B177-D109E8E0F339}"/>
          </ac:spMkLst>
        </pc:spChg>
        <pc:spChg chg="mod">
          <ac:chgData name="Hess, Christian Johannes" userId="3c21887f-2045-4c66-98d6-7d6208f3a5e9" providerId="ADAL" clId="{98B1D322-169F-4338-94A6-9C75A03E3594}" dt="2025-03-05T15:56:46.562" v="1443"/>
          <ac:spMkLst>
            <pc:docMk/>
            <pc:sldMk cId="2782580343" sldId="2147482621"/>
            <ac:spMk id="22" creationId="{24A8C74C-491F-3135-9168-31168889F6C2}"/>
          </ac:spMkLst>
        </pc:spChg>
        <pc:spChg chg="mod">
          <ac:chgData name="Hess, Christian Johannes" userId="3c21887f-2045-4c66-98d6-7d6208f3a5e9" providerId="ADAL" clId="{98B1D322-169F-4338-94A6-9C75A03E3594}" dt="2025-03-05T15:58:08.519" v="1527" actId="1035"/>
          <ac:spMkLst>
            <pc:docMk/>
            <pc:sldMk cId="2782580343" sldId="2147482621"/>
            <ac:spMk id="23" creationId="{3195ABAB-67CE-F714-1604-528A4C8CEAA4}"/>
          </ac:spMkLst>
        </pc:spChg>
        <pc:spChg chg="mod">
          <ac:chgData name="Hess, Christian Johannes" userId="3c21887f-2045-4c66-98d6-7d6208f3a5e9" providerId="ADAL" clId="{98B1D322-169F-4338-94A6-9C75A03E3594}" dt="2025-03-05T15:58:08.519" v="1527" actId="1035"/>
          <ac:spMkLst>
            <pc:docMk/>
            <pc:sldMk cId="2782580343" sldId="2147482621"/>
            <ac:spMk id="25" creationId="{3AF7F11E-CC97-D96C-595A-28C6B90225CE}"/>
          </ac:spMkLst>
        </pc:spChg>
        <pc:spChg chg="mod">
          <ac:chgData name="Hess, Christian Johannes" userId="3c21887f-2045-4c66-98d6-7d6208f3a5e9" providerId="ADAL" clId="{98B1D322-169F-4338-94A6-9C75A03E3594}" dt="2025-03-05T15:58:08.519" v="1527" actId="1035"/>
          <ac:spMkLst>
            <pc:docMk/>
            <pc:sldMk cId="2782580343" sldId="2147482621"/>
            <ac:spMk id="29" creationId="{FFCD6AA0-DC23-0E27-AE73-415D18660094}"/>
          </ac:spMkLst>
        </pc:spChg>
        <pc:spChg chg="mod">
          <ac:chgData name="Hess, Christian Johannes" userId="3c21887f-2045-4c66-98d6-7d6208f3a5e9" providerId="ADAL" clId="{98B1D322-169F-4338-94A6-9C75A03E3594}" dt="2025-03-05T15:58:08.519" v="1527" actId="1035"/>
          <ac:spMkLst>
            <pc:docMk/>
            <pc:sldMk cId="2782580343" sldId="2147482621"/>
            <ac:spMk id="31" creationId="{223E6373-1FD2-8938-AFF2-CBED861BB861}"/>
          </ac:spMkLst>
        </pc:spChg>
        <pc:spChg chg="mod">
          <ac:chgData name="Hess, Christian Johannes" userId="3c21887f-2045-4c66-98d6-7d6208f3a5e9" providerId="ADAL" clId="{98B1D322-169F-4338-94A6-9C75A03E3594}" dt="2025-03-05T15:58:08.519" v="1527" actId="1035"/>
          <ac:spMkLst>
            <pc:docMk/>
            <pc:sldMk cId="2782580343" sldId="2147482621"/>
            <ac:spMk id="32" creationId="{9828C3F1-4E39-BBB9-603A-D4A23446A554}"/>
          </ac:spMkLst>
        </pc:spChg>
        <pc:spChg chg="mod">
          <ac:chgData name="Hess, Christian Johannes" userId="3c21887f-2045-4c66-98d6-7d6208f3a5e9" providerId="ADAL" clId="{98B1D322-169F-4338-94A6-9C75A03E3594}" dt="2025-03-05T15:58:08.519" v="1527" actId="1035"/>
          <ac:spMkLst>
            <pc:docMk/>
            <pc:sldMk cId="2782580343" sldId="2147482621"/>
            <ac:spMk id="34" creationId="{D4588552-0F6F-D87D-A7FD-8FDCAEBA242F}"/>
          </ac:spMkLst>
        </pc:spChg>
        <pc:spChg chg="mod">
          <ac:chgData name="Hess, Christian Johannes" userId="3c21887f-2045-4c66-98d6-7d6208f3a5e9" providerId="ADAL" clId="{98B1D322-169F-4338-94A6-9C75A03E3594}" dt="2025-03-05T15:58:08.519" v="1527" actId="1035"/>
          <ac:spMkLst>
            <pc:docMk/>
            <pc:sldMk cId="2782580343" sldId="2147482621"/>
            <ac:spMk id="35" creationId="{2E057132-9E88-C186-8B26-2DDE5A5CE540}"/>
          </ac:spMkLst>
        </pc:spChg>
        <pc:spChg chg="mod">
          <ac:chgData name="Hess, Christian Johannes" userId="3c21887f-2045-4c66-98d6-7d6208f3a5e9" providerId="ADAL" clId="{98B1D322-169F-4338-94A6-9C75A03E3594}" dt="2025-03-05T15:58:08.519" v="1527" actId="1035"/>
          <ac:spMkLst>
            <pc:docMk/>
            <pc:sldMk cId="2782580343" sldId="2147482621"/>
            <ac:spMk id="37" creationId="{D3581E4D-BB4A-7910-DCB5-51234CCD2082}"/>
          </ac:spMkLst>
        </pc:spChg>
        <pc:spChg chg="mod">
          <ac:chgData name="Hess, Christian Johannes" userId="3c21887f-2045-4c66-98d6-7d6208f3a5e9" providerId="ADAL" clId="{98B1D322-169F-4338-94A6-9C75A03E3594}" dt="2025-03-05T15:58:08.519" v="1527" actId="1035"/>
          <ac:spMkLst>
            <pc:docMk/>
            <pc:sldMk cId="2782580343" sldId="2147482621"/>
            <ac:spMk id="41" creationId="{894DFC84-F3D0-073C-00B5-80B1C8DA0690}"/>
          </ac:spMkLst>
        </pc:spChg>
        <pc:spChg chg="mod">
          <ac:chgData name="Hess, Christian Johannes" userId="3c21887f-2045-4c66-98d6-7d6208f3a5e9" providerId="ADAL" clId="{98B1D322-169F-4338-94A6-9C75A03E3594}" dt="2025-03-05T15:58:08.519" v="1527" actId="1035"/>
          <ac:spMkLst>
            <pc:docMk/>
            <pc:sldMk cId="2782580343" sldId="2147482621"/>
            <ac:spMk id="42" creationId="{813D2830-6611-F788-21AE-EF039AF12FC7}"/>
          </ac:spMkLst>
        </pc:spChg>
        <pc:spChg chg="mod">
          <ac:chgData name="Hess, Christian Johannes" userId="3c21887f-2045-4c66-98d6-7d6208f3a5e9" providerId="ADAL" clId="{98B1D322-169F-4338-94A6-9C75A03E3594}" dt="2025-03-05T15:58:08.519" v="1527" actId="1035"/>
          <ac:spMkLst>
            <pc:docMk/>
            <pc:sldMk cId="2782580343" sldId="2147482621"/>
            <ac:spMk id="43" creationId="{37AC9552-412A-3F6D-86D4-1BEA3FC49D5A}"/>
          </ac:spMkLst>
        </pc:spChg>
        <pc:spChg chg="mod">
          <ac:chgData name="Hess, Christian Johannes" userId="3c21887f-2045-4c66-98d6-7d6208f3a5e9" providerId="ADAL" clId="{98B1D322-169F-4338-94A6-9C75A03E3594}" dt="2025-03-05T15:58:08.519" v="1527" actId="1035"/>
          <ac:spMkLst>
            <pc:docMk/>
            <pc:sldMk cId="2782580343" sldId="2147482621"/>
            <ac:spMk id="44" creationId="{3F73D374-3DEC-DD7F-686D-1A6E1A5C5832}"/>
          </ac:spMkLst>
        </pc:spChg>
        <pc:picChg chg="mod">
          <ac:chgData name="Hess, Christian Johannes" userId="3c21887f-2045-4c66-98d6-7d6208f3a5e9" providerId="ADAL" clId="{98B1D322-169F-4338-94A6-9C75A03E3594}" dt="2025-03-05T15:58:08.519" v="1527" actId="1035"/>
          <ac:picMkLst>
            <pc:docMk/>
            <pc:sldMk cId="2782580343" sldId="2147482621"/>
            <ac:picMk id="27" creationId="{7905F2AB-874B-A0CC-EC57-BE9277FC9EC3}"/>
          </ac:picMkLst>
        </pc:picChg>
        <pc:picChg chg="mod">
          <ac:chgData name="Hess, Christian Johannes" userId="3c21887f-2045-4c66-98d6-7d6208f3a5e9" providerId="ADAL" clId="{98B1D322-169F-4338-94A6-9C75A03E3594}" dt="2025-03-05T15:58:08.519" v="1527" actId="1035"/>
          <ac:picMkLst>
            <pc:docMk/>
            <pc:sldMk cId="2782580343" sldId="2147482621"/>
            <ac:picMk id="30" creationId="{6FABD314-0C76-2B2C-14BD-7F94123F89D6}"/>
          </ac:picMkLst>
        </pc:picChg>
        <pc:picChg chg="mod">
          <ac:chgData name="Hess, Christian Johannes" userId="3c21887f-2045-4c66-98d6-7d6208f3a5e9" providerId="ADAL" clId="{98B1D322-169F-4338-94A6-9C75A03E3594}" dt="2025-03-05T15:58:08.519" v="1527" actId="1035"/>
          <ac:picMkLst>
            <pc:docMk/>
            <pc:sldMk cId="2782580343" sldId="2147482621"/>
            <ac:picMk id="33" creationId="{1235FB42-ABE0-00DA-C4E8-8744301EC3F4}"/>
          </ac:picMkLst>
        </pc:picChg>
        <pc:picChg chg="mod">
          <ac:chgData name="Hess, Christian Johannes" userId="3c21887f-2045-4c66-98d6-7d6208f3a5e9" providerId="ADAL" clId="{98B1D322-169F-4338-94A6-9C75A03E3594}" dt="2025-03-05T15:58:08.519" v="1527" actId="1035"/>
          <ac:picMkLst>
            <pc:docMk/>
            <pc:sldMk cId="2782580343" sldId="2147482621"/>
            <ac:picMk id="36" creationId="{BBCD0511-7739-24B9-ADB8-206679B09DC9}"/>
          </ac:picMkLst>
        </pc:picChg>
        <pc:picChg chg="mod">
          <ac:chgData name="Hess, Christian Johannes" userId="3c21887f-2045-4c66-98d6-7d6208f3a5e9" providerId="ADAL" clId="{98B1D322-169F-4338-94A6-9C75A03E3594}" dt="2025-03-05T15:58:08.519" v="1527" actId="1035"/>
          <ac:picMkLst>
            <pc:docMk/>
            <pc:sldMk cId="2782580343" sldId="2147482621"/>
            <ac:picMk id="45" creationId="{B54E8736-95A4-63F9-94E8-F40EE356E62D}"/>
          </ac:picMkLst>
        </pc:picChg>
        <pc:picChg chg="mod">
          <ac:chgData name="Hess, Christian Johannes" userId="3c21887f-2045-4c66-98d6-7d6208f3a5e9" providerId="ADAL" clId="{98B1D322-169F-4338-94A6-9C75A03E3594}" dt="2025-03-05T15:58:08.519" v="1527" actId="1035"/>
          <ac:picMkLst>
            <pc:docMk/>
            <pc:sldMk cId="2782580343" sldId="2147482621"/>
            <ac:picMk id="46" creationId="{5C71CD45-5CF7-4A4E-C8E3-189921E79412}"/>
          </ac:picMkLst>
        </pc:picChg>
        <pc:cxnChg chg="mod">
          <ac:chgData name="Hess, Christian Johannes" userId="3c21887f-2045-4c66-98d6-7d6208f3a5e9" providerId="ADAL" clId="{98B1D322-169F-4338-94A6-9C75A03E3594}" dt="2025-03-05T15:58:08.519" v="1527" actId="1035"/>
          <ac:cxnSpMkLst>
            <pc:docMk/>
            <pc:sldMk cId="2782580343" sldId="2147482621"/>
            <ac:cxnSpMk id="9" creationId="{2F1AD679-3446-0A79-C228-D2E3A9893797}"/>
          </ac:cxnSpMkLst>
        </pc:cxnChg>
        <pc:cxnChg chg="mod">
          <ac:chgData name="Hess, Christian Johannes" userId="3c21887f-2045-4c66-98d6-7d6208f3a5e9" providerId="ADAL" clId="{98B1D322-169F-4338-94A6-9C75A03E3594}" dt="2025-03-05T15:58:08.519" v="1527" actId="1035"/>
          <ac:cxnSpMkLst>
            <pc:docMk/>
            <pc:sldMk cId="2782580343" sldId="2147482621"/>
            <ac:cxnSpMk id="10" creationId="{369B7892-BCCA-04CD-FCF9-9E945B809B7E}"/>
          </ac:cxnSpMkLst>
        </pc:cxnChg>
        <pc:cxnChg chg="mod">
          <ac:chgData name="Hess, Christian Johannes" userId="3c21887f-2045-4c66-98d6-7d6208f3a5e9" providerId="ADAL" clId="{98B1D322-169F-4338-94A6-9C75A03E3594}" dt="2025-03-05T15:58:08.519" v="1527" actId="1035"/>
          <ac:cxnSpMkLst>
            <pc:docMk/>
            <pc:sldMk cId="2782580343" sldId="2147482621"/>
            <ac:cxnSpMk id="11" creationId="{93A8B580-DBC6-BAFE-DCA8-825C65ED17A5}"/>
          </ac:cxnSpMkLst>
        </pc:cxnChg>
        <pc:cxnChg chg="mod">
          <ac:chgData name="Hess, Christian Johannes" userId="3c21887f-2045-4c66-98d6-7d6208f3a5e9" providerId="ADAL" clId="{98B1D322-169F-4338-94A6-9C75A03E3594}" dt="2025-03-05T15:58:08.519" v="1527" actId="1035"/>
          <ac:cxnSpMkLst>
            <pc:docMk/>
            <pc:sldMk cId="2782580343" sldId="2147482621"/>
            <ac:cxnSpMk id="13" creationId="{2231C7CB-87EE-41DB-915C-B913F7C77FB1}"/>
          </ac:cxnSpMkLst>
        </pc:cxnChg>
        <pc:cxnChg chg="mod">
          <ac:chgData name="Hess, Christian Johannes" userId="3c21887f-2045-4c66-98d6-7d6208f3a5e9" providerId="ADAL" clId="{98B1D322-169F-4338-94A6-9C75A03E3594}" dt="2025-03-05T15:58:08.519" v="1527" actId="1035"/>
          <ac:cxnSpMkLst>
            <pc:docMk/>
            <pc:sldMk cId="2782580343" sldId="2147482621"/>
            <ac:cxnSpMk id="40" creationId="{D1FD137C-D9FD-6EC0-7D56-BEB3FAD089B5}"/>
          </ac:cxnSpMkLst>
        </pc:cxnChg>
        <pc:cxnChg chg="mod">
          <ac:chgData name="Hess, Christian Johannes" userId="3c21887f-2045-4c66-98d6-7d6208f3a5e9" providerId="ADAL" clId="{98B1D322-169F-4338-94A6-9C75A03E3594}" dt="2025-03-05T15:58:08.519" v="1527" actId="1035"/>
          <ac:cxnSpMkLst>
            <pc:docMk/>
            <pc:sldMk cId="2782580343" sldId="2147482621"/>
            <ac:cxnSpMk id="47" creationId="{AB91728E-1436-E78D-F5DF-8825D846993E}"/>
          </ac:cxnSpMkLst>
        </pc:cxnChg>
      </pc:sldChg>
      <pc:sldChg chg="modSp mod">
        <pc:chgData name="Hess, Christian Johannes" userId="3c21887f-2045-4c66-98d6-7d6208f3a5e9" providerId="ADAL" clId="{98B1D322-169F-4338-94A6-9C75A03E3594}" dt="2025-03-05T15:56:35.693" v="1431" actId="1035"/>
        <pc:sldMkLst>
          <pc:docMk/>
          <pc:sldMk cId="4107596432" sldId="2147482622"/>
        </pc:sldMkLst>
        <pc:spChg chg="mod">
          <ac:chgData name="Hess, Christian Johannes" userId="3c21887f-2045-4c66-98d6-7d6208f3a5e9" providerId="ADAL" clId="{98B1D322-169F-4338-94A6-9C75A03E3594}" dt="2025-03-05T14:14:21.980" v="314" actId="20577"/>
          <ac:spMkLst>
            <pc:docMk/>
            <pc:sldMk cId="4107596432" sldId="2147482622"/>
            <ac:spMk id="16" creationId="{71A9303A-95BB-D9FE-B177-D109E8E0F339}"/>
          </ac:spMkLst>
        </pc:spChg>
        <pc:spChg chg="mod">
          <ac:chgData name="Hess, Christian Johannes" userId="3c21887f-2045-4c66-98d6-7d6208f3a5e9" providerId="ADAL" clId="{98B1D322-169F-4338-94A6-9C75A03E3594}" dt="2025-03-05T15:55:49.834" v="1372"/>
          <ac:spMkLst>
            <pc:docMk/>
            <pc:sldMk cId="4107596432" sldId="2147482622"/>
            <ac:spMk id="22" creationId="{24A8C74C-491F-3135-9168-31168889F6C2}"/>
          </ac:spMkLst>
        </pc:spChg>
        <pc:spChg chg="mod">
          <ac:chgData name="Hess, Christian Johannes" userId="3c21887f-2045-4c66-98d6-7d6208f3a5e9" providerId="ADAL" clId="{98B1D322-169F-4338-94A6-9C75A03E3594}" dt="2025-03-05T15:56:35.693" v="1431" actId="1035"/>
          <ac:spMkLst>
            <pc:docMk/>
            <pc:sldMk cId="4107596432" sldId="2147482622"/>
            <ac:spMk id="23" creationId="{3195ABAB-67CE-F714-1604-528A4C8CEAA4}"/>
          </ac:spMkLst>
        </pc:spChg>
        <pc:spChg chg="mod">
          <ac:chgData name="Hess, Christian Johannes" userId="3c21887f-2045-4c66-98d6-7d6208f3a5e9" providerId="ADAL" clId="{98B1D322-169F-4338-94A6-9C75A03E3594}" dt="2025-03-05T15:56:35.693" v="1431" actId="1035"/>
          <ac:spMkLst>
            <pc:docMk/>
            <pc:sldMk cId="4107596432" sldId="2147482622"/>
            <ac:spMk id="25" creationId="{3AF7F11E-CC97-D96C-595A-28C6B90225CE}"/>
          </ac:spMkLst>
        </pc:spChg>
        <pc:spChg chg="mod">
          <ac:chgData name="Hess, Christian Johannes" userId="3c21887f-2045-4c66-98d6-7d6208f3a5e9" providerId="ADAL" clId="{98B1D322-169F-4338-94A6-9C75A03E3594}" dt="2025-03-05T15:56:35.693" v="1431" actId="1035"/>
          <ac:spMkLst>
            <pc:docMk/>
            <pc:sldMk cId="4107596432" sldId="2147482622"/>
            <ac:spMk id="26" creationId="{6A581ED3-601C-A044-A72C-7EED9696B2DB}"/>
          </ac:spMkLst>
        </pc:spChg>
        <pc:spChg chg="mod">
          <ac:chgData name="Hess, Christian Johannes" userId="3c21887f-2045-4c66-98d6-7d6208f3a5e9" providerId="ADAL" clId="{98B1D322-169F-4338-94A6-9C75A03E3594}" dt="2025-03-05T15:56:35.693" v="1431" actId="1035"/>
          <ac:spMkLst>
            <pc:docMk/>
            <pc:sldMk cId="4107596432" sldId="2147482622"/>
            <ac:spMk id="28" creationId="{AADF7B53-9E4C-8056-7221-86277A45CD44}"/>
          </ac:spMkLst>
        </pc:spChg>
        <pc:spChg chg="mod">
          <ac:chgData name="Hess, Christian Johannes" userId="3c21887f-2045-4c66-98d6-7d6208f3a5e9" providerId="ADAL" clId="{98B1D322-169F-4338-94A6-9C75A03E3594}" dt="2025-03-05T15:56:35.693" v="1431" actId="1035"/>
          <ac:spMkLst>
            <pc:docMk/>
            <pc:sldMk cId="4107596432" sldId="2147482622"/>
            <ac:spMk id="29" creationId="{FFCD6AA0-DC23-0E27-AE73-415D18660094}"/>
          </ac:spMkLst>
        </pc:spChg>
        <pc:spChg chg="mod">
          <ac:chgData name="Hess, Christian Johannes" userId="3c21887f-2045-4c66-98d6-7d6208f3a5e9" providerId="ADAL" clId="{98B1D322-169F-4338-94A6-9C75A03E3594}" dt="2025-03-05T15:56:35.693" v="1431" actId="1035"/>
          <ac:spMkLst>
            <pc:docMk/>
            <pc:sldMk cId="4107596432" sldId="2147482622"/>
            <ac:spMk id="31" creationId="{223E6373-1FD2-8938-AFF2-CBED861BB861}"/>
          </ac:spMkLst>
        </pc:spChg>
        <pc:spChg chg="mod">
          <ac:chgData name="Hess, Christian Johannes" userId="3c21887f-2045-4c66-98d6-7d6208f3a5e9" providerId="ADAL" clId="{98B1D322-169F-4338-94A6-9C75A03E3594}" dt="2025-03-05T15:56:35.693" v="1431" actId="1035"/>
          <ac:spMkLst>
            <pc:docMk/>
            <pc:sldMk cId="4107596432" sldId="2147482622"/>
            <ac:spMk id="35" creationId="{2E057132-9E88-C186-8B26-2DDE5A5CE540}"/>
          </ac:spMkLst>
        </pc:spChg>
        <pc:spChg chg="mod">
          <ac:chgData name="Hess, Christian Johannes" userId="3c21887f-2045-4c66-98d6-7d6208f3a5e9" providerId="ADAL" clId="{98B1D322-169F-4338-94A6-9C75A03E3594}" dt="2025-03-05T15:56:35.693" v="1431" actId="1035"/>
          <ac:spMkLst>
            <pc:docMk/>
            <pc:sldMk cId="4107596432" sldId="2147482622"/>
            <ac:spMk id="37" creationId="{D3581E4D-BB4A-7910-DCB5-51234CCD2082}"/>
          </ac:spMkLst>
        </pc:spChg>
        <pc:picChg chg="mod">
          <ac:chgData name="Hess, Christian Johannes" userId="3c21887f-2045-4c66-98d6-7d6208f3a5e9" providerId="ADAL" clId="{98B1D322-169F-4338-94A6-9C75A03E3594}" dt="2025-03-05T15:56:35.693" v="1431" actId="1035"/>
          <ac:picMkLst>
            <pc:docMk/>
            <pc:sldMk cId="4107596432" sldId="2147482622"/>
            <ac:picMk id="27" creationId="{1EC3B4F0-C323-2A17-8D62-159F66A52707}"/>
          </ac:picMkLst>
        </pc:picChg>
        <pc:picChg chg="mod">
          <ac:chgData name="Hess, Christian Johannes" userId="3c21887f-2045-4c66-98d6-7d6208f3a5e9" providerId="ADAL" clId="{98B1D322-169F-4338-94A6-9C75A03E3594}" dt="2025-03-05T15:56:35.693" v="1431" actId="1035"/>
          <ac:picMkLst>
            <pc:docMk/>
            <pc:sldMk cId="4107596432" sldId="2147482622"/>
            <ac:picMk id="30" creationId="{B16AE2CD-3B1D-403B-A94E-E143F385E0E3}"/>
          </ac:picMkLst>
        </pc:picChg>
        <pc:picChg chg="mod">
          <ac:chgData name="Hess, Christian Johannes" userId="3c21887f-2045-4c66-98d6-7d6208f3a5e9" providerId="ADAL" clId="{98B1D322-169F-4338-94A6-9C75A03E3594}" dt="2025-03-05T15:56:35.693" v="1431" actId="1035"/>
          <ac:picMkLst>
            <pc:docMk/>
            <pc:sldMk cId="4107596432" sldId="2147482622"/>
            <ac:picMk id="33" creationId="{ABABFEF6-93EB-029A-1187-8DD8DF903BAE}"/>
          </ac:picMkLst>
        </pc:picChg>
        <pc:picChg chg="mod">
          <ac:chgData name="Hess, Christian Johannes" userId="3c21887f-2045-4c66-98d6-7d6208f3a5e9" providerId="ADAL" clId="{98B1D322-169F-4338-94A6-9C75A03E3594}" dt="2025-03-05T15:56:35.693" v="1431" actId="1035"/>
          <ac:picMkLst>
            <pc:docMk/>
            <pc:sldMk cId="4107596432" sldId="2147482622"/>
            <ac:picMk id="36" creationId="{74B848CA-590B-0E49-4776-53880178A472}"/>
          </ac:picMkLst>
        </pc:picChg>
        <pc:cxnChg chg="mod">
          <ac:chgData name="Hess, Christian Johannes" userId="3c21887f-2045-4c66-98d6-7d6208f3a5e9" providerId="ADAL" clId="{98B1D322-169F-4338-94A6-9C75A03E3594}" dt="2025-03-05T15:56:35.693" v="1431" actId="1035"/>
          <ac:cxnSpMkLst>
            <pc:docMk/>
            <pc:sldMk cId="4107596432" sldId="2147482622"/>
            <ac:cxnSpMk id="9" creationId="{2F1AD679-3446-0A79-C228-D2E3A9893797}"/>
          </ac:cxnSpMkLst>
        </pc:cxnChg>
        <pc:cxnChg chg="mod">
          <ac:chgData name="Hess, Christian Johannes" userId="3c21887f-2045-4c66-98d6-7d6208f3a5e9" providerId="ADAL" clId="{98B1D322-169F-4338-94A6-9C75A03E3594}" dt="2025-03-05T15:56:35.693" v="1431" actId="1035"/>
          <ac:cxnSpMkLst>
            <pc:docMk/>
            <pc:sldMk cId="4107596432" sldId="2147482622"/>
            <ac:cxnSpMk id="11" creationId="{93A8B580-DBC6-BAFE-DCA8-825C65ED17A5}"/>
          </ac:cxnSpMkLst>
        </pc:cxnChg>
        <pc:cxnChg chg="mod">
          <ac:chgData name="Hess, Christian Johannes" userId="3c21887f-2045-4c66-98d6-7d6208f3a5e9" providerId="ADAL" clId="{98B1D322-169F-4338-94A6-9C75A03E3594}" dt="2025-03-05T15:56:35.693" v="1431" actId="1035"/>
          <ac:cxnSpMkLst>
            <pc:docMk/>
            <pc:sldMk cId="4107596432" sldId="2147482622"/>
            <ac:cxnSpMk id="12" creationId="{7C29100F-61B6-D099-8FB7-9534A7BF27A0}"/>
          </ac:cxnSpMkLst>
        </pc:cxnChg>
        <pc:cxnChg chg="mod">
          <ac:chgData name="Hess, Christian Johannes" userId="3c21887f-2045-4c66-98d6-7d6208f3a5e9" providerId="ADAL" clId="{98B1D322-169F-4338-94A6-9C75A03E3594}" dt="2025-03-05T15:56:35.693" v="1431" actId="1035"/>
          <ac:cxnSpMkLst>
            <pc:docMk/>
            <pc:sldMk cId="4107596432" sldId="2147482622"/>
            <ac:cxnSpMk id="13" creationId="{2231C7CB-87EE-41DB-915C-B913F7C77FB1}"/>
          </ac:cxnSpMkLst>
        </pc:cxnChg>
      </pc:sldChg>
      <pc:sldChg chg="modSp mod">
        <pc:chgData name="Hess, Christian Johannes" userId="3c21887f-2045-4c66-98d6-7d6208f3a5e9" providerId="ADAL" clId="{98B1D322-169F-4338-94A6-9C75A03E3594}" dt="2025-03-05T15:55:41.863" v="1360" actId="1035"/>
        <pc:sldMkLst>
          <pc:docMk/>
          <pc:sldMk cId="1414308884" sldId="2147482623"/>
        </pc:sldMkLst>
        <pc:spChg chg="mod">
          <ac:chgData name="Hess, Christian Johannes" userId="3c21887f-2045-4c66-98d6-7d6208f3a5e9" providerId="ADAL" clId="{98B1D322-169F-4338-94A6-9C75A03E3594}" dt="2025-03-05T14:19:53.787" v="370" actId="20577"/>
          <ac:spMkLst>
            <pc:docMk/>
            <pc:sldMk cId="1414308884" sldId="2147482623"/>
            <ac:spMk id="16" creationId="{71A9303A-95BB-D9FE-B177-D109E8E0F339}"/>
          </ac:spMkLst>
        </pc:spChg>
        <pc:spChg chg="mod">
          <ac:chgData name="Hess, Christian Johannes" userId="3c21887f-2045-4c66-98d6-7d6208f3a5e9" providerId="ADAL" clId="{98B1D322-169F-4338-94A6-9C75A03E3594}" dt="2025-03-05T15:55:31.620" v="1354" actId="1035"/>
          <ac:spMkLst>
            <pc:docMk/>
            <pc:sldMk cId="1414308884" sldId="2147482623"/>
            <ac:spMk id="20" creationId="{B0D5819D-69F1-A952-719B-C21EBA2347B1}"/>
          </ac:spMkLst>
        </pc:spChg>
        <pc:spChg chg="mod">
          <ac:chgData name="Hess, Christian Johannes" userId="3c21887f-2045-4c66-98d6-7d6208f3a5e9" providerId="ADAL" clId="{98B1D322-169F-4338-94A6-9C75A03E3594}" dt="2025-03-05T15:55:31.620" v="1354" actId="1035"/>
          <ac:spMkLst>
            <pc:docMk/>
            <pc:sldMk cId="1414308884" sldId="2147482623"/>
            <ac:spMk id="22" creationId="{24A8C74C-491F-3135-9168-31168889F6C2}"/>
          </ac:spMkLst>
        </pc:spChg>
        <pc:spChg chg="mod">
          <ac:chgData name="Hess, Christian Johannes" userId="3c21887f-2045-4c66-98d6-7d6208f3a5e9" providerId="ADAL" clId="{98B1D322-169F-4338-94A6-9C75A03E3594}" dt="2025-03-05T15:55:31.620" v="1354" actId="1035"/>
          <ac:spMkLst>
            <pc:docMk/>
            <pc:sldMk cId="1414308884" sldId="2147482623"/>
            <ac:spMk id="26" creationId="{6A581ED3-601C-A044-A72C-7EED9696B2DB}"/>
          </ac:spMkLst>
        </pc:spChg>
        <pc:spChg chg="mod">
          <ac:chgData name="Hess, Christian Johannes" userId="3c21887f-2045-4c66-98d6-7d6208f3a5e9" providerId="ADAL" clId="{98B1D322-169F-4338-94A6-9C75A03E3594}" dt="2025-03-05T15:55:31.620" v="1354" actId="1035"/>
          <ac:spMkLst>
            <pc:docMk/>
            <pc:sldMk cId="1414308884" sldId="2147482623"/>
            <ac:spMk id="28" creationId="{AADF7B53-9E4C-8056-7221-86277A45CD44}"/>
          </ac:spMkLst>
        </pc:spChg>
        <pc:spChg chg="mod">
          <ac:chgData name="Hess, Christian Johannes" userId="3c21887f-2045-4c66-98d6-7d6208f3a5e9" providerId="ADAL" clId="{98B1D322-169F-4338-94A6-9C75A03E3594}" dt="2025-03-05T15:55:41.863" v="1360" actId="1035"/>
          <ac:spMkLst>
            <pc:docMk/>
            <pc:sldMk cId="1414308884" sldId="2147482623"/>
            <ac:spMk id="29" creationId="{FFCD6AA0-DC23-0E27-AE73-415D18660094}"/>
          </ac:spMkLst>
        </pc:spChg>
        <pc:spChg chg="mod">
          <ac:chgData name="Hess, Christian Johannes" userId="3c21887f-2045-4c66-98d6-7d6208f3a5e9" providerId="ADAL" clId="{98B1D322-169F-4338-94A6-9C75A03E3594}" dt="2025-03-05T15:55:41.863" v="1360" actId="1035"/>
          <ac:spMkLst>
            <pc:docMk/>
            <pc:sldMk cId="1414308884" sldId="2147482623"/>
            <ac:spMk id="31" creationId="{223E6373-1FD2-8938-AFF2-CBED861BB861}"/>
          </ac:spMkLst>
        </pc:spChg>
        <pc:spChg chg="mod">
          <ac:chgData name="Hess, Christian Johannes" userId="3c21887f-2045-4c66-98d6-7d6208f3a5e9" providerId="ADAL" clId="{98B1D322-169F-4338-94A6-9C75A03E3594}" dt="2025-03-05T15:55:41.863" v="1360" actId="1035"/>
          <ac:spMkLst>
            <pc:docMk/>
            <pc:sldMk cId="1414308884" sldId="2147482623"/>
            <ac:spMk id="32" creationId="{9828C3F1-4E39-BBB9-603A-D4A23446A554}"/>
          </ac:spMkLst>
        </pc:spChg>
        <pc:spChg chg="mod">
          <ac:chgData name="Hess, Christian Johannes" userId="3c21887f-2045-4c66-98d6-7d6208f3a5e9" providerId="ADAL" clId="{98B1D322-169F-4338-94A6-9C75A03E3594}" dt="2025-03-05T15:55:41.863" v="1360" actId="1035"/>
          <ac:spMkLst>
            <pc:docMk/>
            <pc:sldMk cId="1414308884" sldId="2147482623"/>
            <ac:spMk id="34" creationId="{D4588552-0F6F-D87D-A7FD-8FDCAEBA242F}"/>
          </ac:spMkLst>
        </pc:spChg>
        <pc:spChg chg="mod">
          <ac:chgData name="Hess, Christian Johannes" userId="3c21887f-2045-4c66-98d6-7d6208f3a5e9" providerId="ADAL" clId="{98B1D322-169F-4338-94A6-9C75A03E3594}" dt="2025-03-05T15:55:41.863" v="1360" actId="1035"/>
          <ac:spMkLst>
            <pc:docMk/>
            <pc:sldMk cId="1414308884" sldId="2147482623"/>
            <ac:spMk id="35" creationId="{2E057132-9E88-C186-8B26-2DDE5A5CE540}"/>
          </ac:spMkLst>
        </pc:spChg>
        <pc:spChg chg="mod">
          <ac:chgData name="Hess, Christian Johannes" userId="3c21887f-2045-4c66-98d6-7d6208f3a5e9" providerId="ADAL" clId="{98B1D322-169F-4338-94A6-9C75A03E3594}" dt="2025-03-05T15:55:41.863" v="1360" actId="1035"/>
          <ac:spMkLst>
            <pc:docMk/>
            <pc:sldMk cId="1414308884" sldId="2147482623"/>
            <ac:spMk id="37" creationId="{D3581E4D-BB4A-7910-DCB5-51234CCD2082}"/>
          </ac:spMkLst>
        </pc:spChg>
        <pc:spChg chg="mod">
          <ac:chgData name="Hess, Christian Johannes" userId="3c21887f-2045-4c66-98d6-7d6208f3a5e9" providerId="ADAL" clId="{98B1D322-169F-4338-94A6-9C75A03E3594}" dt="2025-03-05T15:55:41.863" v="1360" actId="1035"/>
          <ac:spMkLst>
            <pc:docMk/>
            <pc:sldMk cId="1414308884" sldId="2147482623"/>
            <ac:spMk id="41" creationId="{718FB5DA-0061-0B1A-A9C7-C062E293A58C}"/>
          </ac:spMkLst>
        </pc:spChg>
        <pc:spChg chg="mod">
          <ac:chgData name="Hess, Christian Johannes" userId="3c21887f-2045-4c66-98d6-7d6208f3a5e9" providerId="ADAL" clId="{98B1D322-169F-4338-94A6-9C75A03E3594}" dt="2025-03-05T15:55:41.863" v="1360" actId="1035"/>
          <ac:spMkLst>
            <pc:docMk/>
            <pc:sldMk cId="1414308884" sldId="2147482623"/>
            <ac:spMk id="42" creationId="{860F025B-03D5-8F3D-E796-E5A8F3E52B15}"/>
          </ac:spMkLst>
        </pc:spChg>
        <pc:picChg chg="mod">
          <ac:chgData name="Hess, Christian Johannes" userId="3c21887f-2045-4c66-98d6-7d6208f3a5e9" providerId="ADAL" clId="{98B1D322-169F-4338-94A6-9C75A03E3594}" dt="2025-03-05T15:55:31.620" v="1354" actId="1035"/>
          <ac:picMkLst>
            <pc:docMk/>
            <pc:sldMk cId="1414308884" sldId="2147482623"/>
            <ac:picMk id="24" creationId="{7FC07E2D-3ACF-8D33-E846-03379CAA6E34}"/>
          </ac:picMkLst>
        </pc:picChg>
        <pc:picChg chg="mod">
          <ac:chgData name="Hess, Christian Johannes" userId="3c21887f-2045-4c66-98d6-7d6208f3a5e9" providerId="ADAL" clId="{98B1D322-169F-4338-94A6-9C75A03E3594}" dt="2025-03-05T15:55:41.863" v="1360" actId="1035"/>
          <ac:picMkLst>
            <pc:docMk/>
            <pc:sldMk cId="1414308884" sldId="2147482623"/>
            <ac:picMk id="27" creationId="{CCD6940F-6381-0472-3693-50FCED442450}"/>
          </ac:picMkLst>
        </pc:picChg>
        <pc:picChg chg="mod">
          <ac:chgData name="Hess, Christian Johannes" userId="3c21887f-2045-4c66-98d6-7d6208f3a5e9" providerId="ADAL" clId="{98B1D322-169F-4338-94A6-9C75A03E3594}" dt="2025-03-05T15:55:31.620" v="1354" actId="1035"/>
          <ac:picMkLst>
            <pc:docMk/>
            <pc:sldMk cId="1414308884" sldId="2147482623"/>
            <ac:picMk id="30" creationId="{A1CDC03E-E890-4AEB-917B-81C49AD138F2}"/>
          </ac:picMkLst>
        </pc:picChg>
        <pc:picChg chg="mod">
          <ac:chgData name="Hess, Christian Johannes" userId="3c21887f-2045-4c66-98d6-7d6208f3a5e9" providerId="ADAL" clId="{98B1D322-169F-4338-94A6-9C75A03E3594}" dt="2025-03-05T15:55:41.863" v="1360" actId="1035"/>
          <ac:picMkLst>
            <pc:docMk/>
            <pc:sldMk cId="1414308884" sldId="2147482623"/>
            <ac:picMk id="33" creationId="{6351EA54-6667-1978-D444-0DEBF1C623FD}"/>
          </ac:picMkLst>
        </pc:picChg>
        <pc:picChg chg="mod">
          <ac:chgData name="Hess, Christian Johannes" userId="3c21887f-2045-4c66-98d6-7d6208f3a5e9" providerId="ADAL" clId="{98B1D322-169F-4338-94A6-9C75A03E3594}" dt="2025-03-05T15:55:41.863" v="1360" actId="1035"/>
          <ac:picMkLst>
            <pc:docMk/>
            <pc:sldMk cId="1414308884" sldId="2147482623"/>
            <ac:picMk id="36" creationId="{70E84DA2-6EC3-1059-AFBD-79247B4DD37A}"/>
          </ac:picMkLst>
        </pc:picChg>
        <pc:picChg chg="mod">
          <ac:chgData name="Hess, Christian Johannes" userId="3c21887f-2045-4c66-98d6-7d6208f3a5e9" providerId="ADAL" clId="{98B1D322-169F-4338-94A6-9C75A03E3594}" dt="2025-03-05T15:55:41.863" v="1360" actId="1035"/>
          <ac:picMkLst>
            <pc:docMk/>
            <pc:sldMk cId="1414308884" sldId="2147482623"/>
            <ac:picMk id="43" creationId="{751AA61A-996A-BF7E-7C69-CC267303DE80}"/>
          </ac:picMkLst>
        </pc:picChg>
        <pc:cxnChg chg="mod">
          <ac:chgData name="Hess, Christian Johannes" userId="3c21887f-2045-4c66-98d6-7d6208f3a5e9" providerId="ADAL" clId="{98B1D322-169F-4338-94A6-9C75A03E3594}" dt="2025-03-05T15:55:41.863" v="1360" actId="1035"/>
          <ac:cxnSpMkLst>
            <pc:docMk/>
            <pc:sldMk cId="1414308884" sldId="2147482623"/>
            <ac:cxnSpMk id="9" creationId="{2F1AD679-3446-0A79-C228-D2E3A9893797}"/>
          </ac:cxnSpMkLst>
        </pc:cxnChg>
        <pc:cxnChg chg="mod">
          <ac:chgData name="Hess, Christian Johannes" userId="3c21887f-2045-4c66-98d6-7d6208f3a5e9" providerId="ADAL" clId="{98B1D322-169F-4338-94A6-9C75A03E3594}" dt="2025-03-05T15:55:41.863" v="1360" actId="1035"/>
          <ac:cxnSpMkLst>
            <pc:docMk/>
            <pc:sldMk cId="1414308884" sldId="2147482623"/>
            <ac:cxnSpMk id="10" creationId="{369B7892-BCCA-04CD-FCF9-9E945B809B7E}"/>
          </ac:cxnSpMkLst>
        </pc:cxnChg>
        <pc:cxnChg chg="mod">
          <ac:chgData name="Hess, Christian Johannes" userId="3c21887f-2045-4c66-98d6-7d6208f3a5e9" providerId="ADAL" clId="{98B1D322-169F-4338-94A6-9C75A03E3594}" dt="2025-03-05T15:55:41.863" v="1360" actId="1035"/>
          <ac:cxnSpMkLst>
            <pc:docMk/>
            <pc:sldMk cId="1414308884" sldId="2147482623"/>
            <ac:cxnSpMk id="11" creationId="{93A8B580-DBC6-BAFE-DCA8-825C65ED17A5}"/>
          </ac:cxnSpMkLst>
        </pc:cxnChg>
        <pc:cxnChg chg="mod">
          <ac:chgData name="Hess, Christian Johannes" userId="3c21887f-2045-4c66-98d6-7d6208f3a5e9" providerId="ADAL" clId="{98B1D322-169F-4338-94A6-9C75A03E3594}" dt="2025-03-05T15:55:31.620" v="1354" actId="1035"/>
          <ac:cxnSpMkLst>
            <pc:docMk/>
            <pc:sldMk cId="1414308884" sldId="2147482623"/>
            <ac:cxnSpMk id="12" creationId="{7C29100F-61B6-D099-8FB7-9534A7BF27A0}"/>
          </ac:cxnSpMkLst>
        </pc:cxnChg>
        <pc:cxnChg chg="mod">
          <ac:chgData name="Hess, Christian Johannes" userId="3c21887f-2045-4c66-98d6-7d6208f3a5e9" providerId="ADAL" clId="{98B1D322-169F-4338-94A6-9C75A03E3594}" dt="2025-03-05T15:55:31.620" v="1354" actId="1035"/>
          <ac:cxnSpMkLst>
            <pc:docMk/>
            <pc:sldMk cId="1414308884" sldId="2147482623"/>
            <ac:cxnSpMk id="14" creationId="{C4E7A8FD-6175-8F3E-BA29-58924B33BE67}"/>
          </ac:cxnSpMkLst>
        </pc:cxnChg>
        <pc:cxnChg chg="mod">
          <ac:chgData name="Hess, Christian Johannes" userId="3c21887f-2045-4c66-98d6-7d6208f3a5e9" providerId="ADAL" clId="{98B1D322-169F-4338-94A6-9C75A03E3594}" dt="2025-03-05T15:55:41.863" v="1360" actId="1035"/>
          <ac:cxnSpMkLst>
            <pc:docMk/>
            <pc:sldMk cId="1414308884" sldId="2147482623"/>
            <ac:cxnSpMk id="40" creationId="{58752701-81D9-B8EE-56BD-C5CE418398B9}"/>
          </ac:cxnSpMkLst>
        </pc:cxnChg>
      </pc:sldChg>
      <pc:sldChg chg="modSp mod">
        <pc:chgData name="Hess, Christian Johannes" userId="3c21887f-2045-4c66-98d6-7d6208f3a5e9" providerId="ADAL" clId="{98B1D322-169F-4338-94A6-9C75A03E3594}" dt="2025-03-05T15:53:22.063" v="1269"/>
        <pc:sldMkLst>
          <pc:docMk/>
          <pc:sldMk cId="2115234211" sldId="2147482625"/>
        </pc:sldMkLst>
        <pc:spChg chg="mod">
          <ac:chgData name="Hess, Christian Johannes" userId="3c21887f-2045-4c66-98d6-7d6208f3a5e9" providerId="ADAL" clId="{98B1D322-169F-4338-94A6-9C75A03E3594}" dt="2025-03-05T14:08:41.871" v="277" actId="20577"/>
          <ac:spMkLst>
            <pc:docMk/>
            <pc:sldMk cId="2115234211" sldId="2147482625"/>
            <ac:spMk id="16" creationId="{71A9303A-95BB-D9FE-B177-D109E8E0F339}"/>
          </ac:spMkLst>
        </pc:spChg>
        <pc:spChg chg="mod">
          <ac:chgData name="Hess, Christian Johannes" userId="3c21887f-2045-4c66-98d6-7d6208f3a5e9" providerId="ADAL" clId="{98B1D322-169F-4338-94A6-9C75A03E3594}" dt="2025-03-05T15:53:22.063" v="1269"/>
          <ac:spMkLst>
            <pc:docMk/>
            <pc:sldMk cId="2115234211" sldId="2147482625"/>
            <ac:spMk id="25" creationId="{3AF7F11E-CC97-D96C-595A-28C6B90225CE}"/>
          </ac:spMkLst>
        </pc:spChg>
        <pc:spChg chg="mod">
          <ac:chgData name="Hess, Christian Johannes" userId="3c21887f-2045-4c66-98d6-7d6208f3a5e9" providerId="ADAL" clId="{98B1D322-169F-4338-94A6-9C75A03E3594}" dt="2025-03-05T15:53:10.938" v="1257"/>
          <ac:spMkLst>
            <pc:docMk/>
            <pc:sldMk cId="2115234211" sldId="2147482625"/>
            <ac:spMk id="28" creationId="{AADF7B53-9E4C-8056-7221-86277A45CD44}"/>
          </ac:spMkLst>
        </pc:spChg>
        <pc:spChg chg="mod">
          <ac:chgData name="Hess, Christian Johannes" userId="3c21887f-2045-4c66-98d6-7d6208f3a5e9" providerId="ADAL" clId="{98B1D322-169F-4338-94A6-9C75A03E3594}" dt="2025-03-05T15:53:03.221" v="1245"/>
          <ac:spMkLst>
            <pc:docMk/>
            <pc:sldMk cId="2115234211" sldId="2147482625"/>
            <ac:spMk id="37" creationId="{D3581E4D-BB4A-7910-DCB5-51234CCD2082}"/>
          </ac:spMkLst>
        </pc:spChg>
      </pc:sldChg>
      <pc:sldChg chg="modSp mod">
        <pc:chgData name="Hess, Christian Johannes" userId="3c21887f-2045-4c66-98d6-7d6208f3a5e9" providerId="ADAL" clId="{98B1D322-169F-4338-94A6-9C75A03E3594}" dt="2025-03-05T15:52:33.425" v="1233"/>
        <pc:sldMkLst>
          <pc:docMk/>
          <pc:sldMk cId="884068214" sldId="2147482626"/>
        </pc:sldMkLst>
        <pc:spChg chg="mod">
          <ac:chgData name="Hess, Christian Johannes" userId="3c21887f-2045-4c66-98d6-7d6208f3a5e9" providerId="ADAL" clId="{98B1D322-169F-4338-94A6-9C75A03E3594}" dt="2025-03-05T14:05:02.796" v="248" actId="20577"/>
          <ac:spMkLst>
            <pc:docMk/>
            <pc:sldMk cId="884068214" sldId="2147482626"/>
            <ac:spMk id="16" creationId="{71A9303A-95BB-D9FE-B177-D109E8E0F339}"/>
          </ac:spMkLst>
        </pc:spChg>
        <pc:spChg chg="mod">
          <ac:chgData name="Hess, Christian Johannes" userId="3c21887f-2045-4c66-98d6-7d6208f3a5e9" providerId="ADAL" clId="{98B1D322-169F-4338-94A6-9C75A03E3594}" dt="2025-03-05T14:11:19.906" v="282" actId="20577"/>
          <ac:spMkLst>
            <pc:docMk/>
            <pc:sldMk cId="884068214" sldId="2147482626"/>
            <ac:spMk id="19" creationId="{D8CE7914-CBBC-5E99-3C4E-C5765617CC71}"/>
          </ac:spMkLst>
        </pc:spChg>
        <pc:spChg chg="mod">
          <ac:chgData name="Hess, Christian Johannes" userId="3c21887f-2045-4c66-98d6-7d6208f3a5e9" providerId="ADAL" clId="{98B1D322-169F-4338-94A6-9C75A03E3594}" dt="2025-03-05T15:52:33.425" v="1233"/>
          <ac:spMkLst>
            <pc:docMk/>
            <pc:sldMk cId="884068214" sldId="2147482626"/>
            <ac:spMk id="25" creationId="{3AF7F11E-CC97-D96C-595A-28C6B90225CE}"/>
          </ac:spMkLst>
        </pc:spChg>
        <pc:spChg chg="mod">
          <ac:chgData name="Hess, Christian Johannes" userId="3c21887f-2045-4c66-98d6-7d6208f3a5e9" providerId="ADAL" clId="{98B1D322-169F-4338-94A6-9C75A03E3594}" dt="2025-03-05T14:04:35.886" v="232" actId="1036"/>
          <ac:spMkLst>
            <pc:docMk/>
            <pc:sldMk cId="884068214" sldId="2147482626"/>
            <ac:spMk id="29" creationId="{FFCD6AA0-DC23-0E27-AE73-415D18660094}"/>
          </ac:spMkLst>
        </pc:spChg>
        <pc:spChg chg="mod">
          <ac:chgData name="Hess, Christian Johannes" userId="3c21887f-2045-4c66-98d6-7d6208f3a5e9" providerId="ADAL" clId="{98B1D322-169F-4338-94A6-9C75A03E3594}" dt="2025-03-05T15:52:23.793" v="1221"/>
          <ac:spMkLst>
            <pc:docMk/>
            <pc:sldMk cId="884068214" sldId="2147482626"/>
            <ac:spMk id="31" creationId="{223E6373-1FD2-8938-AFF2-CBED861BB861}"/>
          </ac:spMkLst>
        </pc:spChg>
        <pc:spChg chg="mod">
          <ac:chgData name="Hess, Christian Johannes" userId="3c21887f-2045-4c66-98d6-7d6208f3a5e9" providerId="ADAL" clId="{98B1D322-169F-4338-94A6-9C75A03E3594}" dt="2025-03-05T14:04:42.404" v="238" actId="1036"/>
          <ac:spMkLst>
            <pc:docMk/>
            <pc:sldMk cId="884068214" sldId="2147482626"/>
            <ac:spMk id="35" creationId="{2E057132-9E88-C186-8B26-2DDE5A5CE540}"/>
          </ac:spMkLst>
        </pc:spChg>
        <pc:spChg chg="mod">
          <ac:chgData name="Hess, Christian Johannes" userId="3c21887f-2045-4c66-98d6-7d6208f3a5e9" providerId="ADAL" clId="{98B1D322-169F-4338-94A6-9C75A03E3594}" dt="2025-03-05T15:52:13.117" v="1209"/>
          <ac:spMkLst>
            <pc:docMk/>
            <pc:sldMk cId="884068214" sldId="2147482626"/>
            <ac:spMk id="37" creationId="{D3581E4D-BB4A-7910-DCB5-51234CCD2082}"/>
          </ac:spMkLst>
        </pc:spChg>
        <pc:picChg chg="mod">
          <ac:chgData name="Hess, Christian Johannes" userId="3c21887f-2045-4c66-98d6-7d6208f3a5e9" providerId="ADAL" clId="{98B1D322-169F-4338-94A6-9C75A03E3594}" dt="2025-03-05T14:04:35.886" v="232" actId="1036"/>
          <ac:picMkLst>
            <pc:docMk/>
            <pc:sldMk cId="884068214" sldId="2147482626"/>
            <ac:picMk id="27" creationId="{670A74DD-2A65-2E2D-6D91-8504E19FE3EA}"/>
          </ac:picMkLst>
        </pc:picChg>
        <pc:picChg chg="mod">
          <ac:chgData name="Hess, Christian Johannes" userId="3c21887f-2045-4c66-98d6-7d6208f3a5e9" providerId="ADAL" clId="{98B1D322-169F-4338-94A6-9C75A03E3594}" dt="2025-03-05T14:04:42.404" v="238" actId="1036"/>
          <ac:picMkLst>
            <pc:docMk/>
            <pc:sldMk cId="884068214" sldId="2147482626"/>
            <ac:picMk id="30" creationId="{A79C6E15-3D71-E88D-FA5E-2BC389898BE9}"/>
          </ac:picMkLst>
        </pc:picChg>
        <pc:cxnChg chg="mod">
          <ac:chgData name="Hess, Christian Johannes" userId="3c21887f-2045-4c66-98d6-7d6208f3a5e9" providerId="ADAL" clId="{98B1D322-169F-4338-94A6-9C75A03E3594}" dt="2025-03-05T14:04:42.404" v="238" actId="1036"/>
          <ac:cxnSpMkLst>
            <pc:docMk/>
            <pc:sldMk cId="884068214" sldId="2147482626"/>
            <ac:cxnSpMk id="9" creationId="{2F1AD679-3446-0A79-C228-D2E3A9893797}"/>
          </ac:cxnSpMkLst>
        </pc:cxnChg>
        <pc:cxnChg chg="mod">
          <ac:chgData name="Hess, Christian Johannes" userId="3c21887f-2045-4c66-98d6-7d6208f3a5e9" providerId="ADAL" clId="{98B1D322-169F-4338-94A6-9C75A03E3594}" dt="2025-03-05T14:04:35.886" v="232" actId="1036"/>
          <ac:cxnSpMkLst>
            <pc:docMk/>
            <pc:sldMk cId="884068214" sldId="2147482626"/>
            <ac:cxnSpMk id="11" creationId="{93A8B580-DBC6-BAFE-DCA8-825C65ED17A5}"/>
          </ac:cxnSpMkLst>
        </pc:cxnChg>
      </pc:sldChg>
      <pc:sldChg chg="modSp mod">
        <pc:chgData name="Hess, Christian Johannes" userId="3c21887f-2045-4c66-98d6-7d6208f3a5e9" providerId="ADAL" clId="{98B1D322-169F-4338-94A6-9C75A03E3594}" dt="2025-03-05T15:50:52.634" v="1161"/>
        <pc:sldMkLst>
          <pc:docMk/>
          <pc:sldMk cId="3435338909" sldId="2147482627"/>
        </pc:sldMkLst>
        <pc:spChg chg="mod">
          <ac:chgData name="Hess, Christian Johannes" userId="3c21887f-2045-4c66-98d6-7d6208f3a5e9" providerId="ADAL" clId="{98B1D322-169F-4338-94A6-9C75A03E3594}" dt="2025-03-05T13:49:04.297" v="135" actId="20577"/>
          <ac:spMkLst>
            <pc:docMk/>
            <pc:sldMk cId="3435338909" sldId="2147482627"/>
            <ac:spMk id="16" creationId="{71A9303A-95BB-D9FE-B177-D109E8E0F339}"/>
          </ac:spMkLst>
        </pc:spChg>
        <pc:spChg chg="mod">
          <ac:chgData name="Hess, Christian Johannes" userId="3c21887f-2045-4c66-98d6-7d6208f3a5e9" providerId="ADAL" clId="{98B1D322-169F-4338-94A6-9C75A03E3594}" dt="2025-03-05T13:44:43.448" v="102"/>
          <ac:spMkLst>
            <pc:docMk/>
            <pc:sldMk cId="3435338909" sldId="2147482627"/>
            <ac:spMk id="19" creationId="{D8CE7914-CBBC-5E99-3C4E-C5765617CC71}"/>
          </ac:spMkLst>
        </pc:spChg>
        <pc:spChg chg="mod">
          <ac:chgData name="Hess, Christian Johannes" userId="3c21887f-2045-4c66-98d6-7d6208f3a5e9" providerId="ADAL" clId="{98B1D322-169F-4338-94A6-9C75A03E3594}" dt="2025-03-05T13:44:56.021" v="118" actId="1036"/>
          <ac:spMkLst>
            <pc:docMk/>
            <pc:sldMk cId="3435338909" sldId="2147482627"/>
            <ac:spMk id="23" creationId="{3195ABAB-67CE-F714-1604-528A4C8CEAA4}"/>
          </ac:spMkLst>
        </pc:spChg>
        <pc:spChg chg="mod">
          <ac:chgData name="Hess, Christian Johannes" userId="3c21887f-2045-4c66-98d6-7d6208f3a5e9" providerId="ADAL" clId="{98B1D322-169F-4338-94A6-9C75A03E3594}" dt="2025-03-05T15:50:52.634" v="1161"/>
          <ac:spMkLst>
            <pc:docMk/>
            <pc:sldMk cId="3435338909" sldId="2147482627"/>
            <ac:spMk id="25" creationId="{3AF7F11E-CC97-D96C-595A-28C6B90225CE}"/>
          </ac:spMkLst>
        </pc:spChg>
        <pc:spChg chg="mod">
          <ac:chgData name="Hess, Christian Johannes" userId="3c21887f-2045-4c66-98d6-7d6208f3a5e9" providerId="ADAL" clId="{98B1D322-169F-4338-94A6-9C75A03E3594}" dt="2025-03-05T13:44:56.021" v="118" actId="1036"/>
          <ac:spMkLst>
            <pc:docMk/>
            <pc:sldMk cId="3435338909" sldId="2147482627"/>
            <ac:spMk id="29" creationId="{FFCD6AA0-DC23-0E27-AE73-415D18660094}"/>
          </ac:spMkLst>
        </pc:spChg>
        <pc:spChg chg="mod">
          <ac:chgData name="Hess, Christian Johannes" userId="3c21887f-2045-4c66-98d6-7d6208f3a5e9" providerId="ADAL" clId="{98B1D322-169F-4338-94A6-9C75A03E3594}" dt="2025-03-05T15:50:41.204" v="1149"/>
          <ac:spMkLst>
            <pc:docMk/>
            <pc:sldMk cId="3435338909" sldId="2147482627"/>
            <ac:spMk id="31" creationId="{223E6373-1FD2-8938-AFF2-CBED861BB861}"/>
          </ac:spMkLst>
        </pc:spChg>
        <pc:spChg chg="mod">
          <ac:chgData name="Hess, Christian Johannes" userId="3c21887f-2045-4c66-98d6-7d6208f3a5e9" providerId="ADAL" clId="{98B1D322-169F-4338-94A6-9C75A03E3594}" dt="2025-03-05T13:44:56.021" v="118" actId="1036"/>
          <ac:spMkLst>
            <pc:docMk/>
            <pc:sldMk cId="3435338909" sldId="2147482627"/>
            <ac:spMk id="35" creationId="{2E057132-9E88-C186-8B26-2DDE5A5CE540}"/>
          </ac:spMkLst>
        </pc:spChg>
        <pc:spChg chg="mod">
          <ac:chgData name="Hess, Christian Johannes" userId="3c21887f-2045-4c66-98d6-7d6208f3a5e9" providerId="ADAL" clId="{98B1D322-169F-4338-94A6-9C75A03E3594}" dt="2025-03-05T15:50:30.798" v="1137"/>
          <ac:spMkLst>
            <pc:docMk/>
            <pc:sldMk cId="3435338909" sldId="2147482627"/>
            <ac:spMk id="37" creationId="{D3581E4D-BB4A-7910-DCB5-51234CCD2082}"/>
          </ac:spMkLst>
        </pc:spChg>
        <pc:picChg chg="mod">
          <ac:chgData name="Hess, Christian Johannes" userId="3c21887f-2045-4c66-98d6-7d6208f3a5e9" providerId="ADAL" clId="{98B1D322-169F-4338-94A6-9C75A03E3594}" dt="2025-03-05T13:44:56.021" v="118" actId="1036"/>
          <ac:picMkLst>
            <pc:docMk/>
            <pc:sldMk cId="3435338909" sldId="2147482627"/>
            <ac:picMk id="27" creationId="{73E5EBFD-87D5-A08C-C320-1B252F9A5EEE}"/>
          </ac:picMkLst>
        </pc:picChg>
        <pc:picChg chg="mod">
          <ac:chgData name="Hess, Christian Johannes" userId="3c21887f-2045-4c66-98d6-7d6208f3a5e9" providerId="ADAL" clId="{98B1D322-169F-4338-94A6-9C75A03E3594}" dt="2025-03-05T13:44:56.021" v="118" actId="1036"/>
          <ac:picMkLst>
            <pc:docMk/>
            <pc:sldMk cId="3435338909" sldId="2147482627"/>
            <ac:picMk id="30" creationId="{22A550D2-0D36-CEB4-9FF6-C1B4D4713248}"/>
          </ac:picMkLst>
        </pc:picChg>
        <pc:picChg chg="mod">
          <ac:chgData name="Hess, Christian Johannes" userId="3c21887f-2045-4c66-98d6-7d6208f3a5e9" providerId="ADAL" clId="{98B1D322-169F-4338-94A6-9C75A03E3594}" dt="2025-03-05T13:44:56.021" v="118" actId="1036"/>
          <ac:picMkLst>
            <pc:docMk/>
            <pc:sldMk cId="3435338909" sldId="2147482627"/>
            <ac:picMk id="33" creationId="{D8CB9779-D8B0-6AAD-57A5-4338A85E0D0D}"/>
          </ac:picMkLst>
        </pc:picChg>
        <pc:cxnChg chg="mod">
          <ac:chgData name="Hess, Christian Johannes" userId="3c21887f-2045-4c66-98d6-7d6208f3a5e9" providerId="ADAL" clId="{98B1D322-169F-4338-94A6-9C75A03E3594}" dt="2025-03-05T13:44:56.021" v="118" actId="1036"/>
          <ac:cxnSpMkLst>
            <pc:docMk/>
            <pc:sldMk cId="3435338909" sldId="2147482627"/>
            <ac:cxnSpMk id="9" creationId="{2F1AD679-3446-0A79-C228-D2E3A9893797}"/>
          </ac:cxnSpMkLst>
        </pc:cxnChg>
        <pc:cxnChg chg="mod">
          <ac:chgData name="Hess, Christian Johannes" userId="3c21887f-2045-4c66-98d6-7d6208f3a5e9" providerId="ADAL" clId="{98B1D322-169F-4338-94A6-9C75A03E3594}" dt="2025-03-05T13:44:56.021" v="118" actId="1036"/>
          <ac:cxnSpMkLst>
            <pc:docMk/>
            <pc:sldMk cId="3435338909" sldId="2147482627"/>
            <ac:cxnSpMk id="11" creationId="{93A8B580-DBC6-BAFE-DCA8-825C65ED17A5}"/>
          </ac:cxnSpMkLst>
        </pc:cxnChg>
        <pc:cxnChg chg="mod">
          <ac:chgData name="Hess, Christian Johannes" userId="3c21887f-2045-4c66-98d6-7d6208f3a5e9" providerId="ADAL" clId="{98B1D322-169F-4338-94A6-9C75A03E3594}" dt="2025-03-05T13:44:56.021" v="118" actId="1036"/>
          <ac:cxnSpMkLst>
            <pc:docMk/>
            <pc:sldMk cId="3435338909" sldId="2147482627"/>
            <ac:cxnSpMk id="13" creationId="{2231C7CB-87EE-41DB-915C-B913F7C77FB1}"/>
          </ac:cxnSpMkLst>
        </pc:cxnChg>
      </pc:sldChg>
      <pc:sldChg chg="modSp mod">
        <pc:chgData name="Hess, Christian Johannes" userId="3c21887f-2045-4c66-98d6-7d6208f3a5e9" providerId="ADAL" clId="{98B1D322-169F-4338-94A6-9C75A03E3594}" dt="2025-03-05T15:50:13.019" v="1125" actId="1035"/>
        <pc:sldMkLst>
          <pc:docMk/>
          <pc:sldMk cId="1468961216" sldId="2147482628"/>
        </pc:sldMkLst>
        <pc:spChg chg="mod">
          <ac:chgData name="Hess, Christian Johannes" userId="3c21887f-2045-4c66-98d6-7d6208f3a5e9" providerId="ADAL" clId="{98B1D322-169F-4338-94A6-9C75A03E3594}" dt="2025-03-05T15:50:03.862" v="1111"/>
          <ac:spMkLst>
            <pc:docMk/>
            <pc:sldMk cId="1468961216" sldId="2147482628"/>
            <ac:spMk id="22" creationId="{24A8C74C-491F-3135-9168-31168889F6C2}"/>
          </ac:spMkLst>
        </pc:spChg>
        <pc:spChg chg="mod">
          <ac:chgData name="Hess, Christian Johannes" userId="3c21887f-2045-4c66-98d6-7d6208f3a5e9" providerId="ADAL" clId="{98B1D322-169F-4338-94A6-9C75A03E3594}" dt="2025-03-05T15:50:13.019" v="1125" actId="1035"/>
          <ac:spMkLst>
            <pc:docMk/>
            <pc:sldMk cId="1468961216" sldId="2147482628"/>
            <ac:spMk id="23" creationId="{3195ABAB-67CE-F714-1604-528A4C8CEAA4}"/>
          </ac:spMkLst>
        </pc:spChg>
        <pc:spChg chg="mod">
          <ac:chgData name="Hess, Christian Johannes" userId="3c21887f-2045-4c66-98d6-7d6208f3a5e9" providerId="ADAL" clId="{98B1D322-169F-4338-94A6-9C75A03E3594}" dt="2025-03-05T15:50:13.019" v="1125" actId="1035"/>
          <ac:spMkLst>
            <pc:docMk/>
            <pc:sldMk cId="1468961216" sldId="2147482628"/>
            <ac:spMk id="25" creationId="{3AF7F11E-CC97-D96C-595A-28C6B90225CE}"/>
          </ac:spMkLst>
        </pc:spChg>
        <pc:picChg chg="mod">
          <ac:chgData name="Hess, Christian Johannes" userId="3c21887f-2045-4c66-98d6-7d6208f3a5e9" providerId="ADAL" clId="{98B1D322-169F-4338-94A6-9C75A03E3594}" dt="2025-03-05T15:50:13.019" v="1125" actId="1035"/>
          <ac:picMkLst>
            <pc:docMk/>
            <pc:sldMk cId="1468961216" sldId="2147482628"/>
            <ac:picMk id="33" creationId="{15E79F9F-04BD-1E67-8D84-FEC9CA941B45}"/>
          </ac:picMkLst>
        </pc:picChg>
        <pc:cxnChg chg="mod">
          <ac:chgData name="Hess, Christian Johannes" userId="3c21887f-2045-4c66-98d6-7d6208f3a5e9" providerId="ADAL" clId="{98B1D322-169F-4338-94A6-9C75A03E3594}" dt="2025-03-05T15:50:13.019" v="1125" actId="1035"/>
          <ac:cxnSpMkLst>
            <pc:docMk/>
            <pc:sldMk cId="1468961216" sldId="2147482628"/>
            <ac:cxnSpMk id="13" creationId="{2231C7CB-87EE-41DB-915C-B913F7C77FB1}"/>
          </ac:cxnSpMkLst>
        </pc:cxnChg>
      </pc:sldChg>
      <pc:sldChg chg="modSp mod">
        <pc:chgData name="Hess, Christian Johannes" userId="3c21887f-2045-4c66-98d6-7d6208f3a5e9" providerId="ADAL" clId="{98B1D322-169F-4338-94A6-9C75A03E3594}" dt="2025-03-05T13:24:37.467" v="31" actId="20577"/>
        <pc:sldMkLst>
          <pc:docMk/>
          <pc:sldMk cId="2675910179" sldId="2147482629"/>
        </pc:sldMkLst>
        <pc:spChg chg="mod">
          <ac:chgData name="Hess, Christian Johannes" userId="3c21887f-2045-4c66-98d6-7d6208f3a5e9" providerId="ADAL" clId="{98B1D322-169F-4338-94A6-9C75A03E3594}" dt="2025-03-05T13:24:37.467" v="31" actId="20577"/>
          <ac:spMkLst>
            <pc:docMk/>
            <pc:sldMk cId="2675910179" sldId="2147482629"/>
            <ac:spMk id="16" creationId="{71A9303A-95BB-D9FE-B177-D109E8E0F339}"/>
          </ac:spMkLst>
        </pc:spChg>
        <pc:spChg chg="mod">
          <ac:chgData name="Hess, Christian Johannes" userId="3c21887f-2045-4c66-98d6-7d6208f3a5e9" providerId="ADAL" clId="{98B1D322-169F-4338-94A6-9C75A03E3594}" dt="2025-03-05T13:23:36.263" v="10"/>
          <ac:spMkLst>
            <pc:docMk/>
            <pc:sldMk cId="2675910179" sldId="2147482629"/>
            <ac:spMk id="31" creationId="{223E6373-1FD2-8938-AFF2-CBED861BB861}"/>
          </ac:spMkLst>
        </pc:spChg>
      </pc:sldChg>
      <pc:sldChg chg="modSp mod">
        <pc:chgData name="Hess, Christian Johannes" userId="3c21887f-2045-4c66-98d6-7d6208f3a5e9" providerId="ADAL" clId="{98B1D322-169F-4338-94A6-9C75A03E3594}" dt="2025-03-05T13:27:11.877" v="57" actId="20577"/>
        <pc:sldMkLst>
          <pc:docMk/>
          <pc:sldMk cId="2142078424" sldId="2147482630"/>
        </pc:sldMkLst>
        <pc:spChg chg="mod">
          <ac:chgData name="Hess, Christian Johannes" userId="3c21887f-2045-4c66-98d6-7d6208f3a5e9" providerId="ADAL" clId="{98B1D322-169F-4338-94A6-9C75A03E3594}" dt="2025-03-05T13:27:11.877" v="57" actId="20577"/>
          <ac:spMkLst>
            <pc:docMk/>
            <pc:sldMk cId="2142078424" sldId="2147482630"/>
            <ac:spMk id="16" creationId="{71A9303A-95BB-D9FE-B177-D109E8E0F339}"/>
          </ac:spMkLst>
        </pc:spChg>
        <pc:spChg chg="mod">
          <ac:chgData name="Hess, Christian Johannes" userId="3c21887f-2045-4c66-98d6-7d6208f3a5e9" providerId="ADAL" clId="{98B1D322-169F-4338-94A6-9C75A03E3594}" dt="2025-03-05T13:26:40.050" v="47" actId="113"/>
          <ac:spMkLst>
            <pc:docMk/>
            <pc:sldMk cId="2142078424" sldId="2147482630"/>
            <ac:spMk id="19" creationId="{D8CE7914-CBBC-5E99-3C4E-C5765617CC71}"/>
          </ac:spMkLst>
        </pc:spChg>
        <pc:spChg chg="mod">
          <ac:chgData name="Hess, Christian Johannes" userId="3c21887f-2045-4c66-98d6-7d6208f3a5e9" providerId="ADAL" clId="{98B1D322-169F-4338-94A6-9C75A03E3594}" dt="2025-03-05T13:26:34.165" v="46" actId="1035"/>
          <ac:spMkLst>
            <pc:docMk/>
            <pc:sldMk cId="2142078424" sldId="2147482630"/>
            <ac:spMk id="23" creationId="{3195ABAB-67CE-F714-1604-528A4C8CEAA4}"/>
          </ac:spMkLst>
        </pc:spChg>
        <pc:spChg chg="mod">
          <ac:chgData name="Hess, Christian Johannes" userId="3c21887f-2045-4c66-98d6-7d6208f3a5e9" providerId="ADAL" clId="{98B1D322-169F-4338-94A6-9C75A03E3594}" dt="2025-03-05T13:26:34.165" v="46" actId="1035"/>
          <ac:spMkLst>
            <pc:docMk/>
            <pc:sldMk cId="2142078424" sldId="2147482630"/>
            <ac:spMk id="25" creationId="{3AF7F11E-CC97-D96C-595A-28C6B90225CE}"/>
          </ac:spMkLst>
        </pc:spChg>
        <pc:spChg chg="mod">
          <ac:chgData name="Hess, Christian Johannes" userId="3c21887f-2045-4c66-98d6-7d6208f3a5e9" providerId="ADAL" clId="{98B1D322-169F-4338-94A6-9C75A03E3594}" dt="2025-03-05T13:26:34.165" v="46" actId="1035"/>
          <ac:spMkLst>
            <pc:docMk/>
            <pc:sldMk cId="2142078424" sldId="2147482630"/>
            <ac:spMk id="29" creationId="{FFCD6AA0-DC23-0E27-AE73-415D18660094}"/>
          </ac:spMkLst>
        </pc:spChg>
        <pc:spChg chg="mod">
          <ac:chgData name="Hess, Christian Johannes" userId="3c21887f-2045-4c66-98d6-7d6208f3a5e9" providerId="ADAL" clId="{98B1D322-169F-4338-94A6-9C75A03E3594}" dt="2025-03-05T13:26:34.165" v="46" actId="1035"/>
          <ac:spMkLst>
            <pc:docMk/>
            <pc:sldMk cId="2142078424" sldId="2147482630"/>
            <ac:spMk id="31" creationId="{223E6373-1FD2-8938-AFF2-CBED861BB861}"/>
          </ac:spMkLst>
        </pc:spChg>
        <pc:picChg chg="mod">
          <ac:chgData name="Hess, Christian Johannes" userId="3c21887f-2045-4c66-98d6-7d6208f3a5e9" providerId="ADAL" clId="{98B1D322-169F-4338-94A6-9C75A03E3594}" dt="2025-03-05T13:26:34.165" v="46" actId="1035"/>
          <ac:picMkLst>
            <pc:docMk/>
            <pc:sldMk cId="2142078424" sldId="2147482630"/>
            <ac:picMk id="24" creationId="{8573B586-5790-0CE8-314F-C18E521FA6C5}"/>
          </ac:picMkLst>
        </pc:picChg>
        <pc:picChg chg="mod">
          <ac:chgData name="Hess, Christian Johannes" userId="3c21887f-2045-4c66-98d6-7d6208f3a5e9" providerId="ADAL" clId="{98B1D322-169F-4338-94A6-9C75A03E3594}" dt="2025-03-05T13:26:34.165" v="46" actId="1035"/>
          <ac:picMkLst>
            <pc:docMk/>
            <pc:sldMk cId="2142078424" sldId="2147482630"/>
            <ac:picMk id="27" creationId="{AA62F919-D855-627D-C30D-DFDB730F7C6A}"/>
          </ac:picMkLst>
        </pc:picChg>
        <pc:cxnChg chg="mod">
          <ac:chgData name="Hess, Christian Johannes" userId="3c21887f-2045-4c66-98d6-7d6208f3a5e9" providerId="ADAL" clId="{98B1D322-169F-4338-94A6-9C75A03E3594}" dt="2025-03-05T13:26:34.165" v="46" actId="1035"/>
          <ac:cxnSpMkLst>
            <pc:docMk/>
            <pc:sldMk cId="2142078424" sldId="2147482630"/>
            <ac:cxnSpMk id="11" creationId="{93A8B580-DBC6-BAFE-DCA8-825C65ED17A5}"/>
          </ac:cxnSpMkLst>
        </pc:cxnChg>
        <pc:cxnChg chg="mod">
          <ac:chgData name="Hess, Christian Johannes" userId="3c21887f-2045-4c66-98d6-7d6208f3a5e9" providerId="ADAL" clId="{98B1D322-169F-4338-94A6-9C75A03E3594}" dt="2025-03-05T13:26:34.165" v="46" actId="1035"/>
          <ac:cxnSpMkLst>
            <pc:docMk/>
            <pc:sldMk cId="2142078424" sldId="2147482630"/>
            <ac:cxnSpMk id="13" creationId="{2231C7CB-87EE-41DB-915C-B913F7C77FB1}"/>
          </ac:cxnSpMkLst>
        </pc:cxnChg>
      </pc:sldChg>
      <pc:sldChg chg="modSp mod">
        <pc:chgData name="Hess, Christian Johannes" userId="3c21887f-2045-4c66-98d6-7d6208f3a5e9" providerId="ADAL" clId="{98B1D322-169F-4338-94A6-9C75A03E3594}" dt="2025-03-05T13:28:29.045" v="83" actId="20577"/>
        <pc:sldMkLst>
          <pc:docMk/>
          <pc:sldMk cId="2504833471" sldId="2147482632"/>
        </pc:sldMkLst>
        <pc:spChg chg="mod">
          <ac:chgData name="Hess, Christian Johannes" userId="3c21887f-2045-4c66-98d6-7d6208f3a5e9" providerId="ADAL" clId="{98B1D322-169F-4338-94A6-9C75A03E3594}" dt="2025-03-05T13:28:29.045" v="83" actId="20577"/>
          <ac:spMkLst>
            <pc:docMk/>
            <pc:sldMk cId="2504833471" sldId="2147482632"/>
            <ac:spMk id="16" creationId="{71A9303A-95BB-D9FE-B177-D109E8E0F339}"/>
          </ac:spMkLst>
        </pc:spChg>
        <pc:spChg chg="mod">
          <ac:chgData name="Hess, Christian Johannes" userId="3c21887f-2045-4c66-98d6-7d6208f3a5e9" providerId="ADAL" clId="{98B1D322-169F-4338-94A6-9C75A03E3594}" dt="2025-03-05T13:28:03.079" v="66" actId="20577"/>
          <ac:spMkLst>
            <pc:docMk/>
            <pc:sldMk cId="2504833471" sldId="2147482632"/>
            <ac:spMk id="25" creationId="{3AF7F11E-CC97-D96C-595A-28C6B90225CE}"/>
          </ac:spMkLst>
        </pc:spChg>
        <pc:spChg chg="mod">
          <ac:chgData name="Hess, Christian Johannes" userId="3c21887f-2045-4c66-98d6-7d6208f3a5e9" providerId="ADAL" clId="{98B1D322-169F-4338-94A6-9C75A03E3594}" dt="2025-03-05T13:28:11.408" v="78" actId="1036"/>
          <ac:spMkLst>
            <pc:docMk/>
            <pc:sldMk cId="2504833471" sldId="2147482632"/>
            <ac:spMk id="29" creationId="{FFCD6AA0-DC23-0E27-AE73-415D18660094}"/>
          </ac:spMkLst>
        </pc:spChg>
        <pc:spChg chg="mod">
          <ac:chgData name="Hess, Christian Johannes" userId="3c21887f-2045-4c66-98d6-7d6208f3a5e9" providerId="ADAL" clId="{98B1D322-169F-4338-94A6-9C75A03E3594}" dt="2025-03-05T13:28:11.408" v="78" actId="1036"/>
          <ac:spMkLst>
            <pc:docMk/>
            <pc:sldMk cId="2504833471" sldId="2147482632"/>
            <ac:spMk id="31" creationId="{223E6373-1FD2-8938-AFF2-CBED861BB861}"/>
          </ac:spMkLst>
        </pc:spChg>
        <pc:spChg chg="mod">
          <ac:chgData name="Hess, Christian Johannes" userId="3c21887f-2045-4c66-98d6-7d6208f3a5e9" providerId="ADAL" clId="{98B1D322-169F-4338-94A6-9C75A03E3594}" dt="2025-03-05T13:28:11.408" v="78" actId="1036"/>
          <ac:spMkLst>
            <pc:docMk/>
            <pc:sldMk cId="2504833471" sldId="2147482632"/>
            <ac:spMk id="35" creationId="{2E057132-9E88-C186-8B26-2DDE5A5CE540}"/>
          </ac:spMkLst>
        </pc:spChg>
        <pc:spChg chg="mod">
          <ac:chgData name="Hess, Christian Johannes" userId="3c21887f-2045-4c66-98d6-7d6208f3a5e9" providerId="ADAL" clId="{98B1D322-169F-4338-94A6-9C75A03E3594}" dt="2025-03-05T13:28:11.408" v="78" actId="1036"/>
          <ac:spMkLst>
            <pc:docMk/>
            <pc:sldMk cId="2504833471" sldId="2147482632"/>
            <ac:spMk id="37" creationId="{D3581E4D-BB4A-7910-DCB5-51234CCD2082}"/>
          </ac:spMkLst>
        </pc:spChg>
        <pc:picChg chg="mod">
          <ac:chgData name="Hess, Christian Johannes" userId="3c21887f-2045-4c66-98d6-7d6208f3a5e9" providerId="ADAL" clId="{98B1D322-169F-4338-94A6-9C75A03E3594}" dt="2025-03-05T13:28:11.408" v="78" actId="1036"/>
          <ac:picMkLst>
            <pc:docMk/>
            <pc:sldMk cId="2504833471" sldId="2147482632"/>
            <ac:picMk id="24" creationId="{3F66654C-2B31-E2CA-570E-BF3983EF8A6E}"/>
          </ac:picMkLst>
        </pc:picChg>
        <pc:picChg chg="mod">
          <ac:chgData name="Hess, Christian Johannes" userId="3c21887f-2045-4c66-98d6-7d6208f3a5e9" providerId="ADAL" clId="{98B1D322-169F-4338-94A6-9C75A03E3594}" dt="2025-03-05T13:28:11.408" v="78" actId="1036"/>
          <ac:picMkLst>
            <pc:docMk/>
            <pc:sldMk cId="2504833471" sldId="2147482632"/>
            <ac:picMk id="30" creationId="{7F937C16-15B9-86AC-62F0-F9FFBC3D94D7}"/>
          </ac:picMkLst>
        </pc:picChg>
        <pc:cxnChg chg="mod">
          <ac:chgData name="Hess, Christian Johannes" userId="3c21887f-2045-4c66-98d6-7d6208f3a5e9" providerId="ADAL" clId="{98B1D322-169F-4338-94A6-9C75A03E3594}" dt="2025-03-05T13:28:11.408" v="78" actId="1036"/>
          <ac:cxnSpMkLst>
            <pc:docMk/>
            <pc:sldMk cId="2504833471" sldId="2147482632"/>
            <ac:cxnSpMk id="9" creationId="{2F1AD679-3446-0A79-C228-D2E3A9893797}"/>
          </ac:cxnSpMkLst>
        </pc:cxnChg>
        <pc:cxnChg chg="mod">
          <ac:chgData name="Hess, Christian Johannes" userId="3c21887f-2045-4c66-98d6-7d6208f3a5e9" providerId="ADAL" clId="{98B1D322-169F-4338-94A6-9C75A03E3594}" dt="2025-03-05T13:28:11.408" v="78" actId="1036"/>
          <ac:cxnSpMkLst>
            <pc:docMk/>
            <pc:sldMk cId="2504833471" sldId="2147482632"/>
            <ac:cxnSpMk id="11" creationId="{93A8B580-DBC6-BAFE-DCA8-825C65ED17A5}"/>
          </ac:cxnSpMkLst>
        </pc:cxnChg>
      </pc:sldChg>
      <pc:sldChg chg="modSp mod">
        <pc:chgData name="Hess, Christian Johannes" userId="3c21887f-2045-4c66-98d6-7d6208f3a5e9" providerId="ADAL" clId="{98B1D322-169F-4338-94A6-9C75A03E3594}" dt="2025-03-05T15:51:27.531" v="1197"/>
        <pc:sldMkLst>
          <pc:docMk/>
          <pc:sldMk cId="1825528698" sldId="2147482634"/>
        </pc:sldMkLst>
        <pc:spChg chg="mod">
          <ac:chgData name="Hess, Christian Johannes" userId="3c21887f-2045-4c66-98d6-7d6208f3a5e9" providerId="ADAL" clId="{98B1D322-169F-4338-94A6-9C75A03E3594}" dt="2025-03-05T14:06:48.161" v="266" actId="3626"/>
          <ac:spMkLst>
            <pc:docMk/>
            <pc:sldMk cId="1825528698" sldId="2147482634"/>
            <ac:spMk id="16" creationId="{71A9303A-95BB-D9FE-B177-D109E8E0F339}"/>
          </ac:spMkLst>
        </pc:spChg>
        <pc:spChg chg="mod">
          <ac:chgData name="Hess, Christian Johannes" userId="3c21887f-2045-4c66-98d6-7d6208f3a5e9" providerId="ADAL" clId="{98B1D322-169F-4338-94A6-9C75A03E3594}" dt="2025-03-05T15:51:27.531" v="1197"/>
          <ac:spMkLst>
            <pc:docMk/>
            <pc:sldMk cId="1825528698" sldId="2147482634"/>
            <ac:spMk id="25" creationId="{3AF7F11E-CC97-D96C-595A-28C6B90225CE}"/>
          </ac:spMkLst>
        </pc:spChg>
        <pc:spChg chg="mod">
          <ac:chgData name="Hess, Christian Johannes" userId="3c21887f-2045-4c66-98d6-7d6208f3a5e9" providerId="ADAL" clId="{98B1D322-169F-4338-94A6-9C75A03E3594}" dt="2025-03-05T15:51:17.887" v="1185"/>
          <ac:spMkLst>
            <pc:docMk/>
            <pc:sldMk cId="1825528698" sldId="2147482634"/>
            <ac:spMk id="31" creationId="{223E6373-1FD2-8938-AFF2-CBED861BB861}"/>
          </ac:spMkLst>
        </pc:spChg>
        <pc:spChg chg="mod">
          <ac:chgData name="Hess, Christian Johannes" userId="3c21887f-2045-4c66-98d6-7d6208f3a5e9" providerId="ADAL" clId="{98B1D322-169F-4338-94A6-9C75A03E3594}" dt="2025-03-05T15:51:07.373" v="1173"/>
          <ac:spMkLst>
            <pc:docMk/>
            <pc:sldMk cId="1825528698" sldId="2147482634"/>
            <ac:spMk id="37" creationId="{D3581E4D-BB4A-7910-DCB5-51234CCD2082}"/>
          </ac:spMkLst>
        </pc:spChg>
      </pc:sldChg>
      <pc:sldChg chg="modSp mod">
        <pc:chgData name="Hess, Christian Johannes" userId="3c21887f-2045-4c66-98d6-7d6208f3a5e9" providerId="ADAL" clId="{98B1D322-169F-4338-94A6-9C75A03E3594}" dt="2025-03-05T16:28:58.726" v="3808" actId="1035"/>
        <pc:sldMkLst>
          <pc:docMk/>
          <pc:sldMk cId="533263561" sldId="2147482635"/>
        </pc:sldMkLst>
        <pc:spChg chg="mod">
          <ac:chgData name="Hess, Christian Johannes" userId="3c21887f-2045-4c66-98d6-7d6208f3a5e9" providerId="ADAL" clId="{98B1D322-169F-4338-94A6-9C75A03E3594}" dt="2025-03-05T16:28:33.665" v="3772" actId="1035"/>
          <ac:spMkLst>
            <pc:docMk/>
            <pc:sldMk cId="533263561" sldId="2147482635"/>
            <ac:spMk id="20" creationId="{B0D5819D-69F1-A952-719B-C21EBA2347B1}"/>
          </ac:spMkLst>
        </pc:spChg>
        <pc:spChg chg="mod">
          <ac:chgData name="Hess, Christian Johannes" userId="3c21887f-2045-4c66-98d6-7d6208f3a5e9" providerId="ADAL" clId="{98B1D322-169F-4338-94A6-9C75A03E3594}" dt="2025-03-05T16:28:33.665" v="3772" actId="1035"/>
          <ac:spMkLst>
            <pc:docMk/>
            <pc:sldMk cId="533263561" sldId="2147482635"/>
            <ac:spMk id="22" creationId="{24A8C74C-491F-3135-9168-31168889F6C2}"/>
          </ac:spMkLst>
        </pc:spChg>
        <pc:spChg chg="mod">
          <ac:chgData name="Hess, Christian Johannes" userId="3c21887f-2045-4c66-98d6-7d6208f3a5e9" providerId="ADAL" clId="{98B1D322-169F-4338-94A6-9C75A03E3594}" dt="2025-03-05T16:28:39.531" v="3785" actId="1035"/>
          <ac:spMkLst>
            <pc:docMk/>
            <pc:sldMk cId="533263561" sldId="2147482635"/>
            <ac:spMk id="23" creationId="{3195ABAB-67CE-F714-1604-528A4C8CEAA4}"/>
          </ac:spMkLst>
        </pc:spChg>
        <pc:spChg chg="mod">
          <ac:chgData name="Hess, Christian Johannes" userId="3c21887f-2045-4c66-98d6-7d6208f3a5e9" providerId="ADAL" clId="{98B1D322-169F-4338-94A6-9C75A03E3594}" dt="2025-03-05T16:28:39.531" v="3785" actId="1035"/>
          <ac:spMkLst>
            <pc:docMk/>
            <pc:sldMk cId="533263561" sldId="2147482635"/>
            <ac:spMk id="25" creationId="{3AF7F11E-CC97-D96C-595A-28C6B90225CE}"/>
          </ac:spMkLst>
        </pc:spChg>
        <pc:spChg chg="mod">
          <ac:chgData name="Hess, Christian Johannes" userId="3c21887f-2045-4c66-98d6-7d6208f3a5e9" providerId="ADAL" clId="{98B1D322-169F-4338-94A6-9C75A03E3594}" dt="2025-03-05T16:28:49.100" v="3795" actId="1035"/>
          <ac:spMkLst>
            <pc:docMk/>
            <pc:sldMk cId="533263561" sldId="2147482635"/>
            <ac:spMk id="26" creationId="{6A581ED3-601C-A044-A72C-7EED9696B2DB}"/>
          </ac:spMkLst>
        </pc:spChg>
        <pc:spChg chg="mod">
          <ac:chgData name="Hess, Christian Johannes" userId="3c21887f-2045-4c66-98d6-7d6208f3a5e9" providerId="ADAL" clId="{98B1D322-169F-4338-94A6-9C75A03E3594}" dt="2025-03-05T16:28:49.100" v="3795" actId="1035"/>
          <ac:spMkLst>
            <pc:docMk/>
            <pc:sldMk cId="533263561" sldId="2147482635"/>
            <ac:spMk id="28" creationId="{AADF7B53-9E4C-8056-7221-86277A45CD44}"/>
          </ac:spMkLst>
        </pc:spChg>
        <pc:spChg chg="mod">
          <ac:chgData name="Hess, Christian Johannes" userId="3c21887f-2045-4c66-98d6-7d6208f3a5e9" providerId="ADAL" clId="{98B1D322-169F-4338-94A6-9C75A03E3594}" dt="2025-03-05T16:28:49.100" v="3795" actId="1035"/>
          <ac:spMkLst>
            <pc:docMk/>
            <pc:sldMk cId="533263561" sldId="2147482635"/>
            <ac:spMk id="29" creationId="{FFCD6AA0-DC23-0E27-AE73-415D18660094}"/>
          </ac:spMkLst>
        </pc:spChg>
        <pc:spChg chg="mod">
          <ac:chgData name="Hess, Christian Johannes" userId="3c21887f-2045-4c66-98d6-7d6208f3a5e9" providerId="ADAL" clId="{98B1D322-169F-4338-94A6-9C75A03E3594}" dt="2025-03-05T16:28:49.100" v="3795" actId="1035"/>
          <ac:spMkLst>
            <pc:docMk/>
            <pc:sldMk cId="533263561" sldId="2147482635"/>
            <ac:spMk id="31" creationId="{223E6373-1FD2-8938-AFF2-CBED861BB861}"/>
          </ac:spMkLst>
        </pc:spChg>
        <pc:spChg chg="mod">
          <ac:chgData name="Hess, Christian Johannes" userId="3c21887f-2045-4c66-98d6-7d6208f3a5e9" providerId="ADAL" clId="{98B1D322-169F-4338-94A6-9C75A03E3594}" dt="2025-03-05T16:28:54.042" v="3802" actId="1035"/>
          <ac:spMkLst>
            <pc:docMk/>
            <pc:sldMk cId="533263561" sldId="2147482635"/>
            <ac:spMk id="32" creationId="{9828C3F1-4E39-BBB9-603A-D4A23446A554}"/>
          </ac:spMkLst>
        </pc:spChg>
        <pc:spChg chg="mod">
          <ac:chgData name="Hess, Christian Johannes" userId="3c21887f-2045-4c66-98d6-7d6208f3a5e9" providerId="ADAL" clId="{98B1D322-169F-4338-94A6-9C75A03E3594}" dt="2025-03-05T16:28:54.042" v="3802" actId="1035"/>
          <ac:spMkLst>
            <pc:docMk/>
            <pc:sldMk cId="533263561" sldId="2147482635"/>
            <ac:spMk id="34" creationId="{D4588552-0F6F-D87D-A7FD-8FDCAEBA242F}"/>
          </ac:spMkLst>
        </pc:spChg>
        <pc:spChg chg="mod">
          <ac:chgData name="Hess, Christian Johannes" userId="3c21887f-2045-4c66-98d6-7d6208f3a5e9" providerId="ADAL" clId="{98B1D322-169F-4338-94A6-9C75A03E3594}" dt="2025-03-05T16:28:58.726" v="3808" actId="1035"/>
          <ac:spMkLst>
            <pc:docMk/>
            <pc:sldMk cId="533263561" sldId="2147482635"/>
            <ac:spMk id="35" creationId="{2E057132-9E88-C186-8B26-2DDE5A5CE540}"/>
          </ac:spMkLst>
        </pc:spChg>
        <pc:spChg chg="mod">
          <ac:chgData name="Hess, Christian Johannes" userId="3c21887f-2045-4c66-98d6-7d6208f3a5e9" providerId="ADAL" clId="{98B1D322-169F-4338-94A6-9C75A03E3594}" dt="2025-03-05T16:28:58.726" v="3808" actId="1035"/>
          <ac:spMkLst>
            <pc:docMk/>
            <pc:sldMk cId="533263561" sldId="2147482635"/>
            <ac:spMk id="37" creationId="{D3581E4D-BB4A-7910-DCB5-51234CCD2082}"/>
          </ac:spMkLst>
        </pc:spChg>
        <pc:picChg chg="mod">
          <ac:chgData name="Hess, Christian Johannes" userId="3c21887f-2045-4c66-98d6-7d6208f3a5e9" providerId="ADAL" clId="{98B1D322-169F-4338-94A6-9C75A03E3594}" dt="2025-03-05T16:28:33.665" v="3772" actId="1035"/>
          <ac:picMkLst>
            <pc:docMk/>
            <pc:sldMk cId="533263561" sldId="2147482635"/>
            <ac:picMk id="21" creationId="{C77A8000-F039-B26F-F200-3D3DCDCE98D8}"/>
          </ac:picMkLst>
        </pc:picChg>
        <pc:picChg chg="mod">
          <ac:chgData name="Hess, Christian Johannes" userId="3c21887f-2045-4c66-98d6-7d6208f3a5e9" providerId="ADAL" clId="{98B1D322-169F-4338-94A6-9C75A03E3594}" dt="2025-03-05T16:28:39.531" v="3785" actId="1035"/>
          <ac:picMkLst>
            <pc:docMk/>
            <pc:sldMk cId="533263561" sldId="2147482635"/>
            <ac:picMk id="24" creationId="{81C893D6-169B-1C7B-42E6-78E857BE8A7F}"/>
          </ac:picMkLst>
        </pc:picChg>
        <pc:picChg chg="mod">
          <ac:chgData name="Hess, Christian Johannes" userId="3c21887f-2045-4c66-98d6-7d6208f3a5e9" providerId="ADAL" clId="{98B1D322-169F-4338-94A6-9C75A03E3594}" dt="2025-03-05T16:28:49.100" v="3795" actId="1035"/>
          <ac:picMkLst>
            <pc:docMk/>
            <pc:sldMk cId="533263561" sldId="2147482635"/>
            <ac:picMk id="27" creationId="{E2F072C3-39C6-EB45-4378-C220C375138B}"/>
          </ac:picMkLst>
        </pc:picChg>
        <pc:picChg chg="mod">
          <ac:chgData name="Hess, Christian Johannes" userId="3c21887f-2045-4c66-98d6-7d6208f3a5e9" providerId="ADAL" clId="{98B1D322-169F-4338-94A6-9C75A03E3594}" dt="2025-03-05T16:28:58.726" v="3808" actId="1035"/>
          <ac:picMkLst>
            <pc:docMk/>
            <pc:sldMk cId="533263561" sldId="2147482635"/>
            <ac:picMk id="30" creationId="{AE861BD9-86E6-53B0-E13D-12694D6E45A4}"/>
          </ac:picMkLst>
        </pc:picChg>
        <pc:picChg chg="mod">
          <ac:chgData name="Hess, Christian Johannes" userId="3c21887f-2045-4c66-98d6-7d6208f3a5e9" providerId="ADAL" clId="{98B1D322-169F-4338-94A6-9C75A03E3594}" dt="2025-03-05T16:28:49.100" v="3795" actId="1035"/>
          <ac:picMkLst>
            <pc:docMk/>
            <pc:sldMk cId="533263561" sldId="2147482635"/>
            <ac:picMk id="33" creationId="{EE79D3FA-04FA-0102-104B-E8F4DC964A8E}"/>
          </ac:picMkLst>
        </pc:picChg>
        <pc:picChg chg="mod">
          <ac:chgData name="Hess, Christian Johannes" userId="3c21887f-2045-4c66-98d6-7d6208f3a5e9" providerId="ADAL" clId="{98B1D322-169F-4338-94A6-9C75A03E3594}" dt="2025-03-05T16:28:54.042" v="3802" actId="1035"/>
          <ac:picMkLst>
            <pc:docMk/>
            <pc:sldMk cId="533263561" sldId="2147482635"/>
            <ac:picMk id="36" creationId="{6FF5B64A-EE4F-CFF0-4E93-4EEF35D4222C}"/>
          </ac:picMkLst>
        </pc:picChg>
        <pc:cxnChg chg="mod">
          <ac:chgData name="Hess, Christian Johannes" userId="3c21887f-2045-4c66-98d6-7d6208f3a5e9" providerId="ADAL" clId="{98B1D322-169F-4338-94A6-9C75A03E3594}" dt="2025-03-05T16:28:58.726" v="3808" actId="1035"/>
          <ac:cxnSpMkLst>
            <pc:docMk/>
            <pc:sldMk cId="533263561" sldId="2147482635"/>
            <ac:cxnSpMk id="9" creationId="{2F1AD679-3446-0A79-C228-D2E3A9893797}"/>
          </ac:cxnSpMkLst>
        </pc:cxnChg>
        <pc:cxnChg chg="mod">
          <ac:chgData name="Hess, Christian Johannes" userId="3c21887f-2045-4c66-98d6-7d6208f3a5e9" providerId="ADAL" clId="{98B1D322-169F-4338-94A6-9C75A03E3594}" dt="2025-03-05T16:28:54.042" v="3802" actId="1035"/>
          <ac:cxnSpMkLst>
            <pc:docMk/>
            <pc:sldMk cId="533263561" sldId="2147482635"/>
            <ac:cxnSpMk id="10" creationId="{369B7892-BCCA-04CD-FCF9-9E945B809B7E}"/>
          </ac:cxnSpMkLst>
        </pc:cxnChg>
        <pc:cxnChg chg="mod">
          <ac:chgData name="Hess, Christian Johannes" userId="3c21887f-2045-4c66-98d6-7d6208f3a5e9" providerId="ADAL" clId="{98B1D322-169F-4338-94A6-9C75A03E3594}" dt="2025-03-05T16:28:49.100" v="3795" actId="1035"/>
          <ac:cxnSpMkLst>
            <pc:docMk/>
            <pc:sldMk cId="533263561" sldId="2147482635"/>
            <ac:cxnSpMk id="11" creationId="{93A8B580-DBC6-BAFE-DCA8-825C65ED17A5}"/>
          </ac:cxnSpMkLst>
        </pc:cxnChg>
        <pc:cxnChg chg="mod">
          <ac:chgData name="Hess, Christian Johannes" userId="3c21887f-2045-4c66-98d6-7d6208f3a5e9" providerId="ADAL" clId="{98B1D322-169F-4338-94A6-9C75A03E3594}" dt="2025-03-05T16:28:49.100" v="3795" actId="1035"/>
          <ac:cxnSpMkLst>
            <pc:docMk/>
            <pc:sldMk cId="533263561" sldId="2147482635"/>
            <ac:cxnSpMk id="12" creationId="{7C29100F-61B6-D099-8FB7-9534A7BF27A0}"/>
          </ac:cxnSpMkLst>
        </pc:cxnChg>
        <pc:cxnChg chg="mod">
          <ac:chgData name="Hess, Christian Johannes" userId="3c21887f-2045-4c66-98d6-7d6208f3a5e9" providerId="ADAL" clId="{98B1D322-169F-4338-94A6-9C75A03E3594}" dt="2025-03-05T16:28:39.531" v="3785" actId="1035"/>
          <ac:cxnSpMkLst>
            <pc:docMk/>
            <pc:sldMk cId="533263561" sldId="2147482635"/>
            <ac:cxnSpMk id="13" creationId="{2231C7CB-87EE-41DB-915C-B913F7C77FB1}"/>
          </ac:cxnSpMkLst>
        </pc:cxnChg>
        <pc:cxnChg chg="mod">
          <ac:chgData name="Hess, Christian Johannes" userId="3c21887f-2045-4c66-98d6-7d6208f3a5e9" providerId="ADAL" clId="{98B1D322-169F-4338-94A6-9C75A03E3594}" dt="2025-03-05T16:28:33.665" v="3772" actId="1035"/>
          <ac:cxnSpMkLst>
            <pc:docMk/>
            <pc:sldMk cId="533263561" sldId="2147482635"/>
            <ac:cxnSpMk id="14" creationId="{C4E7A8FD-6175-8F3E-BA29-58924B33BE67}"/>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205A916-80D7-1C0B-D1CF-4A7A0F41A5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F521E77-BED0-5F51-B025-E353BC0E784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0DE4A1D-ACCF-4937-97DC-14082E007232}" type="datetimeFigureOut">
              <a:rPr lang="en-US" smtClean="0"/>
              <a:t>4/23/2025</a:t>
            </a:fld>
            <a:endParaRPr lang="en-US"/>
          </a:p>
        </p:txBody>
      </p:sp>
      <p:sp>
        <p:nvSpPr>
          <p:cNvPr id="4" name="Footer Placeholder 3">
            <a:extLst>
              <a:ext uri="{FF2B5EF4-FFF2-40B4-BE49-F238E27FC236}">
                <a16:creationId xmlns:a16="http://schemas.microsoft.com/office/drawing/2014/main" id="{3ECA0202-E4D6-47BA-C537-81D58C84691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40AC62D-F721-CFE9-2A9F-CBD466393DA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A98E180-CC3D-4455-B71B-DEF2E6D7F851}" type="slidenum">
              <a:rPr lang="en-US" smtClean="0"/>
              <a:t>‹#›</a:t>
            </a:fld>
            <a:endParaRPr lang="en-US"/>
          </a:p>
        </p:txBody>
      </p:sp>
    </p:spTree>
    <p:extLst>
      <p:ext uri="{BB962C8B-B14F-4D97-AF65-F5344CB8AC3E}">
        <p14:creationId xmlns:p14="http://schemas.microsoft.com/office/powerpoint/2010/main" val="273952993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C35663-BBDF-464A-8608-03E762D82421}" type="datetimeFigureOut">
              <a:rPr lang="en-US" smtClean="0"/>
              <a:t>4/2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DC97DB-7287-4894-8E64-F047D338D4FB}" type="slidenum">
              <a:rPr lang="en-US" smtClean="0"/>
              <a:t>‹#›</a:t>
            </a:fld>
            <a:endParaRPr lang="en-US"/>
          </a:p>
        </p:txBody>
      </p:sp>
    </p:spTree>
    <p:extLst>
      <p:ext uri="{BB962C8B-B14F-4D97-AF65-F5344CB8AC3E}">
        <p14:creationId xmlns:p14="http://schemas.microsoft.com/office/powerpoint/2010/main" val="2418193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DC97DB-7287-4894-8E64-F047D338D4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2601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DC97DB-7287-4894-8E64-F047D338D4FB}" type="slidenum">
              <a:rPr lang="en-US" smtClean="0"/>
              <a:t>33</a:t>
            </a:fld>
            <a:endParaRPr lang="en-US"/>
          </a:p>
        </p:txBody>
      </p:sp>
    </p:spTree>
    <p:extLst>
      <p:ext uri="{BB962C8B-B14F-4D97-AF65-F5344CB8AC3E}">
        <p14:creationId xmlns:p14="http://schemas.microsoft.com/office/powerpoint/2010/main" val="793079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5DC97DB-7287-4894-8E64-F047D338D4FB}" type="slidenum">
              <a:rPr lang="en-US" smtClean="0"/>
              <a:t>35</a:t>
            </a:fld>
            <a:endParaRPr lang="en-US"/>
          </a:p>
        </p:txBody>
      </p:sp>
    </p:spTree>
    <p:extLst>
      <p:ext uri="{BB962C8B-B14F-4D97-AF65-F5344CB8AC3E}">
        <p14:creationId xmlns:p14="http://schemas.microsoft.com/office/powerpoint/2010/main" val="27243750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en-GB" smtClean="0"/>
              <a:pPr/>
              <a:t>23 April, 2025</a:t>
            </a:fld>
            <a:endParaRPr lang="en-GB"/>
          </a:p>
        </p:txBody>
      </p:sp>
      <p:sp>
        <p:nvSpPr>
          <p:cNvPr id="5" name="Slide Number Placeholder 4"/>
          <p:cNvSpPr>
            <a:spLocks noGrp="1"/>
          </p:cNvSpPr>
          <p:nvPr>
            <p:ph type="sldNum" sz="quarter" idx="5"/>
          </p:nvPr>
        </p:nvSpPr>
        <p:spPr/>
        <p:txBody>
          <a:bodyPr/>
          <a:lstStyle/>
          <a:p>
            <a:fld id="{CF5EBCF4-26FC-4F76-8DA1-52FDDC328D44}" type="slidenum">
              <a:rPr lang="en-GB" smtClean="0"/>
              <a:pPr/>
              <a:t>46</a:t>
            </a:fld>
            <a:endParaRPr lang="en-GB"/>
          </a:p>
        </p:txBody>
      </p:sp>
      <p:sp>
        <p:nvSpPr>
          <p:cNvPr id="17" name="Slide Image Placeholder 16">
            <a:extLst>
              <a:ext uri="{FF2B5EF4-FFF2-40B4-BE49-F238E27FC236}">
                <a16:creationId xmlns:a16="http://schemas.microsoft.com/office/drawing/2014/main" id="{689C6098-6CE1-466D-A63D-7288EAD68902}"/>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5402150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6.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6.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58.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61.xml"/><Relationship Id="rId7" Type="http://schemas.openxmlformats.org/officeDocument/2006/relationships/oleObject" Target="../embeddings/oleObject7.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2.xml"/><Relationship Id="rId5" Type="http://schemas.openxmlformats.org/officeDocument/2006/relationships/tags" Target="../tags/tag63.xml"/><Relationship Id="rId4" Type="http://schemas.openxmlformats.org/officeDocument/2006/relationships/tags" Target="../tags/tag6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6.xml"/><Relationship Id="rId7"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10" Type="http://schemas.openxmlformats.org/officeDocument/2006/relationships/image" Target="../media/image5.png"/><Relationship Id="rId4" Type="http://schemas.openxmlformats.org/officeDocument/2006/relationships/tags" Target="../tags/tag67.xml"/><Relationship Id="rId9"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2.xml"/><Relationship Id="rId7"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image" Target="../media/image5.png"/><Relationship Id="rId4" Type="http://schemas.openxmlformats.org/officeDocument/2006/relationships/tags" Target="../tags/tag73.xml"/><Relationship Id="rId9"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78.xml"/><Relationship Id="rId7"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5" Type="http://schemas.openxmlformats.org/officeDocument/2006/relationships/tags" Target="../tags/tag80.xml"/><Relationship Id="rId10" Type="http://schemas.openxmlformats.org/officeDocument/2006/relationships/image" Target="../media/image5.png"/><Relationship Id="rId4" Type="http://schemas.openxmlformats.org/officeDocument/2006/relationships/tags" Target="../tags/tag79.xml"/><Relationship Id="rId9"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84.xml"/><Relationship Id="rId7"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10" Type="http://schemas.openxmlformats.org/officeDocument/2006/relationships/image" Target="../media/image5.png"/><Relationship Id="rId4" Type="http://schemas.openxmlformats.org/officeDocument/2006/relationships/tags" Target="../tags/tag85.xml"/><Relationship Id="rId9"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90.xml"/><Relationship Id="rId7"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10" Type="http://schemas.openxmlformats.org/officeDocument/2006/relationships/image" Target="../media/image5.png"/><Relationship Id="rId4" Type="http://schemas.openxmlformats.org/officeDocument/2006/relationships/tags" Target="../tags/tag91.xml"/><Relationship Id="rId9"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6.emf"/><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104.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08.xml"/><Relationship Id="rId7"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15.xml"/><Relationship Id="rId7" Type="http://schemas.openxmlformats.org/officeDocument/2006/relationships/oleObject" Target="../embeddings/oleObject20.bin"/><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2.xml"/><Relationship Id="rId5" Type="http://schemas.openxmlformats.org/officeDocument/2006/relationships/tags" Target="../tags/tag117.xml"/><Relationship Id="rId4" Type="http://schemas.openxmlformats.org/officeDocument/2006/relationships/tags" Target="../tags/tag116.xml"/><Relationship Id="rId9"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1.xml"/><Relationship Id="rId7" Type="http://schemas.openxmlformats.org/officeDocument/2006/relationships/image" Target="../media/image6.emf"/><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oleObject" Target="../embeddings/oleObject22.bin"/><Relationship Id="rId5" Type="http://schemas.openxmlformats.org/officeDocument/2006/relationships/slideMaster" Target="../slideMasters/slideMaster3.xml"/><Relationship Id="rId10" Type="http://schemas.openxmlformats.org/officeDocument/2006/relationships/image" Target="../media/image9.png"/><Relationship Id="rId4" Type="http://schemas.openxmlformats.org/officeDocument/2006/relationships/tags" Target="../tags/tag142.xml"/><Relationship Id="rId9" Type="http://schemas.microsoft.com/office/2007/relationships/hdphoto" Target="../media/hdphoto1.wdp"/></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45.xml"/><Relationship Id="rId7" Type="http://schemas.openxmlformats.org/officeDocument/2006/relationships/oleObject" Target="../embeddings/oleObject23.bin"/><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slideMaster" Target="../slideMasters/slideMaster3.xml"/><Relationship Id="rId5" Type="http://schemas.openxmlformats.org/officeDocument/2006/relationships/tags" Target="../tags/tag147.xml"/><Relationship Id="rId4" Type="http://schemas.openxmlformats.org/officeDocument/2006/relationships/tags" Target="../tags/tag146.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50.xml"/><Relationship Id="rId7" Type="http://schemas.openxmlformats.org/officeDocument/2006/relationships/oleObject" Target="../embeddings/oleObject24.bin"/><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slideMaster" Target="../slideMasters/slideMaster3.xml"/><Relationship Id="rId5" Type="http://schemas.openxmlformats.org/officeDocument/2006/relationships/tags" Target="../tags/tag152.xml"/><Relationship Id="rId4" Type="http://schemas.openxmlformats.org/officeDocument/2006/relationships/tags" Target="../tags/tag15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55.xml"/><Relationship Id="rId7" Type="http://schemas.openxmlformats.org/officeDocument/2006/relationships/oleObject" Target="../embeddings/oleObject25.bin"/><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slideMaster" Target="../slideMasters/slideMaster3.xml"/><Relationship Id="rId5" Type="http://schemas.openxmlformats.org/officeDocument/2006/relationships/tags" Target="../tags/tag157.xml"/><Relationship Id="rId4" Type="http://schemas.openxmlformats.org/officeDocument/2006/relationships/tags" Target="../tags/tag15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6.emf"/><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oleObject" Target="../embeddings/oleObject26.bin"/><Relationship Id="rId5" Type="http://schemas.openxmlformats.org/officeDocument/2006/relationships/slideMaster" Target="../slideMasters/slideMaster3.xml"/><Relationship Id="rId4" Type="http://schemas.openxmlformats.org/officeDocument/2006/relationships/tags" Target="../tags/tag16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6.emf"/><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16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image" Target="../media/image6.emf"/><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oleObject" Target="../embeddings/oleObject28.bin"/><Relationship Id="rId5" Type="http://schemas.openxmlformats.org/officeDocument/2006/relationships/slideMaster" Target="../slideMasters/slideMaster3.xml"/><Relationship Id="rId4" Type="http://schemas.openxmlformats.org/officeDocument/2006/relationships/tags" Target="../tags/tag169.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4.emf"/><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17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76.xml"/><Relationship Id="rId7" Type="http://schemas.openxmlformats.org/officeDocument/2006/relationships/image" Target="../media/image6.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oleObject" Target="../embeddings/oleObject30.bin"/><Relationship Id="rId5" Type="http://schemas.openxmlformats.org/officeDocument/2006/relationships/slideMaster" Target="../slideMasters/slideMaster3.xml"/><Relationship Id="rId4" Type="http://schemas.openxmlformats.org/officeDocument/2006/relationships/tags" Target="../tags/tag177.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80.xml"/><Relationship Id="rId7" Type="http://schemas.openxmlformats.org/officeDocument/2006/relationships/oleObject" Target="../embeddings/oleObject31.bin"/><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slideMaster" Target="../slideMasters/slideMaster3.xml"/><Relationship Id="rId5" Type="http://schemas.openxmlformats.org/officeDocument/2006/relationships/tags" Target="../tags/tag182.xml"/><Relationship Id="rId4" Type="http://schemas.openxmlformats.org/officeDocument/2006/relationships/tags" Target="../tags/tag181.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185.xml"/><Relationship Id="rId7" Type="http://schemas.openxmlformats.org/officeDocument/2006/relationships/slideMaster" Target="../slideMasters/slideMaster3.xml"/><Relationship Id="rId12" Type="http://schemas.openxmlformats.org/officeDocument/2006/relationships/image" Target="../media/image9.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11" Type="http://schemas.microsoft.com/office/2007/relationships/hdphoto" Target="../media/hdphoto1.wdp"/><Relationship Id="rId5" Type="http://schemas.openxmlformats.org/officeDocument/2006/relationships/tags" Target="../tags/tag187.xml"/><Relationship Id="rId10" Type="http://schemas.openxmlformats.org/officeDocument/2006/relationships/image" Target="../media/image8.png"/><Relationship Id="rId4" Type="http://schemas.openxmlformats.org/officeDocument/2006/relationships/tags" Target="../tags/tag186.xml"/><Relationship Id="rId9"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91.xml"/><Relationship Id="rId7" Type="http://schemas.openxmlformats.org/officeDocument/2006/relationships/slideMaster" Target="../slideMasters/slideMaster3.xml"/><Relationship Id="rId12" Type="http://schemas.openxmlformats.org/officeDocument/2006/relationships/image" Target="../media/image9.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11" Type="http://schemas.microsoft.com/office/2007/relationships/hdphoto" Target="../media/hdphoto1.wdp"/><Relationship Id="rId5" Type="http://schemas.openxmlformats.org/officeDocument/2006/relationships/tags" Target="../tags/tag193.xml"/><Relationship Id="rId10" Type="http://schemas.openxmlformats.org/officeDocument/2006/relationships/image" Target="../media/image8.png"/><Relationship Id="rId4" Type="http://schemas.openxmlformats.org/officeDocument/2006/relationships/tags" Target="../tags/tag192.xml"/><Relationship Id="rId9"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197.xml"/><Relationship Id="rId7" Type="http://schemas.openxmlformats.org/officeDocument/2006/relationships/slideMaster" Target="../slideMasters/slideMaster3.xml"/><Relationship Id="rId12" Type="http://schemas.openxmlformats.org/officeDocument/2006/relationships/image" Target="../media/image9.png"/><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11" Type="http://schemas.microsoft.com/office/2007/relationships/hdphoto" Target="../media/hdphoto1.wdp"/><Relationship Id="rId5" Type="http://schemas.openxmlformats.org/officeDocument/2006/relationships/tags" Target="../tags/tag199.xml"/><Relationship Id="rId10" Type="http://schemas.openxmlformats.org/officeDocument/2006/relationships/image" Target="../media/image8.png"/><Relationship Id="rId4" Type="http://schemas.openxmlformats.org/officeDocument/2006/relationships/tags" Target="../tags/tag198.xml"/><Relationship Id="rId9"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03.xml"/><Relationship Id="rId7" Type="http://schemas.openxmlformats.org/officeDocument/2006/relationships/slideMaster" Target="../slideMasters/slideMaster3.xml"/><Relationship Id="rId12" Type="http://schemas.openxmlformats.org/officeDocument/2006/relationships/image" Target="../media/image9.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microsoft.com/office/2007/relationships/hdphoto" Target="../media/hdphoto1.wdp"/><Relationship Id="rId5" Type="http://schemas.openxmlformats.org/officeDocument/2006/relationships/tags" Target="../tags/tag205.xml"/><Relationship Id="rId10" Type="http://schemas.openxmlformats.org/officeDocument/2006/relationships/image" Target="../media/image8.png"/><Relationship Id="rId4" Type="http://schemas.openxmlformats.org/officeDocument/2006/relationships/tags" Target="../tags/tag204.xml"/><Relationship Id="rId9"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09.xml"/><Relationship Id="rId7" Type="http://schemas.openxmlformats.org/officeDocument/2006/relationships/slideMaster" Target="../slideMasters/slideMaster3.xml"/><Relationship Id="rId12" Type="http://schemas.openxmlformats.org/officeDocument/2006/relationships/image" Target="../media/image9.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11" Type="http://schemas.microsoft.com/office/2007/relationships/hdphoto" Target="../media/hdphoto1.wdp"/><Relationship Id="rId5" Type="http://schemas.openxmlformats.org/officeDocument/2006/relationships/tags" Target="../tags/tag211.xml"/><Relationship Id="rId10" Type="http://schemas.openxmlformats.org/officeDocument/2006/relationships/image" Target="../media/image8.png"/><Relationship Id="rId4" Type="http://schemas.openxmlformats.org/officeDocument/2006/relationships/tags" Target="../tags/tag210.xml"/><Relationship Id="rId9"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15.xml"/><Relationship Id="rId7" Type="http://schemas.openxmlformats.org/officeDocument/2006/relationships/slideMaster" Target="../slideMasters/slideMaster3.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5" Type="http://schemas.openxmlformats.org/officeDocument/2006/relationships/tags" Target="../tags/tag217.xml"/><Relationship Id="rId10" Type="http://schemas.openxmlformats.org/officeDocument/2006/relationships/image" Target="../media/image5.png"/><Relationship Id="rId4" Type="http://schemas.openxmlformats.org/officeDocument/2006/relationships/tags" Target="../tags/tag216.xml"/><Relationship Id="rId9"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221.xml"/><Relationship Id="rId7" Type="http://schemas.openxmlformats.org/officeDocument/2006/relationships/slideMaster" Target="../slideMasters/slideMaster3.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5" Type="http://schemas.openxmlformats.org/officeDocument/2006/relationships/tags" Target="../tags/tag223.xml"/><Relationship Id="rId10" Type="http://schemas.openxmlformats.org/officeDocument/2006/relationships/image" Target="../media/image5.png"/><Relationship Id="rId4" Type="http://schemas.openxmlformats.org/officeDocument/2006/relationships/tags" Target="../tags/tag222.xml"/><Relationship Id="rId9"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27.xml"/><Relationship Id="rId7" Type="http://schemas.openxmlformats.org/officeDocument/2006/relationships/slideMaster" Target="../slideMasters/slideMaster3.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30.xml"/><Relationship Id="rId5" Type="http://schemas.openxmlformats.org/officeDocument/2006/relationships/tags" Target="../tags/tag229.xml"/><Relationship Id="rId10" Type="http://schemas.openxmlformats.org/officeDocument/2006/relationships/image" Target="../media/image5.png"/><Relationship Id="rId4" Type="http://schemas.openxmlformats.org/officeDocument/2006/relationships/tags" Target="../tags/tag228.xml"/><Relationship Id="rId9"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33.xml"/><Relationship Id="rId7" Type="http://schemas.openxmlformats.org/officeDocument/2006/relationships/image" Target="../media/image6.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oleObject" Target="../embeddings/oleObject40.bin"/><Relationship Id="rId5" Type="http://schemas.openxmlformats.org/officeDocument/2006/relationships/slideMaster" Target="../slideMasters/slideMaster3.xml"/><Relationship Id="rId10" Type="http://schemas.openxmlformats.org/officeDocument/2006/relationships/image" Target="../media/image9.png"/><Relationship Id="rId4" Type="http://schemas.openxmlformats.org/officeDocument/2006/relationships/tags" Target="../tags/tag234.xml"/><Relationship Id="rId9" Type="http://schemas.microsoft.com/office/2007/relationships/hdphoto" Target="../media/hdphoto1.wdp"/></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1.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2.bin"/></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241.xml"/><Relationship Id="rId7" Type="http://schemas.openxmlformats.org/officeDocument/2006/relationships/slideMaster" Target="../slideMasters/slideMaster3.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tags" Target="../tags/tag244.xml"/><Relationship Id="rId5" Type="http://schemas.openxmlformats.org/officeDocument/2006/relationships/tags" Target="../tags/tag243.xml"/><Relationship Id="rId10" Type="http://schemas.openxmlformats.org/officeDocument/2006/relationships/image" Target="../media/image5.png"/><Relationship Id="rId4" Type="http://schemas.openxmlformats.org/officeDocument/2006/relationships/tags" Target="../tags/tag242.xml"/><Relationship Id="rId9"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image" Target="../media/image9.png"/><Relationship Id="rId3" Type="http://schemas.openxmlformats.org/officeDocument/2006/relationships/tags" Target="../tags/tag247.xml"/><Relationship Id="rId7" Type="http://schemas.openxmlformats.org/officeDocument/2006/relationships/tags" Target="../tags/tag251.xml"/><Relationship Id="rId12" Type="http://schemas.microsoft.com/office/2007/relationships/hdphoto" Target="../media/hdphoto1.wdp"/><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image" Target="../media/image8.png"/><Relationship Id="rId5" Type="http://schemas.openxmlformats.org/officeDocument/2006/relationships/tags" Target="../tags/tag249.xml"/><Relationship Id="rId10" Type="http://schemas.openxmlformats.org/officeDocument/2006/relationships/image" Target="../media/image4.emf"/><Relationship Id="rId4" Type="http://schemas.openxmlformats.org/officeDocument/2006/relationships/tags" Target="../tags/tag248.xml"/><Relationship Id="rId9" Type="http://schemas.openxmlformats.org/officeDocument/2006/relationships/oleObject" Target="../embeddings/oleObject44.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25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9.xml"/><Relationship Id="rId7" Type="http://schemas.openxmlformats.org/officeDocument/2006/relationships/oleObject" Target="../embeddings/oleObject4.bin"/><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81.xml"/><Relationship Id="rId7" Type="http://schemas.openxmlformats.org/officeDocument/2006/relationships/oleObject" Target="../embeddings/oleObject49.bin"/><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slideMaster" Target="../slideMasters/slideMaster5.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86.xml"/><Relationship Id="rId7" Type="http://schemas.openxmlformats.org/officeDocument/2006/relationships/oleObject" Target="../embeddings/oleObject50.bin"/><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slideMaster" Target="../slideMasters/slideMaster5.xml"/><Relationship Id="rId5" Type="http://schemas.openxmlformats.org/officeDocument/2006/relationships/tags" Target="../tags/tag288.xml"/><Relationship Id="rId4" Type="http://schemas.openxmlformats.org/officeDocument/2006/relationships/tags" Target="../tags/tag287.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91.xml"/><Relationship Id="rId7" Type="http://schemas.openxmlformats.org/officeDocument/2006/relationships/oleObject" Target="../embeddings/oleObject51.bin"/><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slideMaster" Target="../slideMasters/slideMaster5.xml"/><Relationship Id="rId5" Type="http://schemas.openxmlformats.org/officeDocument/2006/relationships/tags" Target="../tags/tag293.xml"/><Relationship Id="rId4" Type="http://schemas.openxmlformats.org/officeDocument/2006/relationships/tags" Target="../tags/tag292.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96.xml"/><Relationship Id="rId7" Type="http://schemas.openxmlformats.org/officeDocument/2006/relationships/oleObject" Target="../embeddings/oleObject52.bin"/><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slideMaster" Target="../slideMasters/slideMaster5.xml"/><Relationship Id="rId5" Type="http://schemas.openxmlformats.org/officeDocument/2006/relationships/tags" Target="../tags/tag298.xml"/><Relationship Id="rId4" Type="http://schemas.openxmlformats.org/officeDocument/2006/relationships/tags" Target="../tags/tag297.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01.xml"/><Relationship Id="rId7" Type="http://schemas.openxmlformats.org/officeDocument/2006/relationships/image" Target="../media/image6.emf"/><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oleObject" Target="../embeddings/oleObject53.bin"/><Relationship Id="rId5" Type="http://schemas.openxmlformats.org/officeDocument/2006/relationships/slideMaster" Target="../slideMasters/slideMaster5.xml"/><Relationship Id="rId4" Type="http://schemas.openxmlformats.org/officeDocument/2006/relationships/tags" Target="../tags/tag30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image" Target="../media/image6.emf"/><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oleObject" Target="../embeddings/oleObject54.bin"/><Relationship Id="rId5" Type="http://schemas.openxmlformats.org/officeDocument/2006/relationships/slideMaster" Target="../slideMasters/slideMaster5.xml"/><Relationship Id="rId4" Type="http://schemas.openxmlformats.org/officeDocument/2006/relationships/tags" Target="../tags/tag306.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4.xml"/><Relationship Id="rId7" Type="http://schemas.openxmlformats.org/officeDocument/2006/relationships/oleObject" Target="../embeddings/oleObject5.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Master" Target="../slideMasters/slideMaster2.xml"/><Relationship Id="rId5" Type="http://schemas.openxmlformats.org/officeDocument/2006/relationships/tags" Target="../tags/tag36.xml"/><Relationship Id="rId4" Type="http://schemas.openxmlformats.org/officeDocument/2006/relationships/tags" Target="../tags/tag35.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09.xml"/><Relationship Id="rId7" Type="http://schemas.openxmlformats.org/officeDocument/2006/relationships/image" Target="../media/image6.emf"/><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oleObject" Target="../embeddings/oleObject55.bin"/><Relationship Id="rId5" Type="http://schemas.openxmlformats.org/officeDocument/2006/relationships/slideMaster" Target="../slideMasters/slideMaster5.xml"/><Relationship Id="rId4" Type="http://schemas.openxmlformats.org/officeDocument/2006/relationships/tags" Target="../tags/tag310.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13.xml"/><Relationship Id="rId7" Type="http://schemas.openxmlformats.org/officeDocument/2006/relationships/oleObject" Target="../embeddings/oleObject56.bin"/><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slideMaster" Target="../slideMasters/slideMaster5.xml"/><Relationship Id="rId5" Type="http://schemas.openxmlformats.org/officeDocument/2006/relationships/tags" Target="../tags/tag315.xml"/><Relationship Id="rId4" Type="http://schemas.openxmlformats.org/officeDocument/2006/relationships/tags" Target="../tags/tag314.xml"/></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tags" Target="../tags/tag318.xml"/><Relationship Id="rId7" Type="http://schemas.openxmlformats.org/officeDocument/2006/relationships/slideMaster" Target="../slideMasters/slideMaster5.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5" Type="http://schemas.openxmlformats.org/officeDocument/2006/relationships/tags" Target="../tags/tag320.xml"/><Relationship Id="rId10" Type="http://schemas.openxmlformats.org/officeDocument/2006/relationships/image" Target="../media/image5.png"/><Relationship Id="rId4" Type="http://schemas.openxmlformats.org/officeDocument/2006/relationships/tags" Target="../tags/tag319.xml"/><Relationship Id="rId9" Type="http://schemas.openxmlformats.org/officeDocument/2006/relationships/image" Target="../media/image4.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324.xml"/><Relationship Id="rId7" Type="http://schemas.openxmlformats.org/officeDocument/2006/relationships/slideMaster" Target="../slideMasters/slideMaster5.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10" Type="http://schemas.openxmlformats.org/officeDocument/2006/relationships/image" Target="../media/image5.png"/><Relationship Id="rId4" Type="http://schemas.openxmlformats.org/officeDocument/2006/relationships/tags" Target="../tags/tag325.xml"/><Relationship Id="rId9"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330.xml"/><Relationship Id="rId7" Type="http://schemas.openxmlformats.org/officeDocument/2006/relationships/slideMaster" Target="../slideMasters/slideMaster5.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5" Type="http://schemas.openxmlformats.org/officeDocument/2006/relationships/tags" Target="../tags/tag332.xml"/><Relationship Id="rId10" Type="http://schemas.openxmlformats.org/officeDocument/2006/relationships/image" Target="../media/image5.png"/><Relationship Id="rId4" Type="http://schemas.openxmlformats.org/officeDocument/2006/relationships/tags" Target="../tags/tag331.xml"/><Relationship Id="rId9"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336.xml"/><Relationship Id="rId7" Type="http://schemas.openxmlformats.org/officeDocument/2006/relationships/slideMaster" Target="../slideMasters/slideMaster5.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tags" Target="../tags/tag339.xml"/><Relationship Id="rId5" Type="http://schemas.openxmlformats.org/officeDocument/2006/relationships/tags" Target="../tags/tag338.xml"/><Relationship Id="rId10" Type="http://schemas.openxmlformats.org/officeDocument/2006/relationships/image" Target="../media/image5.png"/><Relationship Id="rId4" Type="http://schemas.openxmlformats.org/officeDocument/2006/relationships/tags" Target="../tags/tag337.xml"/><Relationship Id="rId9"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342.xml"/><Relationship Id="rId7" Type="http://schemas.openxmlformats.org/officeDocument/2006/relationships/slideMaster" Target="../slideMasters/slideMaster5.xml"/><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tags" Target="../tags/tag345.xml"/><Relationship Id="rId5" Type="http://schemas.openxmlformats.org/officeDocument/2006/relationships/tags" Target="../tags/tag344.xml"/><Relationship Id="rId10" Type="http://schemas.openxmlformats.org/officeDocument/2006/relationships/image" Target="../media/image5.png"/><Relationship Id="rId4" Type="http://schemas.openxmlformats.org/officeDocument/2006/relationships/tags" Target="../tags/tag343.xml"/><Relationship Id="rId9"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5.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6.emf"/><Relationship Id="rId5" Type="http://schemas.openxmlformats.org/officeDocument/2006/relationships/oleObject" Target="../embeddings/oleObject62.bin"/><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6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2.xml"/><Relationship Id="rId1" Type="http://schemas.openxmlformats.org/officeDocument/2006/relationships/tags" Target="../tags/tag351.x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64.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9.xml"/><Relationship Id="rId7" Type="http://schemas.openxmlformats.org/officeDocument/2006/relationships/oleObject" Target="../embeddings/oleObject5.bin"/><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Master" Target="../slideMasters/slideMaster2.xml"/><Relationship Id="rId5" Type="http://schemas.openxmlformats.org/officeDocument/2006/relationships/tags" Target="../tags/tag41.xml"/><Relationship Id="rId4" Type="http://schemas.openxmlformats.org/officeDocument/2006/relationships/tags" Target="../tags/tag40.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55.xml"/><Relationship Id="rId7" Type="http://schemas.openxmlformats.org/officeDocument/2006/relationships/image" Target="../media/image6.emf"/><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oleObject" Target="../embeddings/oleObject65.bin"/><Relationship Id="rId5" Type="http://schemas.openxmlformats.org/officeDocument/2006/relationships/slideMaster" Target="../slideMasters/slideMaster5.xml"/><Relationship Id="rId4" Type="http://schemas.openxmlformats.org/officeDocument/2006/relationships/tags" Target="../tags/tag356.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357.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360.xml"/><Relationship Id="rId7" Type="http://schemas.openxmlformats.org/officeDocument/2006/relationships/slideMaster" Target="../slideMasters/slideMaster5.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5" Type="http://schemas.openxmlformats.org/officeDocument/2006/relationships/tags" Target="../tags/tag362.xml"/><Relationship Id="rId4" Type="http://schemas.openxmlformats.org/officeDocument/2006/relationships/tags" Target="../tags/tag361.xml"/><Relationship Id="rId9" Type="http://schemas.openxmlformats.org/officeDocument/2006/relationships/image" Target="../media/image4.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tags" Target="../tags/tag364.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67.xml"/><Relationship Id="rId7" Type="http://schemas.openxmlformats.org/officeDocument/2006/relationships/oleObject" Target="../embeddings/oleObject69.bin"/><Relationship Id="rId2" Type="http://schemas.openxmlformats.org/officeDocument/2006/relationships/tags" Target="../tags/tag366.xml"/><Relationship Id="rId1" Type="http://schemas.openxmlformats.org/officeDocument/2006/relationships/tags" Target="../tags/tag365.xml"/><Relationship Id="rId6" Type="http://schemas.openxmlformats.org/officeDocument/2006/relationships/slideMaster" Target="../slideMasters/slideMaster5.xml"/><Relationship Id="rId5" Type="http://schemas.openxmlformats.org/officeDocument/2006/relationships/tags" Target="../tags/tag369.xml"/><Relationship Id="rId4" Type="http://schemas.openxmlformats.org/officeDocument/2006/relationships/tags" Target="../tags/tag368.xml"/><Relationship Id="rId9" Type="http://schemas.openxmlformats.org/officeDocument/2006/relationships/image" Target="../media/image5.png"/></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372.xml"/><Relationship Id="rId7" Type="http://schemas.openxmlformats.org/officeDocument/2006/relationships/slideMaster" Target="../slideMasters/slideMaster5.xml"/><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tags" Target="../tags/tag375.xml"/><Relationship Id="rId5" Type="http://schemas.openxmlformats.org/officeDocument/2006/relationships/tags" Target="../tags/tag374.xml"/><Relationship Id="rId4" Type="http://schemas.openxmlformats.org/officeDocument/2006/relationships/tags" Target="../tags/tag373.xml"/><Relationship Id="rId9"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4.xml"/><Relationship Id="rId7" Type="http://schemas.openxmlformats.org/officeDocument/2006/relationships/oleObject" Target="../embeddings/oleObject5.bin"/><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slideMaster" Target="../slideMasters/slideMaster2.xml"/><Relationship Id="rId5" Type="http://schemas.openxmlformats.org/officeDocument/2006/relationships/tags" Target="../tags/tag46.xml"/><Relationship Id="rId4" Type="http://schemas.openxmlformats.org/officeDocument/2006/relationships/tags" Target="../tags/tag4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6.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5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vider Slide">
    <p:bg>
      <p:bgPr>
        <a:gradFill flip="none" rotWithShape="1">
          <a:gsLst>
            <a:gs pos="0">
              <a:srgbClr val="007CB0"/>
            </a:gs>
            <a:gs pos="100000">
              <a:srgbClr val="51AE32"/>
            </a:gs>
          </a:gsLst>
          <a:lin ang="2700000" scaled="1"/>
          <a:tileRect/>
        </a:gradFill>
        <a:effectLst/>
      </p:bgPr>
    </p:bg>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F1F8B71E-334D-318C-B845-1CE39486361F}"/>
              </a:ext>
            </a:extLst>
          </p:cNvPr>
          <p:cNvGraphicFramePr>
            <a:graphicFrameLocks noChangeAspect="1"/>
          </p:cNvGraphicFramePr>
          <p:nvPr userDrawn="1">
            <p:custDataLst>
              <p:tags r:id="rId1"/>
            </p:custDataLst>
            <p:extLst>
              <p:ext uri="{D42A27DB-BD31-4B8C-83A1-F6EECF244321}">
                <p14:modId xmlns:p14="http://schemas.microsoft.com/office/powerpoint/2010/main" val="3286885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8" name="think-cell data - do not delete" hidden="1">
                        <a:extLst>
                          <a:ext uri="{FF2B5EF4-FFF2-40B4-BE49-F238E27FC236}">
                            <a16:creationId xmlns:a16="http://schemas.microsoft.com/office/drawing/2014/main" id="{F1F8B71E-334D-318C-B845-1CE3948636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aphic 38">
            <a:extLst>
              <a:ext uri="{FF2B5EF4-FFF2-40B4-BE49-F238E27FC236}">
                <a16:creationId xmlns:a16="http://schemas.microsoft.com/office/drawing/2014/main" id="{68BA95B7-43B6-D0F4-F93F-1849508B63F0}"/>
              </a:ext>
            </a:extLst>
          </p:cNvPr>
          <p:cNvGrpSpPr/>
          <p:nvPr userDrawn="1"/>
        </p:nvGrpSpPr>
        <p:grpSpPr>
          <a:xfrm>
            <a:off x="5344511" y="-13487"/>
            <a:ext cx="6847490" cy="6871487"/>
            <a:chOff x="6243150" y="2493851"/>
            <a:chExt cx="2720898" cy="2730433"/>
          </a:xfrm>
          <a:solidFill>
            <a:schemeClr val="tx1">
              <a:alpha val="25000"/>
            </a:schemeClr>
          </a:solidFill>
        </p:grpSpPr>
        <p:sp>
          <p:nvSpPr>
            <p:cNvPr id="3" name="Freeform: Shape 2">
              <a:extLst>
                <a:ext uri="{FF2B5EF4-FFF2-40B4-BE49-F238E27FC236}">
                  <a16:creationId xmlns:a16="http://schemas.microsoft.com/office/drawing/2014/main" id="{E1D9E72A-A2C4-79DA-520D-777AEE523D3D}"/>
                </a:ext>
              </a:extLst>
            </p:cNvPr>
            <p:cNvSpPr/>
            <p:nvPr/>
          </p:nvSpPr>
          <p:spPr>
            <a:xfrm>
              <a:off x="6243150" y="2493851"/>
              <a:ext cx="2693395" cy="2693419"/>
            </a:xfrm>
            <a:custGeom>
              <a:avLst/>
              <a:gdLst>
                <a:gd name="connsiteX0" fmla="*/ 5234 w 2693395"/>
                <a:gd name="connsiteY0" fmla="*/ 2693420 h 2693419"/>
                <a:gd name="connsiteX1" fmla="*/ 1532 w 2693395"/>
                <a:gd name="connsiteY1" fmla="*/ 2691883 h 2693419"/>
                <a:gd name="connsiteX2" fmla="*/ 1532 w 2693395"/>
                <a:gd name="connsiteY2" fmla="*/ 2684480 h 2693419"/>
                <a:gd name="connsiteX3" fmla="*/ 1654 w 2693395"/>
                <a:gd name="connsiteY3" fmla="*/ 2684358 h 2693419"/>
                <a:gd name="connsiteX4" fmla="*/ 9057 w 2693395"/>
                <a:gd name="connsiteY4" fmla="*/ 2684358 h 2693419"/>
                <a:gd name="connsiteX5" fmla="*/ 9057 w 2693395"/>
                <a:gd name="connsiteY5" fmla="*/ 2691761 h 2693419"/>
                <a:gd name="connsiteX6" fmla="*/ 8935 w 2693395"/>
                <a:gd name="connsiteY6" fmla="*/ 2691883 h 2693419"/>
                <a:gd name="connsiteX7" fmla="*/ 5234 w 2693395"/>
                <a:gd name="connsiteY7" fmla="*/ 2693420 h 2693419"/>
                <a:gd name="connsiteX8" fmla="*/ 91779 w 2693395"/>
                <a:gd name="connsiteY8" fmla="*/ 2606874 h 2693419"/>
                <a:gd name="connsiteX9" fmla="*/ 88078 w 2693395"/>
                <a:gd name="connsiteY9" fmla="*/ 2605338 h 2693419"/>
                <a:gd name="connsiteX10" fmla="*/ 88078 w 2693395"/>
                <a:gd name="connsiteY10" fmla="*/ 2597935 h 2693419"/>
                <a:gd name="connsiteX11" fmla="*/ 88200 w 2693395"/>
                <a:gd name="connsiteY11" fmla="*/ 2597813 h 2693419"/>
                <a:gd name="connsiteX12" fmla="*/ 95603 w 2693395"/>
                <a:gd name="connsiteY12" fmla="*/ 2597813 h 2693419"/>
                <a:gd name="connsiteX13" fmla="*/ 95603 w 2693395"/>
                <a:gd name="connsiteY13" fmla="*/ 2605215 h 2693419"/>
                <a:gd name="connsiteX14" fmla="*/ 95480 w 2693395"/>
                <a:gd name="connsiteY14" fmla="*/ 2605338 h 2693419"/>
                <a:gd name="connsiteX15" fmla="*/ 91779 w 2693395"/>
                <a:gd name="connsiteY15" fmla="*/ 2606874 h 2693419"/>
                <a:gd name="connsiteX16" fmla="*/ 178325 w 2693395"/>
                <a:gd name="connsiteY16" fmla="*/ 2520328 h 2693419"/>
                <a:gd name="connsiteX17" fmla="*/ 174623 w 2693395"/>
                <a:gd name="connsiteY17" fmla="*/ 2518792 h 2693419"/>
                <a:gd name="connsiteX18" fmla="*/ 174623 w 2693395"/>
                <a:gd name="connsiteY18" fmla="*/ 2511389 h 2693419"/>
                <a:gd name="connsiteX19" fmla="*/ 174746 w 2693395"/>
                <a:gd name="connsiteY19" fmla="*/ 2511267 h 2693419"/>
                <a:gd name="connsiteX20" fmla="*/ 182148 w 2693395"/>
                <a:gd name="connsiteY20" fmla="*/ 2511267 h 2693419"/>
                <a:gd name="connsiteX21" fmla="*/ 182148 w 2693395"/>
                <a:gd name="connsiteY21" fmla="*/ 2518670 h 2693419"/>
                <a:gd name="connsiteX22" fmla="*/ 182026 w 2693395"/>
                <a:gd name="connsiteY22" fmla="*/ 2518792 h 2693419"/>
                <a:gd name="connsiteX23" fmla="*/ 178325 w 2693395"/>
                <a:gd name="connsiteY23" fmla="*/ 2520328 h 2693419"/>
                <a:gd name="connsiteX24" fmla="*/ 264888 w 2693395"/>
                <a:gd name="connsiteY24" fmla="*/ 2433696 h 2693419"/>
                <a:gd name="connsiteX25" fmla="*/ 261221 w 2693395"/>
                <a:gd name="connsiteY25" fmla="*/ 2432194 h 2693419"/>
                <a:gd name="connsiteX26" fmla="*/ 261152 w 2693395"/>
                <a:gd name="connsiteY26" fmla="*/ 2424844 h 2693419"/>
                <a:gd name="connsiteX27" fmla="*/ 261274 w 2693395"/>
                <a:gd name="connsiteY27" fmla="*/ 2424721 h 2693419"/>
                <a:gd name="connsiteX28" fmla="*/ 268676 w 2693395"/>
                <a:gd name="connsiteY28" fmla="*/ 2424721 h 2693419"/>
                <a:gd name="connsiteX29" fmla="*/ 268676 w 2693395"/>
                <a:gd name="connsiteY29" fmla="*/ 2432124 h 2693419"/>
                <a:gd name="connsiteX30" fmla="*/ 264888 w 2693395"/>
                <a:gd name="connsiteY30" fmla="*/ 2433696 h 2693419"/>
                <a:gd name="connsiteX31" fmla="*/ 351433 w 2693395"/>
                <a:gd name="connsiteY31" fmla="*/ 2347150 h 2693419"/>
                <a:gd name="connsiteX32" fmla="*/ 347767 w 2693395"/>
                <a:gd name="connsiteY32" fmla="*/ 2345648 h 2693419"/>
                <a:gd name="connsiteX33" fmla="*/ 347697 w 2693395"/>
                <a:gd name="connsiteY33" fmla="*/ 2338298 h 2693419"/>
                <a:gd name="connsiteX34" fmla="*/ 347819 w 2693395"/>
                <a:gd name="connsiteY34" fmla="*/ 2338176 h 2693419"/>
                <a:gd name="connsiteX35" fmla="*/ 355222 w 2693395"/>
                <a:gd name="connsiteY35" fmla="*/ 2338176 h 2693419"/>
                <a:gd name="connsiteX36" fmla="*/ 355222 w 2693395"/>
                <a:gd name="connsiteY36" fmla="*/ 2345579 h 2693419"/>
                <a:gd name="connsiteX37" fmla="*/ 351433 w 2693395"/>
                <a:gd name="connsiteY37" fmla="*/ 2347150 h 2693419"/>
                <a:gd name="connsiteX38" fmla="*/ 437979 w 2693395"/>
                <a:gd name="connsiteY38" fmla="*/ 2260604 h 2693419"/>
                <a:gd name="connsiteX39" fmla="*/ 434312 w 2693395"/>
                <a:gd name="connsiteY39" fmla="*/ 2259103 h 2693419"/>
                <a:gd name="connsiteX40" fmla="*/ 434243 w 2693395"/>
                <a:gd name="connsiteY40" fmla="*/ 2251753 h 2693419"/>
                <a:gd name="connsiteX41" fmla="*/ 434365 w 2693395"/>
                <a:gd name="connsiteY41" fmla="*/ 2251630 h 2693419"/>
                <a:gd name="connsiteX42" fmla="*/ 441768 w 2693395"/>
                <a:gd name="connsiteY42" fmla="*/ 2251630 h 2693419"/>
                <a:gd name="connsiteX43" fmla="*/ 441768 w 2693395"/>
                <a:gd name="connsiteY43" fmla="*/ 2259033 h 2693419"/>
                <a:gd name="connsiteX44" fmla="*/ 437979 w 2693395"/>
                <a:gd name="connsiteY44" fmla="*/ 2260604 h 2693419"/>
                <a:gd name="connsiteX45" fmla="*/ 524489 w 2693395"/>
                <a:gd name="connsiteY45" fmla="*/ 2174163 h 2693419"/>
                <a:gd name="connsiteX46" fmla="*/ 520788 w 2693395"/>
                <a:gd name="connsiteY46" fmla="*/ 2172627 h 2693419"/>
                <a:gd name="connsiteX47" fmla="*/ 520788 w 2693395"/>
                <a:gd name="connsiteY47" fmla="*/ 2165224 h 2693419"/>
                <a:gd name="connsiteX48" fmla="*/ 520910 w 2693395"/>
                <a:gd name="connsiteY48" fmla="*/ 2165102 h 2693419"/>
                <a:gd name="connsiteX49" fmla="*/ 528313 w 2693395"/>
                <a:gd name="connsiteY49" fmla="*/ 2165102 h 2693419"/>
                <a:gd name="connsiteX50" fmla="*/ 528313 w 2693395"/>
                <a:gd name="connsiteY50" fmla="*/ 2172505 h 2693419"/>
                <a:gd name="connsiteX51" fmla="*/ 528191 w 2693395"/>
                <a:gd name="connsiteY51" fmla="*/ 2172627 h 2693419"/>
                <a:gd name="connsiteX52" fmla="*/ 524489 w 2693395"/>
                <a:gd name="connsiteY52" fmla="*/ 2174163 h 2693419"/>
                <a:gd name="connsiteX53" fmla="*/ 611035 w 2693395"/>
                <a:gd name="connsiteY53" fmla="*/ 2087618 h 2693419"/>
                <a:gd name="connsiteX54" fmla="*/ 607334 w 2693395"/>
                <a:gd name="connsiteY54" fmla="*/ 2086081 h 2693419"/>
                <a:gd name="connsiteX55" fmla="*/ 607334 w 2693395"/>
                <a:gd name="connsiteY55" fmla="*/ 2078679 h 2693419"/>
                <a:gd name="connsiteX56" fmla="*/ 607456 w 2693395"/>
                <a:gd name="connsiteY56" fmla="*/ 2078556 h 2693419"/>
                <a:gd name="connsiteX57" fmla="*/ 614859 w 2693395"/>
                <a:gd name="connsiteY57" fmla="*/ 2078556 h 2693419"/>
                <a:gd name="connsiteX58" fmla="*/ 614859 w 2693395"/>
                <a:gd name="connsiteY58" fmla="*/ 2085959 h 2693419"/>
                <a:gd name="connsiteX59" fmla="*/ 614736 w 2693395"/>
                <a:gd name="connsiteY59" fmla="*/ 2086081 h 2693419"/>
                <a:gd name="connsiteX60" fmla="*/ 611035 w 2693395"/>
                <a:gd name="connsiteY60" fmla="*/ 2087618 h 2693419"/>
                <a:gd name="connsiteX61" fmla="*/ 697581 w 2693395"/>
                <a:gd name="connsiteY61" fmla="*/ 2001072 h 2693419"/>
                <a:gd name="connsiteX62" fmla="*/ 693897 w 2693395"/>
                <a:gd name="connsiteY62" fmla="*/ 1999571 h 2693419"/>
                <a:gd name="connsiteX63" fmla="*/ 693844 w 2693395"/>
                <a:gd name="connsiteY63" fmla="*/ 1992168 h 2693419"/>
                <a:gd name="connsiteX64" fmla="*/ 693967 w 2693395"/>
                <a:gd name="connsiteY64" fmla="*/ 1992046 h 2693419"/>
                <a:gd name="connsiteX65" fmla="*/ 701369 w 2693395"/>
                <a:gd name="connsiteY65" fmla="*/ 1991993 h 2693419"/>
                <a:gd name="connsiteX66" fmla="*/ 701422 w 2693395"/>
                <a:gd name="connsiteY66" fmla="*/ 1999396 h 2693419"/>
                <a:gd name="connsiteX67" fmla="*/ 701299 w 2693395"/>
                <a:gd name="connsiteY67" fmla="*/ 1999518 h 2693419"/>
                <a:gd name="connsiteX68" fmla="*/ 697563 w 2693395"/>
                <a:gd name="connsiteY68" fmla="*/ 2001072 h 2693419"/>
                <a:gd name="connsiteX69" fmla="*/ 784144 w 2693395"/>
                <a:gd name="connsiteY69" fmla="*/ 1914439 h 2693419"/>
                <a:gd name="connsiteX70" fmla="*/ 780477 w 2693395"/>
                <a:gd name="connsiteY70" fmla="*/ 1912938 h 2693419"/>
                <a:gd name="connsiteX71" fmla="*/ 780408 w 2693395"/>
                <a:gd name="connsiteY71" fmla="*/ 1905588 h 2693419"/>
                <a:gd name="connsiteX72" fmla="*/ 780530 w 2693395"/>
                <a:gd name="connsiteY72" fmla="*/ 1905465 h 2693419"/>
                <a:gd name="connsiteX73" fmla="*/ 787933 w 2693395"/>
                <a:gd name="connsiteY73" fmla="*/ 1905465 h 2693419"/>
                <a:gd name="connsiteX74" fmla="*/ 787933 w 2693395"/>
                <a:gd name="connsiteY74" fmla="*/ 1912868 h 2693419"/>
                <a:gd name="connsiteX75" fmla="*/ 784144 w 2693395"/>
                <a:gd name="connsiteY75" fmla="*/ 1914439 h 2693419"/>
                <a:gd name="connsiteX76" fmla="*/ 870689 w 2693395"/>
                <a:gd name="connsiteY76" fmla="*/ 1827894 h 2693419"/>
                <a:gd name="connsiteX77" fmla="*/ 867023 w 2693395"/>
                <a:gd name="connsiteY77" fmla="*/ 1826392 h 2693419"/>
                <a:gd name="connsiteX78" fmla="*/ 866953 w 2693395"/>
                <a:gd name="connsiteY78" fmla="*/ 1819042 h 2693419"/>
                <a:gd name="connsiteX79" fmla="*/ 867075 w 2693395"/>
                <a:gd name="connsiteY79" fmla="*/ 1818920 h 2693419"/>
                <a:gd name="connsiteX80" fmla="*/ 874478 w 2693395"/>
                <a:gd name="connsiteY80" fmla="*/ 1818920 h 2693419"/>
                <a:gd name="connsiteX81" fmla="*/ 874478 w 2693395"/>
                <a:gd name="connsiteY81" fmla="*/ 1826322 h 2693419"/>
                <a:gd name="connsiteX82" fmla="*/ 870689 w 2693395"/>
                <a:gd name="connsiteY82" fmla="*/ 1827894 h 2693419"/>
                <a:gd name="connsiteX83" fmla="*/ 957200 w 2693395"/>
                <a:gd name="connsiteY83" fmla="*/ 1741453 h 2693419"/>
                <a:gd name="connsiteX84" fmla="*/ 953499 w 2693395"/>
                <a:gd name="connsiteY84" fmla="*/ 1739916 h 2693419"/>
                <a:gd name="connsiteX85" fmla="*/ 953499 w 2693395"/>
                <a:gd name="connsiteY85" fmla="*/ 1732514 h 2693419"/>
                <a:gd name="connsiteX86" fmla="*/ 953621 w 2693395"/>
                <a:gd name="connsiteY86" fmla="*/ 1732391 h 2693419"/>
                <a:gd name="connsiteX87" fmla="*/ 961024 w 2693395"/>
                <a:gd name="connsiteY87" fmla="*/ 1732391 h 2693419"/>
                <a:gd name="connsiteX88" fmla="*/ 961024 w 2693395"/>
                <a:gd name="connsiteY88" fmla="*/ 1739794 h 2693419"/>
                <a:gd name="connsiteX89" fmla="*/ 960901 w 2693395"/>
                <a:gd name="connsiteY89" fmla="*/ 1739916 h 2693419"/>
                <a:gd name="connsiteX90" fmla="*/ 957200 w 2693395"/>
                <a:gd name="connsiteY90" fmla="*/ 1741453 h 2693419"/>
                <a:gd name="connsiteX91" fmla="*/ 1043746 w 2693395"/>
                <a:gd name="connsiteY91" fmla="*/ 1654907 h 2693419"/>
                <a:gd name="connsiteX92" fmla="*/ 1040044 w 2693395"/>
                <a:gd name="connsiteY92" fmla="*/ 1653371 h 2693419"/>
                <a:gd name="connsiteX93" fmla="*/ 1040044 w 2693395"/>
                <a:gd name="connsiteY93" fmla="*/ 1645968 h 2693419"/>
                <a:gd name="connsiteX94" fmla="*/ 1040167 w 2693395"/>
                <a:gd name="connsiteY94" fmla="*/ 1645846 h 2693419"/>
                <a:gd name="connsiteX95" fmla="*/ 1047569 w 2693395"/>
                <a:gd name="connsiteY95" fmla="*/ 1645846 h 2693419"/>
                <a:gd name="connsiteX96" fmla="*/ 1047569 w 2693395"/>
                <a:gd name="connsiteY96" fmla="*/ 1653249 h 2693419"/>
                <a:gd name="connsiteX97" fmla="*/ 1047447 w 2693395"/>
                <a:gd name="connsiteY97" fmla="*/ 1653371 h 2693419"/>
                <a:gd name="connsiteX98" fmla="*/ 1043746 w 2693395"/>
                <a:gd name="connsiteY98" fmla="*/ 1654907 h 2693419"/>
                <a:gd name="connsiteX99" fmla="*/ 1130326 w 2693395"/>
                <a:gd name="connsiteY99" fmla="*/ 1568274 h 2693419"/>
                <a:gd name="connsiteX100" fmla="*/ 1126660 w 2693395"/>
                <a:gd name="connsiteY100" fmla="*/ 1566773 h 2693419"/>
                <a:gd name="connsiteX101" fmla="*/ 1126590 w 2693395"/>
                <a:gd name="connsiteY101" fmla="*/ 1559423 h 2693419"/>
                <a:gd name="connsiteX102" fmla="*/ 1126712 w 2693395"/>
                <a:gd name="connsiteY102" fmla="*/ 1559300 h 2693419"/>
                <a:gd name="connsiteX103" fmla="*/ 1134115 w 2693395"/>
                <a:gd name="connsiteY103" fmla="*/ 1559300 h 2693419"/>
                <a:gd name="connsiteX104" fmla="*/ 1134115 w 2693395"/>
                <a:gd name="connsiteY104" fmla="*/ 1566703 h 2693419"/>
                <a:gd name="connsiteX105" fmla="*/ 1130326 w 2693395"/>
                <a:gd name="connsiteY105" fmla="*/ 1568274 h 2693419"/>
                <a:gd name="connsiteX106" fmla="*/ 1216854 w 2693395"/>
                <a:gd name="connsiteY106" fmla="*/ 1481729 h 2693419"/>
                <a:gd name="connsiteX107" fmla="*/ 1213188 w 2693395"/>
                <a:gd name="connsiteY107" fmla="*/ 1480227 h 2693419"/>
                <a:gd name="connsiteX108" fmla="*/ 1213118 w 2693395"/>
                <a:gd name="connsiteY108" fmla="*/ 1472877 h 2693419"/>
                <a:gd name="connsiteX109" fmla="*/ 1213240 w 2693395"/>
                <a:gd name="connsiteY109" fmla="*/ 1472755 h 2693419"/>
                <a:gd name="connsiteX110" fmla="*/ 1220643 w 2693395"/>
                <a:gd name="connsiteY110" fmla="*/ 1472755 h 2693419"/>
                <a:gd name="connsiteX111" fmla="*/ 1220643 w 2693395"/>
                <a:gd name="connsiteY111" fmla="*/ 1480157 h 2693419"/>
                <a:gd name="connsiteX112" fmla="*/ 1216854 w 2693395"/>
                <a:gd name="connsiteY112" fmla="*/ 1481729 h 2693419"/>
                <a:gd name="connsiteX113" fmla="*/ 1303365 w 2693395"/>
                <a:gd name="connsiteY113" fmla="*/ 1395288 h 2693419"/>
                <a:gd name="connsiteX114" fmla="*/ 1299629 w 2693395"/>
                <a:gd name="connsiteY114" fmla="*/ 1393734 h 2693419"/>
                <a:gd name="connsiteX115" fmla="*/ 1299681 w 2693395"/>
                <a:gd name="connsiteY115" fmla="*/ 1386331 h 2693419"/>
                <a:gd name="connsiteX116" fmla="*/ 1299803 w 2693395"/>
                <a:gd name="connsiteY116" fmla="*/ 1386209 h 2693419"/>
                <a:gd name="connsiteX117" fmla="*/ 1307206 w 2693395"/>
                <a:gd name="connsiteY117" fmla="*/ 1386261 h 2693419"/>
                <a:gd name="connsiteX118" fmla="*/ 1307154 w 2693395"/>
                <a:gd name="connsiteY118" fmla="*/ 1393664 h 2693419"/>
                <a:gd name="connsiteX119" fmla="*/ 1307031 w 2693395"/>
                <a:gd name="connsiteY119" fmla="*/ 1393786 h 2693419"/>
                <a:gd name="connsiteX120" fmla="*/ 1303348 w 2693395"/>
                <a:gd name="connsiteY120" fmla="*/ 1395288 h 2693419"/>
                <a:gd name="connsiteX121" fmla="*/ 1389911 w 2693395"/>
                <a:gd name="connsiteY121" fmla="*/ 1308742 h 2693419"/>
                <a:gd name="connsiteX122" fmla="*/ 1386174 w 2693395"/>
                <a:gd name="connsiteY122" fmla="*/ 1307189 h 2693419"/>
                <a:gd name="connsiteX123" fmla="*/ 1386227 w 2693395"/>
                <a:gd name="connsiteY123" fmla="*/ 1299786 h 2693419"/>
                <a:gd name="connsiteX124" fmla="*/ 1386349 w 2693395"/>
                <a:gd name="connsiteY124" fmla="*/ 1299664 h 2693419"/>
                <a:gd name="connsiteX125" fmla="*/ 1393752 w 2693395"/>
                <a:gd name="connsiteY125" fmla="*/ 1299716 h 2693419"/>
                <a:gd name="connsiteX126" fmla="*/ 1393699 w 2693395"/>
                <a:gd name="connsiteY126" fmla="*/ 1307119 h 2693419"/>
                <a:gd name="connsiteX127" fmla="*/ 1393577 w 2693395"/>
                <a:gd name="connsiteY127" fmla="*/ 1307241 h 2693419"/>
                <a:gd name="connsiteX128" fmla="*/ 1389893 w 2693395"/>
                <a:gd name="connsiteY128" fmla="*/ 1308742 h 2693419"/>
                <a:gd name="connsiteX129" fmla="*/ 1476456 w 2693395"/>
                <a:gd name="connsiteY129" fmla="*/ 1222197 h 2693419"/>
                <a:gd name="connsiteX130" fmla="*/ 1472772 w 2693395"/>
                <a:gd name="connsiteY130" fmla="*/ 1220695 h 2693419"/>
                <a:gd name="connsiteX131" fmla="*/ 1472720 w 2693395"/>
                <a:gd name="connsiteY131" fmla="*/ 1213293 h 2693419"/>
                <a:gd name="connsiteX132" fmla="*/ 1472842 w 2693395"/>
                <a:gd name="connsiteY132" fmla="*/ 1213170 h 2693419"/>
                <a:gd name="connsiteX133" fmla="*/ 1480245 w 2693395"/>
                <a:gd name="connsiteY133" fmla="*/ 1213118 h 2693419"/>
                <a:gd name="connsiteX134" fmla="*/ 1480297 w 2693395"/>
                <a:gd name="connsiteY134" fmla="*/ 1220521 h 2693419"/>
                <a:gd name="connsiteX135" fmla="*/ 1480175 w 2693395"/>
                <a:gd name="connsiteY135" fmla="*/ 1220643 h 2693419"/>
                <a:gd name="connsiteX136" fmla="*/ 1476439 w 2693395"/>
                <a:gd name="connsiteY136" fmla="*/ 1222197 h 2693419"/>
                <a:gd name="connsiteX137" fmla="*/ 1563002 w 2693395"/>
                <a:gd name="connsiteY137" fmla="*/ 1135651 h 2693419"/>
                <a:gd name="connsiteX138" fmla="*/ 1559318 w 2693395"/>
                <a:gd name="connsiteY138" fmla="*/ 1134150 h 2693419"/>
                <a:gd name="connsiteX139" fmla="*/ 1559266 w 2693395"/>
                <a:gd name="connsiteY139" fmla="*/ 1126747 h 2693419"/>
                <a:gd name="connsiteX140" fmla="*/ 1559388 w 2693395"/>
                <a:gd name="connsiteY140" fmla="*/ 1126625 h 2693419"/>
                <a:gd name="connsiteX141" fmla="*/ 1566790 w 2693395"/>
                <a:gd name="connsiteY141" fmla="*/ 1126572 h 2693419"/>
                <a:gd name="connsiteX142" fmla="*/ 1566843 w 2693395"/>
                <a:gd name="connsiteY142" fmla="*/ 1133975 h 2693419"/>
                <a:gd name="connsiteX143" fmla="*/ 1566720 w 2693395"/>
                <a:gd name="connsiteY143" fmla="*/ 1134097 h 2693419"/>
                <a:gd name="connsiteX144" fmla="*/ 1562984 w 2693395"/>
                <a:gd name="connsiteY144" fmla="*/ 1135651 h 2693419"/>
                <a:gd name="connsiteX145" fmla="*/ 1649565 w 2693395"/>
                <a:gd name="connsiteY145" fmla="*/ 1049018 h 2693419"/>
                <a:gd name="connsiteX146" fmla="*/ 1645898 w 2693395"/>
                <a:gd name="connsiteY146" fmla="*/ 1047517 h 2693419"/>
                <a:gd name="connsiteX147" fmla="*/ 1645828 w 2693395"/>
                <a:gd name="connsiteY147" fmla="*/ 1040167 h 2693419"/>
                <a:gd name="connsiteX148" fmla="*/ 1645951 w 2693395"/>
                <a:gd name="connsiteY148" fmla="*/ 1040044 h 2693419"/>
                <a:gd name="connsiteX149" fmla="*/ 1653353 w 2693395"/>
                <a:gd name="connsiteY149" fmla="*/ 1040044 h 2693419"/>
                <a:gd name="connsiteX150" fmla="*/ 1653353 w 2693395"/>
                <a:gd name="connsiteY150" fmla="*/ 1047447 h 2693419"/>
                <a:gd name="connsiteX151" fmla="*/ 1649565 w 2693395"/>
                <a:gd name="connsiteY151" fmla="*/ 1049018 h 2693419"/>
                <a:gd name="connsiteX152" fmla="*/ 1736110 w 2693395"/>
                <a:gd name="connsiteY152" fmla="*/ 962473 h 2693419"/>
                <a:gd name="connsiteX153" fmla="*/ 1732444 w 2693395"/>
                <a:gd name="connsiteY153" fmla="*/ 960971 h 2693419"/>
                <a:gd name="connsiteX154" fmla="*/ 1732374 w 2693395"/>
                <a:gd name="connsiteY154" fmla="*/ 953621 h 2693419"/>
                <a:gd name="connsiteX155" fmla="*/ 1732496 w 2693395"/>
                <a:gd name="connsiteY155" fmla="*/ 953499 h 2693419"/>
                <a:gd name="connsiteX156" fmla="*/ 1739899 w 2693395"/>
                <a:gd name="connsiteY156" fmla="*/ 953499 h 2693419"/>
                <a:gd name="connsiteX157" fmla="*/ 1739899 w 2693395"/>
                <a:gd name="connsiteY157" fmla="*/ 960901 h 2693419"/>
                <a:gd name="connsiteX158" fmla="*/ 1736110 w 2693395"/>
                <a:gd name="connsiteY158" fmla="*/ 962473 h 2693419"/>
                <a:gd name="connsiteX159" fmla="*/ 1822621 w 2693395"/>
                <a:gd name="connsiteY159" fmla="*/ 876032 h 2693419"/>
                <a:gd name="connsiteX160" fmla="*/ 1818885 w 2693395"/>
                <a:gd name="connsiteY160" fmla="*/ 874478 h 2693419"/>
                <a:gd name="connsiteX161" fmla="*/ 1818937 w 2693395"/>
                <a:gd name="connsiteY161" fmla="*/ 867075 h 2693419"/>
                <a:gd name="connsiteX162" fmla="*/ 1819059 w 2693395"/>
                <a:gd name="connsiteY162" fmla="*/ 866953 h 2693419"/>
                <a:gd name="connsiteX163" fmla="*/ 1826462 w 2693395"/>
                <a:gd name="connsiteY163" fmla="*/ 867005 h 2693419"/>
                <a:gd name="connsiteX164" fmla="*/ 1826409 w 2693395"/>
                <a:gd name="connsiteY164" fmla="*/ 874408 h 2693419"/>
                <a:gd name="connsiteX165" fmla="*/ 1826288 w 2693395"/>
                <a:gd name="connsiteY165" fmla="*/ 874530 h 2693419"/>
                <a:gd name="connsiteX166" fmla="*/ 1822603 w 2693395"/>
                <a:gd name="connsiteY166" fmla="*/ 876032 h 2693419"/>
                <a:gd name="connsiteX167" fmla="*/ 1909167 w 2693395"/>
                <a:gd name="connsiteY167" fmla="*/ 789486 h 2693419"/>
                <a:gd name="connsiteX168" fmla="*/ 1905448 w 2693395"/>
                <a:gd name="connsiteY168" fmla="*/ 787933 h 2693419"/>
                <a:gd name="connsiteX169" fmla="*/ 1905465 w 2693395"/>
                <a:gd name="connsiteY169" fmla="*/ 780530 h 2693419"/>
                <a:gd name="connsiteX170" fmla="*/ 1905587 w 2693395"/>
                <a:gd name="connsiteY170" fmla="*/ 780407 h 2693419"/>
                <a:gd name="connsiteX171" fmla="*/ 1912990 w 2693395"/>
                <a:gd name="connsiteY171" fmla="*/ 780425 h 2693419"/>
                <a:gd name="connsiteX172" fmla="*/ 1912973 w 2693395"/>
                <a:gd name="connsiteY172" fmla="*/ 787828 h 2693419"/>
                <a:gd name="connsiteX173" fmla="*/ 1912850 w 2693395"/>
                <a:gd name="connsiteY173" fmla="*/ 787950 h 2693419"/>
                <a:gd name="connsiteX174" fmla="*/ 1909167 w 2693395"/>
                <a:gd name="connsiteY174" fmla="*/ 789469 h 2693419"/>
                <a:gd name="connsiteX175" fmla="*/ 1995747 w 2693395"/>
                <a:gd name="connsiteY175" fmla="*/ 702853 h 2693419"/>
                <a:gd name="connsiteX176" fmla="*/ 1992081 w 2693395"/>
                <a:gd name="connsiteY176" fmla="*/ 701369 h 2693419"/>
                <a:gd name="connsiteX177" fmla="*/ 1991993 w 2693395"/>
                <a:gd name="connsiteY177" fmla="*/ 694019 h 2693419"/>
                <a:gd name="connsiteX178" fmla="*/ 1992116 w 2693395"/>
                <a:gd name="connsiteY178" fmla="*/ 693897 h 2693419"/>
                <a:gd name="connsiteX179" fmla="*/ 1999518 w 2693395"/>
                <a:gd name="connsiteY179" fmla="*/ 693862 h 2693419"/>
                <a:gd name="connsiteX180" fmla="*/ 1999536 w 2693395"/>
                <a:gd name="connsiteY180" fmla="*/ 701265 h 2693419"/>
                <a:gd name="connsiteX181" fmla="*/ 1995730 w 2693395"/>
                <a:gd name="connsiteY181" fmla="*/ 702836 h 2693419"/>
                <a:gd name="connsiteX182" fmla="*/ 2082293 w 2693395"/>
                <a:gd name="connsiteY182" fmla="*/ 616308 h 2693419"/>
                <a:gd name="connsiteX183" fmla="*/ 2078626 w 2693395"/>
                <a:gd name="connsiteY183" fmla="*/ 614824 h 2693419"/>
                <a:gd name="connsiteX184" fmla="*/ 2078539 w 2693395"/>
                <a:gd name="connsiteY184" fmla="*/ 607473 h 2693419"/>
                <a:gd name="connsiteX185" fmla="*/ 2078661 w 2693395"/>
                <a:gd name="connsiteY185" fmla="*/ 607351 h 2693419"/>
                <a:gd name="connsiteX186" fmla="*/ 2086064 w 2693395"/>
                <a:gd name="connsiteY186" fmla="*/ 607334 h 2693419"/>
                <a:gd name="connsiteX187" fmla="*/ 2086082 w 2693395"/>
                <a:gd name="connsiteY187" fmla="*/ 614736 h 2693419"/>
                <a:gd name="connsiteX188" fmla="*/ 2082275 w 2693395"/>
                <a:gd name="connsiteY188" fmla="*/ 616308 h 2693419"/>
                <a:gd name="connsiteX189" fmla="*/ 2168804 w 2693395"/>
                <a:gd name="connsiteY189" fmla="*/ 529850 h 2693419"/>
                <a:gd name="connsiteX190" fmla="*/ 2165067 w 2693395"/>
                <a:gd name="connsiteY190" fmla="*/ 528296 h 2693419"/>
                <a:gd name="connsiteX191" fmla="*/ 2165119 w 2693395"/>
                <a:gd name="connsiteY191" fmla="*/ 520893 h 2693419"/>
                <a:gd name="connsiteX192" fmla="*/ 2165242 w 2693395"/>
                <a:gd name="connsiteY192" fmla="*/ 520771 h 2693419"/>
                <a:gd name="connsiteX193" fmla="*/ 2172644 w 2693395"/>
                <a:gd name="connsiteY193" fmla="*/ 520823 h 2693419"/>
                <a:gd name="connsiteX194" fmla="*/ 2172592 w 2693395"/>
                <a:gd name="connsiteY194" fmla="*/ 528226 h 2693419"/>
                <a:gd name="connsiteX195" fmla="*/ 2172470 w 2693395"/>
                <a:gd name="connsiteY195" fmla="*/ 528348 h 2693419"/>
                <a:gd name="connsiteX196" fmla="*/ 2168786 w 2693395"/>
                <a:gd name="connsiteY196" fmla="*/ 529850 h 2693419"/>
                <a:gd name="connsiteX197" fmla="*/ 2255331 w 2693395"/>
                <a:gd name="connsiteY197" fmla="*/ 443322 h 2693419"/>
                <a:gd name="connsiteX198" fmla="*/ 2251596 w 2693395"/>
                <a:gd name="connsiteY198" fmla="*/ 441768 h 2693419"/>
                <a:gd name="connsiteX199" fmla="*/ 2251648 w 2693395"/>
                <a:gd name="connsiteY199" fmla="*/ 434365 h 2693419"/>
                <a:gd name="connsiteX200" fmla="*/ 2251769 w 2693395"/>
                <a:gd name="connsiteY200" fmla="*/ 434243 h 2693419"/>
                <a:gd name="connsiteX201" fmla="*/ 2259173 w 2693395"/>
                <a:gd name="connsiteY201" fmla="*/ 434295 h 2693419"/>
                <a:gd name="connsiteX202" fmla="*/ 2259121 w 2693395"/>
                <a:gd name="connsiteY202" fmla="*/ 441698 h 2693419"/>
                <a:gd name="connsiteX203" fmla="*/ 2258998 w 2693395"/>
                <a:gd name="connsiteY203" fmla="*/ 441820 h 2693419"/>
                <a:gd name="connsiteX204" fmla="*/ 2255314 w 2693395"/>
                <a:gd name="connsiteY204" fmla="*/ 443322 h 2693419"/>
                <a:gd name="connsiteX205" fmla="*/ 2341912 w 2693395"/>
                <a:gd name="connsiteY205" fmla="*/ 356671 h 2693419"/>
                <a:gd name="connsiteX206" fmla="*/ 2338246 w 2693395"/>
                <a:gd name="connsiteY206" fmla="*/ 355187 h 2693419"/>
                <a:gd name="connsiteX207" fmla="*/ 2338159 w 2693395"/>
                <a:gd name="connsiteY207" fmla="*/ 347837 h 2693419"/>
                <a:gd name="connsiteX208" fmla="*/ 2338281 w 2693395"/>
                <a:gd name="connsiteY208" fmla="*/ 347715 h 2693419"/>
                <a:gd name="connsiteX209" fmla="*/ 2345683 w 2693395"/>
                <a:gd name="connsiteY209" fmla="*/ 347697 h 2693419"/>
                <a:gd name="connsiteX210" fmla="*/ 2345701 w 2693395"/>
                <a:gd name="connsiteY210" fmla="*/ 355100 h 2693419"/>
                <a:gd name="connsiteX211" fmla="*/ 2341894 w 2693395"/>
                <a:gd name="connsiteY211" fmla="*/ 356671 h 2693419"/>
                <a:gd name="connsiteX212" fmla="*/ 2428458 w 2693395"/>
                <a:gd name="connsiteY212" fmla="*/ 270143 h 2693419"/>
                <a:gd name="connsiteX213" fmla="*/ 2424791 w 2693395"/>
                <a:gd name="connsiteY213" fmla="*/ 268659 h 2693419"/>
                <a:gd name="connsiteX214" fmla="*/ 2424704 w 2693395"/>
                <a:gd name="connsiteY214" fmla="*/ 261309 h 2693419"/>
                <a:gd name="connsiteX215" fmla="*/ 2424826 w 2693395"/>
                <a:gd name="connsiteY215" fmla="*/ 261186 h 2693419"/>
                <a:gd name="connsiteX216" fmla="*/ 2432229 w 2693395"/>
                <a:gd name="connsiteY216" fmla="*/ 261151 h 2693419"/>
                <a:gd name="connsiteX217" fmla="*/ 2432246 w 2693395"/>
                <a:gd name="connsiteY217" fmla="*/ 268554 h 2693419"/>
                <a:gd name="connsiteX218" fmla="*/ 2428441 w 2693395"/>
                <a:gd name="connsiteY218" fmla="*/ 270125 h 2693419"/>
                <a:gd name="connsiteX219" fmla="*/ 2514968 w 2693395"/>
                <a:gd name="connsiteY219" fmla="*/ 183685 h 2693419"/>
                <a:gd name="connsiteX220" fmla="*/ 2511284 w 2693395"/>
                <a:gd name="connsiteY220" fmla="*/ 182183 h 2693419"/>
                <a:gd name="connsiteX221" fmla="*/ 2511232 w 2693395"/>
                <a:gd name="connsiteY221" fmla="*/ 174780 h 2693419"/>
                <a:gd name="connsiteX222" fmla="*/ 2511354 w 2693395"/>
                <a:gd name="connsiteY222" fmla="*/ 174658 h 2693419"/>
                <a:gd name="connsiteX223" fmla="*/ 2518757 w 2693395"/>
                <a:gd name="connsiteY223" fmla="*/ 174606 h 2693419"/>
                <a:gd name="connsiteX224" fmla="*/ 2518809 w 2693395"/>
                <a:gd name="connsiteY224" fmla="*/ 182009 h 2693419"/>
                <a:gd name="connsiteX225" fmla="*/ 2518687 w 2693395"/>
                <a:gd name="connsiteY225" fmla="*/ 182131 h 2693419"/>
                <a:gd name="connsiteX226" fmla="*/ 2514951 w 2693395"/>
                <a:gd name="connsiteY226" fmla="*/ 183685 h 2693419"/>
                <a:gd name="connsiteX227" fmla="*/ 2601531 w 2693395"/>
                <a:gd name="connsiteY227" fmla="*/ 97052 h 2693419"/>
                <a:gd name="connsiteX228" fmla="*/ 2597865 w 2693395"/>
                <a:gd name="connsiteY228" fmla="*/ 95568 h 2693419"/>
                <a:gd name="connsiteX229" fmla="*/ 2597778 w 2693395"/>
                <a:gd name="connsiteY229" fmla="*/ 88217 h 2693419"/>
                <a:gd name="connsiteX230" fmla="*/ 2597899 w 2693395"/>
                <a:gd name="connsiteY230" fmla="*/ 88095 h 2693419"/>
                <a:gd name="connsiteX231" fmla="*/ 2605303 w 2693395"/>
                <a:gd name="connsiteY231" fmla="*/ 88078 h 2693419"/>
                <a:gd name="connsiteX232" fmla="*/ 2605320 w 2693395"/>
                <a:gd name="connsiteY232" fmla="*/ 95480 h 2693419"/>
                <a:gd name="connsiteX233" fmla="*/ 2601514 w 2693395"/>
                <a:gd name="connsiteY233" fmla="*/ 97052 h 2693419"/>
                <a:gd name="connsiteX234" fmla="*/ 2688077 w 2693395"/>
                <a:gd name="connsiteY234" fmla="*/ 10506 h 2693419"/>
                <a:gd name="connsiteX235" fmla="*/ 2684411 w 2693395"/>
                <a:gd name="connsiteY235" fmla="*/ 9022 h 2693419"/>
                <a:gd name="connsiteX236" fmla="*/ 2684323 w 2693395"/>
                <a:gd name="connsiteY236" fmla="*/ 1672 h 2693419"/>
                <a:gd name="connsiteX237" fmla="*/ 2684446 w 2693395"/>
                <a:gd name="connsiteY237" fmla="*/ 1550 h 2693419"/>
                <a:gd name="connsiteX238" fmla="*/ 2691848 w 2693395"/>
                <a:gd name="connsiteY238" fmla="*/ 1515 h 2693419"/>
                <a:gd name="connsiteX239" fmla="*/ 2691866 w 2693395"/>
                <a:gd name="connsiteY239" fmla="*/ 8917 h 2693419"/>
                <a:gd name="connsiteX240" fmla="*/ 2688059 w 2693395"/>
                <a:gd name="connsiteY240" fmla="*/ 10489 h 269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2693395" h="2693419">
                  <a:moveTo>
                    <a:pt x="5234" y="2693420"/>
                  </a:moveTo>
                  <a:cubicBezTo>
                    <a:pt x="3889" y="2693420"/>
                    <a:pt x="2545" y="2692913"/>
                    <a:pt x="1532" y="2691883"/>
                  </a:cubicBezTo>
                  <a:cubicBezTo>
                    <a:pt x="-511" y="2689840"/>
                    <a:pt x="-511" y="2686523"/>
                    <a:pt x="1532" y="2684480"/>
                  </a:cubicBezTo>
                  <a:lnTo>
                    <a:pt x="1654" y="2684358"/>
                  </a:lnTo>
                  <a:cubicBezTo>
                    <a:pt x="3697" y="2682315"/>
                    <a:pt x="7014" y="2682315"/>
                    <a:pt x="9057" y="2684358"/>
                  </a:cubicBezTo>
                  <a:cubicBezTo>
                    <a:pt x="11100" y="2686401"/>
                    <a:pt x="11100" y="2689718"/>
                    <a:pt x="9057" y="2691761"/>
                  </a:cubicBezTo>
                  <a:lnTo>
                    <a:pt x="8935" y="2691883"/>
                  </a:lnTo>
                  <a:cubicBezTo>
                    <a:pt x="7905" y="2692913"/>
                    <a:pt x="6578" y="2693420"/>
                    <a:pt x="5234" y="2693420"/>
                  </a:cubicBezTo>
                  <a:close/>
                  <a:moveTo>
                    <a:pt x="91779" y="2606874"/>
                  </a:moveTo>
                  <a:cubicBezTo>
                    <a:pt x="90435" y="2606874"/>
                    <a:pt x="89090" y="2606367"/>
                    <a:pt x="88078" y="2605338"/>
                  </a:cubicBezTo>
                  <a:cubicBezTo>
                    <a:pt x="86035" y="2603295"/>
                    <a:pt x="86035" y="2599978"/>
                    <a:pt x="88078" y="2597935"/>
                  </a:cubicBezTo>
                  <a:lnTo>
                    <a:pt x="88200" y="2597813"/>
                  </a:lnTo>
                  <a:cubicBezTo>
                    <a:pt x="90243" y="2595770"/>
                    <a:pt x="93560" y="2595770"/>
                    <a:pt x="95603" y="2597813"/>
                  </a:cubicBezTo>
                  <a:cubicBezTo>
                    <a:pt x="97645" y="2599855"/>
                    <a:pt x="97645" y="2603172"/>
                    <a:pt x="95603" y="2605215"/>
                  </a:cubicBezTo>
                  <a:lnTo>
                    <a:pt x="95480" y="2605338"/>
                  </a:lnTo>
                  <a:cubicBezTo>
                    <a:pt x="94450" y="2606367"/>
                    <a:pt x="93124" y="2606874"/>
                    <a:pt x="91779" y="2606874"/>
                  </a:cubicBezTo>
                  <a:close/>
                  <a:moveTo>
                    <a:pt x="178325" y="2520328"/>
                  </a:moveTo>
                  <a:cubicBezTo>
                    <a:pt x="176980" y="2520328"/>
                    <a:pt x="175636" y="2519822"/>
                    <a:pt x="174623" y="2518792"/>
                  </a:cubicBezTo>
                  <a:cubicBezTo>
                    <a:pt x="172580" y="2516749"/>
                    <a:pt x="172580" y="2513432"/>
                    <a:pt x="174623" y="2511389"/>
                  </a:cubicBezTo>
                  <a:lnTo>
                    <a:pt x="174746" y="2511267"/>
                  </a:lnTo>
                  <a:cubicBezTo>
                    <a:pt x="176788" y="2509224"/>
                    <a:pt x="180105" y="2509224"/>
                    <a:pt x="182148" y="2511267"/>
                  </a:cubicBezTo>
                  <a:cubicBezTo>
                    <a:pt x="184191" y="2513310"/>
                    <a:pt x="184191" y="2516627"/>
                    <a:pt x="182148" y="2518670"/>
                  </a:cubicBezTo>
                  <a:lnTo>
                    <a:pt x="182026" y="2518792"/>
                  </a:lnTo>
                  <a:cubicBezTo>
                    <a:pt x="180996" y="2519822"/>
                    <a:pt x="179669" y="2520328"/>
                    <a:pt x="178325" y="2520328"/>
                  </a:cubicBezTo>
                  <a:close/>
                  <a:moveTo>
                    <a:pt x="264888" y="2433696"/>
                  </a:moveTo>
                  <a:cubicBezTo>
                    <a:pt x="263561" y="2433696"/>
                    <a:pt x="262216" y="2433207"/>
                    <a:pt x="261221" y="2432194"/>
                  </a:cubicBezTo>
                  <a:cubicBezTo>
                    <a:pt x="259178" y="2430151"/>
                    <a:pt x="259109" y="2426886"/>
                    <a:pt x="261152" y="2424844"/>
                  </a:cubicBezTo>
                  <a:lnTo>
                    <a:pt x="261274" y="2424721"/>
                  </a:lnTo>
                  <a:cubicBezTo>
                    <a:pt x="263317" y="2422679"/>
                    <a:pt x="266634" y="2422679"/>
                    <a:pt x="268676" y="2424721"/>
                  </a:cubicBezTo>
                  <a:cubicBezTo>
                    <a:pt x="270719" y="2426764"/>
                    <a:pt x="270719" y="2430081"/>
                    <a:pt x="268676" y="2432124"/>
                  </a:cubicBezTo>
                  <a:cubicBezTo>
                    <a:pt x="267646" y="2433154"/>
                    <a:pt x="266250" y="2433696"/>
                    <a:pt x="264888" y="2433696"/>
                  </a:cubicBezTo>
                  <a:close/>
                  <a:moveTo>
                    <a:pt x="351433" y="2347150"/>
                  </a:moveTo>
                  <a:cubicBezTo>
                    <a:pt x="350106" y="2347150"/>
                    <a:pt x="348762" y="2346661"/>
                    <a:pt x="347767" y="2345648"/>
                  </a:cubicBezTo>
                  <a:cubicBezTo>
                    <a:pt x="345724" y="2343606"/>
                    <a:pt x="345654" y="2340341"/>
                    <a:pt x="347697" y="2338298"/>
                  </a:cubicBezTo>
                  <a:lnTo>
                    <a:pt x="347819" y="2338176"/>
                  </a:lnTo>
                  <a:cubicBezTo>
                    <a:pt x="349862" y="2336133"/>
                    <a:pt x="353179" y="2336133"/>
                    <a:pt x="355222" y="2338176"/>
                  </a:cubicBezTo>
                  <a:cubicBezTo>
                    <a:pt x="357265" y="2340219"/>
                    <a:pt x="357265" y="2343536"/>
                    <a:pt x="355222" y="2345579"/>
                  </a:cubicBezTo>
                  <a:cubicBezTo>
                    <a:pt x="354192" y="2346608"/>
                    <a:pt x="352795" y="2347150"/>
                    <a:pt x="351433" y="2347150"/>
                  </a:cubicBezTo>
                  <a:close/>
                  <a:moveTo>
                    <a:pt x="437979" y="2260604"/>
                  </a:moveTo>
                  <a:cubicBezTo>
                    <a:pt x="436652" y="2260604"/>
                    <a:pt x="435308" y="2260115"/>
                    <a:pt x="434312" y="2259103"/>
                  </a:cubicBezTo>
                  <a:cubicBezTo>
                    <a:pt x="432270" y="2257060"/>
                    <a:pt x="432200" y="2253795"/>
                    <a:pt x="434243" y="2251753"/>
                  </a:cubicBezTo>
                  <a:lnTo>
                    <a:pt x="434365" y="2251630"/>
                  </a:lnTo>
                  <a:cubicBezTo>
                    <a:pt x="436408" y="2249588"/>
                    <a:pt x="439725" y="2249588"/>
                    <a:pt x="441768" y="2251630"/>
                  </a:cubicBezTo>
                  <a:cubicBezTo>
                    <a:pt x="443810" y="2253673"/>
                    <a:pt x="443810" y="2256990"/>
                    <a:pt x="441768" y="2259033"/>
                  </a:cubicBezTo>
                  <a:cubicBezTo>
                    <a:pt x="440737" y="2260063"/>
                    <a:pt x="439341" y="2260604"/>
                    <a:pt x="437979" y="2260604"/>
                  </a:cubicBezTo>
                  <a:close/>
                  <a:moveTo>
                    <a:pt x="524489" y="2174163"/>
                  </a:moveTo>
                  <a:cubicBezTo>
                    <a:pt x="523145" y="2174163"/>
                    <a:pt x="521801" y="2173657"/>
                    <a:pt x="520788" y="2172627"/>
                  </a:cubicBezTo>
                  <a:cubicBezTo>
                    <a:pt x="518745" y="2170584"/>
                    <a:pt x="518745" y="2167267"/>
                    <a:pt x="520788" y="2165224"/>
                  </a:cubicBezTo>
                  <a:lnTo>
                    <a:pt x="520910" y="2165102"/>
                  </a:lnTo>
                  <a:cubicBezTo>
                    <a:pt x="522953" y="2163059"/>
                    <a:pt x="526270" y="2163059"/>
                    <a:pt x="528313" y="2165102"/>
                  </a:cubicBezTo>
                  <a:cubicBezTo>
                    <a:pt x="530356" y="2167145"/>
                    <a:pt x="530356" y="2170462"/>
                    <a:pt x="528313" y="2172505"/>
                  </a:cubicBezTo>
                  <a:lnTo>
                    <a:pt x="528191" y="2172627"/>
                  </a:lnTo>
                  <a:cubicBezTo>
                    <a:pt x="527161" y="2173657"/>
                    <a:pt x="525834" y="2174163"/>
                    <a:pt x="524489" y="2174163"/>
                  </a:cubicBezTo>
                  <a:close/>
                  <a:moveTo>
                    <a:pt x="611035" y="2087618"/>
                  </a:moveTo>
                  <a:cubicBezTo>
                    <a:pt x="609691" y="2087618"/>
                    <a:pt x="608346" y="2087112"/>
                    <a:pt x="607334" y="2086081"/>
                  </a:cubicBezTo>
                  <a:cubicBezTo>
                    <a:pt x="605291" y="2084039"/>
                    <a:pt x="605291" y="2080721"/>
                    <a:pt x="607334" y="2078679"/>
                  </a:cubicBezTo>
                  <a:lnTo>
                    <a:pt x="607456" y="2078556"/>
                  </a:lnTo>
                  <a:cubicBezTo>
                    <a:pt x="609499" y="2076514"/>
                    <a:pt x="612816" y="2076514"/>
                    <a:pt x="614859" y="2078556"/>
                  </a:cubicBezTo>
                  <a:cubicBezTo>
                    <a:pt x="616902" y="2080599"/>
                    <a:pt x="616902" y="2083916"/>
                    <a:pt x="614859" y="2085959"/>
                  </a:cubicBezTo>
                  <a:lnTo>
                    <a:pt x="614736" y="2086081"/>
                  </a:lnTo>
                  <a:cubicBezTo>
                    <a:pt x="613706" y="2087112"/>
                    <a:pt x="612380" y="2087618"/>
                    <a:pt x="611035" y="2087618"/>
                  </a:cubicBezTo>
                  <a:close/>
                  <a:moveTo>
                    <a:pt x="697581" y="2001072"/>
                  </a:moveTo>
                  <a:cubicBezTo>
                    <a:pt x="696254" y="2001072"/>
                    <a:pt x="694927" y="2000566"/>
                    <a:pt x="693897" y="1999571"/>
                  </a:cubicBezTo>
                  <a:cubicBezTo>
                    <a:pt x="691837" y="1997545"/>
                    <a:pt x="691819" y="1994228"/>
                    <a:pt x="693844" y="1992168"/>
                  </a:cubicBezTo>
                  <a:lnTo>
                    <a:pt x="693967" y="1992046"/>
                  </a:lnTo>
                  <a:cubicBezTo>
                    <a:pt x="695992" y="1989985"/>
                    <a:pt x="699309" y="1989968"/>
                    <a:pt x="701369" y="1991993"/>
                  </a:cubicBezTo>
                  <a:cubicBezTo>
                    <a:pt x="703429" y="1994019"/>
                    <a:pt x="703447" y="1997336"/>
                    <a:pt x="701422" y="1999396"/>
                  </a:cubicBezTo>
                  <a:lnTo>
                    <a:pt x="701299" y="1999518"/>
                  </a:lnTo>
                  <a:cubicBezTo>
                    <a:pt x="700270" y="2000566"/>
                    <a:pt x="698925" y="2001072"/>
                    <a:pt x="697563" y="2001072"/>
                  </a:cubicBezTo>
                  <a:close/>
                  <a:moveTo>
                    <a:pt x="784144" y="1914439"/>
                  </a:moveTo>
                  <a:cubicBezTo>
                    <a:pt x="782817" y="1914439"/>
                    <a:pt x="781472" y="1913951"/>
                    <a:pt x="780477" y="1912938"/>
                  </a:cubicBezTo>
                  <a:cubicBezTo>
                    <a:pt x="778434" y="1910895"/>
                    <a:pt x="778365" y="1907630"/>
                    <a:pt x="780408" y="1905588"/>
                  </a:cubicBezTo>
                  <a:lnTo>
                    <a:pt x="780530" y="1905465"/>
                  </a:lnTo>
                  <a:cubicBezTo>
                    <a:pt x="782572" y="1903423"/>
                    <a:pt x="785890" y="1903423"/>
                    <a:pt x="787933" y="1905465"/>
                  </a:cubicBezTo>
                  <a:cubicBezTo>
                    <a:pt x="789975" y="1907508"/>
                    <a:pt x="789975" y="1910825"/>
                    <a:pt x="787933" y="1912868"/>
                  </a:cubicBezTo>
                  <a:cubicBezTo>
                    <a:pt x="786902" y="1913898"/>
                    <a:pt x="785506" y="1914439"/>
                    <a:pt x="784144" y="1914439"/>
                  </a:cubicBezTo>
                  <a:close/>
                  <a:moveTo>
                    <a:pt x="870689" y="1827894"/>
                  </a:moveTo>
                  <a:cubicBezTo>
                    <a:pt x="869362" y="1827894"/>
                    <a:pt x="868018" y="1827405"/>
                    <a:pt x="867023" y="1826392"/>
                  </a:cubicBezTo>
                  <a:cubicBezTo>
                    <a:pt x="864980" y="1824350"/>
                    <a:pt x="864910" y="1821084"/>
                    <a:pt x="866953" y="1819042"/>
                  </a:cubicBezTo>
                  <a:lnTo>
                    <a:pt x="867075" y="1818920"/>
                  </a:lnTo>
                  <a:cubicBezTo>
                    <a:pt x="869118" y="1816877"/>
                    <a:pt x="872435" y="1816877"/>
                    <a:pt x="874478" y="1818920"/>
                  </a:cubicBezTo>
                  <a:cubicBezTo>
                    <a:pt x="876521" y="1820963"/>
                    <a:pt x="876521" y="1824280"/>
                    <a:pt x="874478" y="1826322"/>
                  </a:cubicBezTo>
                  <a:cubicBezTo>
                    <a:pt x="873448" y="1827353"/>
                    <a:pt x="872051" y="1827894"/>
                    <a:pt x="870689" y="1827894"/>
                  </a:cubicBezTo>
                  <a:close/>
                  <a:moveTo>
                    <a:pt x="957200" y="1741453"/>
                  </a:moveTo>
                  <a:cubicBezTo>
                    <a:pt x="955856" y="1741453"/>
                    <a:pt x="954511" y="1740947"/>
                    <a:pt x="953499" y="1739916"/>
                  </a:cubicBezTo>
                  <a:cubicBezTo>
                    <a:pt x="951456" y="1737874"/>
                    <a:pt x="951456" y="1734557"/>
                    <a:pt x="953499" y="1732514"/>
                  </a:cubicBezTo>
                  <a:lnTo>
                    <a:pt x="953621" y="1732391"/>
                  </a:lnTo>
                  <a:cubicBezTo>
                    <a:pt x="955663" y="1730349"/>
                    <a:pt x="958981" y="1730349"/>
                    <a:pt x="961024" y="1732391"/>
                  </a:cubicBezTo>
                  <a:cubicBezTo>
                    <a:pt x="963066" y="1734434"/>
                    <a:pt x="963066" y="1737751"/>
                    <a:pt x="961024" y="1739794"/>
                  </a:cubicBezTo>
                  <a:lnTo>
                    <a:pt x="960901" y="1739916"/>
                  </a:lnTo>
                  <a:cubicBezTo>
                    <a:pt x="959871" y="1740947"/>
                    <a:pt x="958544" y="1741453"/>
                    <a:pt x="957200" y="1741453"/>
                  </a:cubicBezTo>
                  <a:close/>
                  <a:moveTo>
                    <a:pt x="1043746" y="1654907"/>
                  </a:moveTo>
                  <a:cubicBezTo>
                    <a:pt x="1042401" y="1654907"/>
                    <a:pt x="1041057" y="1654401"/>
                    <a:pt x="1040044" y="1653371"/>
                  </a:cubicBezTo>
                  <a:cubicBezTo>
                    <a:pt x="1038002" y="1651328"/>
                    <a:pt x="1038002" y="1648011"/>
                    <a:pt x="1040044" y="1645968"/>
                  </a:cubicBezTo>
                  <a:lnTo>
                    <a:pt x="1040167" y="1645846"/>
                  </a:lnTo>
                  <a:cubicBezTo>
                    <a:pt x="1042209" y="1643803"/>
                    <a:pt x="1045527" y="1643803"/>
                    <a:pt x="1047569" y="1645846"/>
                  </a:cubicBezTo>
                  <a:cubicBezTo>
                    <a:pt x="1049612" y="1647889"/>
                    <a:pt x="1049612" y="1651206"/>
                    <a:pt x="1047569" y="1653249"/>
                  </a:cubicBezTo>
                  <a:lnTo>
                    <a:pt x="1047447" y="1653371"/>
                  </a:lnTo>
                  <a:cubicBezTo>
                    <a:pt x="1046417" y="1654401"/>
                    <a:pt x="1045090" y="1654907"/>
                    <a:pt x="1043746" y="1654907"/>
                  </a:cubicBezTo>
                  <a:close/>
                  <a:moveTo>
                    <a:pt x="1130326" y="1568274"/>
                  </a:moveTo>
                  <a:cubicBezTo>
                    <a:pt x="1128999" y="1568274"/>
                    <a:pt x="1127655" y="1567786"/>
                    <a:pt x="1126660" y="1566773"/>
                  </a:cubicBezTo>
                  <a:cubicBezTo>
                    <a:pt x="1124617" y="1564730"/>
                    <a:pt x="1124547" y="1561465"/>
                    <a:pt x="1126590" y="1559423"/>
                  </a:cubicBezTo>
                  <a:lnTo>
                    <a:pt x="1126712" y="1559300"/>
                  </a:lnTo>
                  <a:cubicBezTo>
                    <a:pt x="1128755" y="1557258"/>
                    <a:pt x="1132072" y="1557258"/>
                    <a:pt x="1134115" y="1559300"/>
                  </a:cubicBezTo>
                  <a:cubicBezTo>
                    <a:pt x="1136158" y="1561343"/>
                    <a:pt x="1136158" y="1564660"/>
                    <a:pt x="1134115" y="1566703"/>
                  </a:cubicBezTo>
                  <a:cubicBezTo>
                    <a:pt x="1133085" y="1567733"/>
                    <a:pt x="1131688" y="1568274"/>
                    <a:pt x="1130326" y="1568274"/>
                  </a:cubicBezTo>
                  <a:close/>
                  <a:moveTo>
                    <a:pt x="1216854" y="1481729"/>
                  </a:moveTo>
                  <a:cubicBezTo>
                    <a:pt x="1215527" y="1481729"/>
                    <a:pt x="1214183" y="1481240"/>
                    <a:pt x="1213188" y="1480227"/>
                  </a:cubicBezTo>
                  <a:cubicBezTo>
                    <a:pt x="1211145" y="1478185"/>
                    <a:pt x="1211075" y="1474920"/>
                    <a:pt x="1213118" y="1472877"/>
                  </a:cubicBezTo>
                  <a:lnTo>
                    <a:pt x="1213240" y="1472755"/>
                  </a:lnTo>
                  <a:cubicBezTo>
                    <a:pt x="1215283" y="1470712"/>
                    <a:pt x="1218600" y="1470712"/>
                    <a:pt x="1220643" y="1472755"/>
                  </a:cubicBezTo>
                  <a:cubicBezTo>
                    <a:pt x="1222686" y="1474798"/>
                    <a:pt x="1222686" y="1478115"/>
                    <a:pt x="1220643" y="1480157"/>
                  </a:cubicBezTo>
                  <a:cubicBezTo>
                    <a:pt x="1219613" y="1481188"/>
                    <a:pt x="1218216" y="1481729"/>
                    <a:pt x="1216854" y="1481729"/>
                  </a:cubicBezTo>
                  <a:close/>
                  <a:moveTo>
                    <a:pt x="1303365" y="1395288"/>
                  </a:moveTo>
                  <a:cubicBezTo>
                    <a:pt x="1302021" y="1395288"/>
                    <a:pt x="1300659" y="1394764"/>
                    <a:pt x="1299629" y="1393734"/>
                  </a:cubicBezTo>
                  <a:cubicBezTo>
                    <a:pt x="1297603" y="1391674"/>
                    <a:pt x="1297621" y="1388357"/>
                    <a:pt x="1299681" y="1386331"/>
                  </a:cubicBezTo>
                  <a:lnTo>
                    <a:pt x="1299803" y="1386209"/>
                  </a:lnTo>
                  <a:cubicBezTo>
                    <a:pt x="1301863" y="1384184"/>
                    <a:pt x="1305181" y="1384201"/>
                    <a:pt x="1307206" y="1386261"/>
                  </a:cubicBezTo>
                  <a:cubicBezTo>
                    <a:pt x="1309231" y="1388322"/>
                    <a:pt x="1309214" y="1391639"/>
                    <a:pt x="1307154" y="1393664"/>
                  </a:cubicBezTo>
                  <a:lnTo>
                    <a:pt x="1307031" y="1393786"/>
                  </a:lnTo>
                  <a:cubicBezTo>
                    <a:pt x="1306019" y="1394799"/>
                    <a:pt x="1304674" y="1395288"/>
                    <a:pt x="1303348" y="1395288"/>
                  </a:cubicBezTo>
                  <a:close/>
                  <a:moveTo>
                    <a:pt x="1389911" y="1308742"/>
                  </a:moveTo>
                  <a:cubicBezTo>
                    <a:pt x="1388566" y="1308742"/>
                    <a:pt x="1387204" y="1308219"/>
                    <a:pt x="1386174" y="1307189"/>
                  </a:cubicBezTo>
                  <a:cubicBezTo>
                    <a:pt x="1384149" y="1305128"/>
                    <a:pt x="1384167" y="1301811"/>
                    <a:pt x="1386227" y="1299786"/>
                  </a:cubicBezTo>
                  <a:lnTo>
                    <a:pt x="1386349" y="1299664"/>
                  </a:lnTo>
                  <a:cubicBezTo>
                    <a:pt x="1388409" y="1297639"/>
                    <a:pt x="1391726" y="1297656"/>
                    <a:pt x="1393752" y="1299716"/>
                  </a:cubicBezTo>
                  <a:cubicBezTo>
                    <a:pt x="1395777" y="1301776"/>
                    <a:pt x="1395759" y="1305093"/>
                    <a:pt x="1393699" y="1307119"/>
                  </a:cubicBezTo>
                  <a:lnTo>
                    <a:pt x="1393577" y="1307241"/>
                  </a:lnTo>
                  <a:cubicBezTo>
                    <a:pt x="1392564" y="1308253"/>
                    <a:pt x="1391220" y="1308742"/>
                    <a:pt x="1389893" y="1308742"/>
                  </a:cubicBezTo>
                  <a:close/>
                  <a:moveTo>
                    <a:pt x="1476456" y="1222197"/>
                  </a:moveTo>
                  <a:cubicBezTo>
                    <a:pt x="1475129" y="1222197"/>
                    <a:pt x="1473802" y="1221691"/>
                    <a:pt x="1472772" y="1220695"/>
                  </a:cubicBezTo>
                  <a:cubicBezTo>
                    <a:pt x="1470712" y="1218670"/>
                    <a:pt x="1470694" y="1215353"/>
                    <a:pt x="1472720" y="1213293"/>
                  </a:cubicBezTo>
                  <a:lnTo>
                    <a:pt x="1472842" y="1213170"/>
                  </a:lnTo>
                  <a:cubicBezTo>
                    <a:pt x="1474867" y="1211110"/>
                    <a:pt x="1478184" y="1211093"/>
                    <a:pt x="1480245" y="1213118"/>
                  </a:cubicBezTo>
                  <a:cubicBezTo>
                    <a:pt x="1482305" y="1215143"/>
                    <a:pt x="1482323" y="1218461"/>
                    <a:pt x="1480297" y="1220521"/>
                  </a:cubicBezTo>
                  <a:lnTo>
                    <a:pt x="1480175" y="1220643"/>
                  </a:lnTo>
                  <a:cubicBezTo>
                    <a:pt x="1479145" y="1221691"/>
                    <a:pt x="1477800" y="1222197"/>
                    <a:pt x="1476439" y="1222197"/>
                  </a:cubicBezTo>
                  <a:close/>
                  <a:moveTo>
                    <a:pt x="1563002" y="1135651"/>
                  </a:moveTo>
                  <a:cubicBezTo>
                    <a:pt x="1561675" y="1135651"/>
                    <a:pt x="1560348" y="1135145"/>
                    <a:pt x="1559318" y="1134150"/>
                  </a:cubicBezTo>
                  <a:cubicBezTo>
                    <a:pt x="1557258" y="1132125"/>
                    <a:pt x="1557240" y="1128807"/>
                    <a:pt x="1559266" y="1126747"/>
                  </a:cubicBezTo>
                  <a:lnTo>
                    <a:pt x="1559388" y="1126625"/>
                  </a:lnTo>
                  <a:cubicBezTo>
                    <a:pt x="1561413" y="1124565"/>
                    <a:pt x="1564730" y="1124547"/>
                    <a:pt x="1566790" y="1126572"/>
                  </a:cubicBezTo>
                  <a:cubicBezTo>
                    <a:pt x="1568851" y="1128598"/>
                    <a:pt x="1568868" y="1131915"/>
                    <a:pt x="1566843" y="1133975"/>
                  </a:cubicBezTo>
                  <a:lnTo>
                    <a:pt x="1566720" y="1134097"/>
                  </a:lnTo>
                  <a:cubicBezTo>
                    <a:pt x="1565691" y="1135145"/>
                    <a:pt x="1564346" y="1135651"/>
                    <a:pt x="1562984" y="1135651"/>
                  </a:cubicBezTo>
                  <a:close/>
                  <a:moveTo>
                    <a:pt x="1649565" y="1049018"/>
                  </a:moveTo>
                  <a:cubicBezTo>
                    <a:pt x="1648238" y="1049018"/>
                    <a:pt x="1646894" y="1048529"/>
                    <a:pt x="1645898" y="1047517"/>
                  </a:cubicBezTo>
                  <a:cubicBezTo>
                    <a:pt x="1643856" y="1045474"/>
                    <a:pt x="1643786" y="1042209"/>
                    <a:pt x="1645828" y="1040167"/>
                  </a:cubicBezTo>
                  <a:lnTo>
                    <a:pt x="1645951" y="1040044"/>
                  </a:lnTo>
                  <a:cubicBezTo>
                    <a:pt x="1647993" y="1038002"/>
                    <a:pt x="1651311" y="1038002"/>
                    <a:pt x="1653353" y="1040044"/>
                  </a:cubicBezTo>
                  <a:cubicBezTo>
                    <a:pt x="1655396" y="1042087"/>
                    <a:pt x="1655396" y="1045404"/>
                    <a:pt x="1653353" y="1047447"/>
                  </a:cubicBezTo>
                  <a:cubicBezTo>
                    <a:pt x="1652323" y="1048477"/>
                    <a:pt x="1650927" y="1049018"/>
                    <a:pt x="1649565" y="1049018"/>
                  </a:cubicBezTo>
                  <a:close/>
                  <a:moveTo>
                    <a:pt x="1736110" y="962473"/>
                  </a:moveTo>
                  <a:cubicBezTo>
                    <a:pt x="1734783" y="962473"/>
                    <a:pt x="1733439" y="961984"/>
                    <a:pt x="1732444" y="960971"/>
                  </a:cubicBezTo>
                  <a:cubicBezTo>
                    <a:pt x="1730401" y="958928"/>
                    <a:pt x="1730332" y="955664"/>
                    <a:pt x="1732374" y="953621"/>
                  </a:cubicBezTo>
                  <a:lnTo>
                    <a:pt x="1732496" y="953499"/>
                  </a:lnTo>
                  <a:cubicBezTo>
                    <a:pt x="1734539" y="951456"/>
                    <a:pt x="1737856" y="951456"/>
                    <a:pt x="1739899" y="953499"/>
                  </a:cubicBezTo>
                  <a:cubicBezTo>
                    <a:pt x="1741942" y="955542"/>
                    <a:pt x="1741942" y="958859"/>
                    <a:pt x="1739899" y="960901"/>
                  </a:cubicBezTo>
                  <a:cubicBezTo>
                    <a:pt x="1738869" y="961931"/>
                    <a:pt x="1737472" y="962473"/>
                    <a:pt x="1736110" y="962473"/>
                  </a:cubicBezTo>
                  <a:close/>
                  <a:moveTo>
                    <a:pt x="1822621" y="876032"/>
                  </a:moveTo>
                  <a:cubicBezTo>
                    <a:pt x="1821277" y="876032"/>
                    <a:pt x="1819915" y="875508"/>
                    <a:pt x="1818885" y="874478"/>
                  </a:cubicBezTo>
                  <a:cubicBezTo>
                    <a:pt x="1816859" y="872418"/>
                    <a:pt x="1816877" y="869101"/>
                    <a:pt x="1818937" y="867075"/>
                  </a:cubicBezTo>
                  <a:lnTo>
                    <a:pt x="1819059" y="866953"/>
                  </a:lnTo>
                  <a:cubicBezTo>
                    <a:pt x="1821120" y="864928"/>
                    <a:pt x="1824437" y="864945"/>
                    <a:pt x="1826462" y="867005"/>
                  </a:cubicBezTo>
                  <a:cubicBezTo>
                    <a:pt x="1828487" y="869066"/>
                    <a:pt x="1828470" y="872383"/>
                    <a:pt x="1826409" y="874408"/>
                  </a:cubicBezTo>
                  <a:lnTo>
                    <a:pt x="1826288" y="874530"/>
                  </a:lnTo>
                  <a:cubicBezTo>
                    <a:pt x="1825275" y="875543"/>
                    <a:pt x="1823930" y="876032"/>
                    <a:pt x="1822603" y="876032"/>
                  </a:cubicBezTo>
                  <a:close/>
                  <a:moveTo>
                    <a:pt x="1909167" y="789486"/>
                  </a:moveTo>
                  <a:cubicBezTo>
                    <a:pt x="1907822" y="789486"/>
                    <a:pt x="1906478" y="788963"/>
                    <a:pt x="1905448" y="787933"/>
                  </a:cubicBezTo>
                  <a:cubicBezTo>
                    <a:pt x="1903405" y="785872"/>
                    <a:pt x="1903422" y="782555"/>
                    <a:pt x="1905465" y="780530"/>
                  </a:cubicBezTo>
                  <a:lnTo>
                    <a:pt x="1905587" y="780407"/>
                  </a:lnTo>
                  <a:cubicBezTo>
                    <a:pt x="1907630" y="778365"/>
                    <a:pt x="1910948" y="778382"/>
                    <a:pt x="1912990" y="780425"/>
                  </a:cubicBezTo>
                  <a:cubicBezTo>
                    <a:pt x="1915033" y="782485"/>
                    <a:pt x="1915015" y="785785"/>
                    <a:pt x="1912973" y="787828"/>
                  </a:cubicBezTo>
                  <a:lnTo>
                    <a:pt x="1912850" y="787950"/>
                  </a:lnTo>
                  <a:cubicBezTo>
                    <a:pt x="1911821" y="788963"/>
                    <a:pt x="1910494" y="789469"/>
                    <a:pt x="1909167" y="789469"/>
                  </a:cubicBezTo>
                  <a:close/>
                  <a:moveTo>
                    <a:pt x="1995747" y="702853"/>
                  </a:moveTo>
                  <a:cubicBezTo>
                    <a:pt x="1994420" y="702853"/>
                    <a:pt x="1993093" y="702365"/>
                    <a:pt x="1992081" y="701369"/>
                  </a:cubicBezTo>
                  <a:cubicBezTo>
                    <a:pt x="1990038" y="699327"/>
                    <a:pt x="1989951" y="696079"/>
                    <a:pt x="1991993" y="694019"/>
                  </a:cubicBezTo>
                  <a:lnTo>
                    <a:pt x="1992116" y="693897"/>
                  </a:lnTo>
                  <a:cubicBezTo>
                    <a:pt x="1994158" y="691837"/>
                    <a:pt x="1997476" y="691837"/>
                    <a:pt x="1999518" y="693862"/>
                  </a:cubicBezTo>
                  <a:cubicBezTo>
                    <a:pt x="2001578" y="695905"/>
                    <a:pt x="2001578" y="699222"/>
                    <a:pt x="1999536" y="701265"/>
                  </a:cubicBezTo>
                  <a:cubicBezTo>
                    <a:pt x="1998488" y="702312"/>
                    <a:pt x="1997109" y="702836"/>
                    <a:pt x="1995730" y="702836"/>
                  </a:cubicBezTo>
                  <a:close/>
                  <a:moveTo>
                    <a:pt x="2082293" y="616308"/>
                  </a:moveTo>
                  <a:cubicBezTo>
                    <a:pt x="2080966" y="616308"/>
                    <a:pt x="2079639" y="615819"/>
                    <a:pt x="2078626" y="614824"/>
                  </a:cubicBezTo>
                  <a:cubicBezTo>
                    <a:pt x="2076566" y="612781"/>
                    <a:pt x="2076496" y="609534"/>
                    <a:pt x="2078539" y="607473"/>
                  </a:cubicBezTo>
                  <a:lnTo>
                    <a:pt x="2078661" y="607351"/>
                  </a:lnTo>
                  <a:cubicBezTo>
                    <a:pt x="2080704" y="605291"/>
                    <a:pt x="2084021" y="605291"/>
                    <a:pt x="2086064" y="607334"/>
                  </a:cubicBezTo>
                  <a:cubicBezTo>
                    <a:pt x="2088124" y="609377"/>
                    <a:pt x="2088124" y="612694"/>
                    <a:pt x="2086082" y="614736"/>
                  </a:cubicBezTo>
                  <a:cubicBezTo>
                    <a:pt x="2085034" y="615784"/>
                    <a:pt x="2083654" y="616308"/>
                    <a:pt x="2082275" y="616308"/>
                  </a:cubicBezTo>
                  <a:close/>
                  <a:moveTo>
                    <a:pt x="2168804" y="529850"/>
                  </a:moveTo>
                  <a:cubicBezTo>
                    <a:pt x="2167459" y="529850"/>
                    <a:pt x="2166097" y="529326"/>
                    <a:pt x="2165067" y="528296"/>
                  </a:cubicBezTo>
                  <a:cubicBezTo>
                    <a:pt x="2163042" y="526236"/>
                    <a:pt x="2163060" y="522918"/>
                    <a:pt x="2165119" y="520893"/>
                  </a:cubicBezTo>
                  <a:lnTo>
                    <a:pt x="2165242" y="520771"/>
                  </a:lnTo>
                  <a:cubicBezTo>
                    <a:pt x="2167302" y="518745"/>
                    <a:pt x="2170619" y="518763"/>
                    <a:pt x="2172644" y="520823"/>
                  </a:cubicBezTo>
                  <a:cubicBezTo>
                    <a:pt x="2174670" y="522883"/>
                    <a:pt x="2174652" y="526201"/>
                    <a:pt x="2172592" y="528226"/>
                  </a:cubicBezTo>
                  <a:lnTo>
                    <a:pt x="2172470" y="528348"/>
                  </a:lnTo>
                  <a:cubicBezTo>
                    <a:pt x="2171457" y="529361"/>
                    <a:pt x="2170113" y="529850"/>
                    <a:pt x="2168786" y="529850"/>
                  </a:cubicBezTo>
                  <a:close/>
                  <a:moveTo>
                    <a:pt x="2255331" y="443322"/>
                  </a:moveTo>
                  <a:cubicBezTo>
                    <a:pt x="2253987" y="443322"/>
                    <a:pt x="2252625" y="442798"/>
                    <a:pt x="2251596" y="441768"/>
                  </a:cubicBezTo>
                  <a:cubicBezTo>
                    <a:pt x="2249570" y="439707"/>
                    <a:pt x="2249587" y="436390"/>
                    <a:pt x="2251648" y="434365"/>
                  </a:cubicBezTo>
                  <a:lnTo>
                    <a:pt x="2251769" y="434243"/>
                  </a:lnTo>
                  <a:cubicBezTo>
                    <a:pt x="2253830" y="432217"/>
                    <a:pt x="2257147" y="432235"/>
                    <a:pt x="2259173" y="434295"/>
                  </a:cubicBezTo>
                  <a:cubicBezTo>
                    <a:pt x="2261198" y="436355"/>
                    <a:pt x="2261180" y="439672"/>
                    <a:pt x="2259121" y="441698"/>
                  </a:cubicBezTo>
                  <a:lnTo>
                    <a:pt x="2258998" y="441820"/>
                  </a:lnTo>
                  <a:cubicBezTo>
                    <a:pt x="2257985" y="442833"/>
                    <a:pt x="2256641" y="443322"/>
                    <a:pt x="2255314" y="443322"/>
                  </a:cubicBezTo>
                  <a:close/>
                  <a:moveTo>
                    <a:pt x="2341912" y="356671"/>
                  </a:moveTo>
                  <a:cubicBezTo>
                    <a:pt x="2340585" y="356671"/>
                    <a:pt x="2339258" y="356182"/>
                    <a:pt x="2338246" y="355187"/>
                  </a:cubicBezTo>
                  <a:cubicBezTo>
                    <a:pt x="2336185" y="353144"/>
                    <a:pt x="2336115" y="349897"/>
                    <a:pt x="2338159" y="347837"/>
                  </a:cubicBezTo>
                  <a:lnTo>
                    <a:pt x="2338281" y="347715"/>
                  </a:lnTo>
                  <a:cubicBezTo>
                    <a:pt x="2340323" y="345654"/>
                    <a:pt x="2343640" y="345654"/>
                    <a:pt x="2345683" y="347697"/>
                  </a:cubicBezTo>
                  <a:cubicBezTo>
                    <a:pt x="2347743" y="349740"/>
                    <a:pt x="2347743" y="353057"/>
                    <a:pt x="2345701" y="355100"/>
                  </a:cubicBezTo>
                  <a:cubicBezTo>
                    <a:pt x="2344653" y="356147"/>
                    <a:pt x="2343274" y="356671"/>
                    <a:pt x="2341894" y="356671"/>
                  </a:cubicBezTo>
                  <a:close/>
                  <a:moveTo>
                    <a:pt x="2428458" y="270143"/>
                  </a:moveTo>
                  <a:cubicBezTo>
                    <a:pt x="2427131" y="270143"/>
                    <a:pt x="2425804" y="269654"/>
                    <a:pt x="2424791" y="268659"/>
                  </a:cubicBezTo>
                  <a:cubicBezTo>
                    <a:pt x="2422748" y="266616"/>
                    <a:pt x="2422661" y="263369"/>
                    <a:pt x="2424704" y="261309"/>
                  </a:cubicBezTo>
                  <a:lnTo>
                    <a:pt x="2424826" y="261186"/>
                  </a:lnTo>
                  <a:cubicBezTo>
                    <a:pt x="2426869" y="259126"/>
                    <a:pt x="2430186" y="259126"/>
                    <a:pt x="2432229" y="261151"/>
                  </a:cubicBezTo>
                  <a:cubicBezTo>
                    <a:pt x="2434272" y="263194"/>
                    <a:pt x="2434289" y="266511"/>
                    <a:pt x="2432246" y="268554"/>
                  </a:cubicBezTo>
                  <a:cubicBezTo>
                    <a:pt x="2431198" y="269602"/>
                    <a:pt x="2429820" y="270125"/>
                    <a:pt x="2428441" y="270125"/>
                  </a:cubicBezTo>
                  <a:close/>
                  <a:moveTo>
                    <a:pt x="2514968" y="183685"/>
                  </a:moveTo>
                  <a:cubicBezTo>
                    <a:pt x="2513641" y="183685"/>
                    <a:pt x="2512315" y="183178"/>
                    <a:pt x="2511284" y="182183"/>
                  </a:cubicBezTo>
                  <a:cubicBezTo>
                    <a:pt x="2509225" y="180158"/>
                    <a:pt x="2509207" y="176841"/>
                    <a:pt x="2511232" y="174780"/>
                  </a:cubicBezTo>
                  <a:lnTo>
                    <a:pt x="2511354" y="174658"/>
                  </a:lnTo>
                  <a:cubicBezTo>
                    <a:pt x="2513380" y="172598"/>
                    <a:pt x="2516697" y="172581"/>
                    <a:pt x="2518757" y="174606"/>
                  </a:cubicBezTo>
                  <a:cubicBezTo>
                    <a:pt x="2520817" y="176631"/>
                    <a:pt x="2520835" y="179948"/>
                    <a:pt x="2518809" y="182009"/>
                  </a:cubicBezTo>
                  <a:lnTo>
                    <a:pt x="2518687" y="182131"/>
                  </a:lnTo>
                  <a:cubicBezTo>
                    <a:pt x="2517657" y="183178"/>
                    <a:pt x="2516312" y="183685"/>
                    <a:pt x="2514951" y="183685"/>
                  </a:cubicBezTo>
                  <a:close/>
                  <a:moveTo>
                    <a:pt x="2601531" y="97052"/>
                  </a:moveTo>
                  <a:cubicBezTo>
                    <a:pt x="2600205" y="97052"/>
                    <a:pt x="2598877" y="96563"/>
                    <a:pt x="2597865" y="95568"/>
                  </a:cubicBezTo>
                  <a:cubicBezTo>
                    <a:pt x="2595805" y="93525"/>
                    <a:pt x="2595735" y="90278"/>
                    <a:pt x="2597778" y="88217"/>
                  </a:cubicBezTo>
                  <a:lnTo>
                    <a:pt x="2597899" y="88095"/>
                  </a:lnTo>
                  <a:cubicBezTo>
                    <a:pt x="2599943" y="86035"/>
                    <a:pt x="2603260" y="86035"/>
                    <a:pt x="2605303" y="88078"/>
                  </a:cubicBezTo>
                  <a:cubicBezTo>
                    <a:pt x="2607345" y="90120"/>
                    <a:pt x="2607363" y="93438"/>
                    <a:pt x="2605320" y="95480"/>
                  </a:cubicBezTo>
                  <a:cubicBezTo>
                    <a:pt x="2604273" y="96528"/>
                    <a:pt x="2602893" y="97052"/>
                    <a:pt x="2601514" y="97052"/>
                  </a:cubicBezTo>
                  <a:close/>
                  <a:moveTo>
                    <a:pt x="2688077" y="10506"/>
                  </a:moveTo>
                  <a:cubicBezTo>
                    <a:pt x="2686750" y="10506"/>
                    <a:pt x="2685423" y="10017"/>
                    <a:pt x="2684411" y="9022"/>
                  </a:cubicBezTo>
                  <a:cubicBezTo>
                    <a:pt x="2682350" y="6979"/>
                    <a:pt x="2682280" y="3732"/>
                    <a:pt x="2684323" y="1672"/>
                  </a:cubicBezTo>
                  <a:lnTo>
                    <a:pt x="2684446" y="1550"/>
                  </a:lnTo>
                  <a:cubicBezTo>
                    <a:pt x="2686488" y="-511"/>
                    <a:pt x="2689805" y="-511"/>
                    <a:pt x="2691848" y="1515"/>
                  </a:cubicBezTo>
                  <a:cubicBezTo>
                    <a:pt x="2693908" y="3557"/>
                    <a:pt x="2693908" y="6875"/>
                    <a:pt x="2691866" y="8917"/>
                  </a:cubicBezTo>
                  <a:cubicBezTo>
                    <a:pt x="2690818" y="9965"/>
                    <a:pt x="2689439" y="10489"/>
                    <a:pt x="2688059" y="10489"/>
                  </a:cubicBezTo>
                  <a:close/>
                </a:path>
              </a:pathLst>
            </a:custGeom>
            <a:grpFill/>
            <a:ln w="0"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5A03E5F7-FD28-BC57-0635-4187620694F6}"/>
                </a:ext>
              </a:extLst>
            </p:cNvPr>
            <p:cNvSpPr/>
            <p:nvPr/>
          </p:nvSpPr>
          <p:spPr>
            <a:xfrm>
              <a:off x="6391646" y="2640024"/>
              <a:ext cx="2521502" cy="2521493"/>
            </a:xfrm>
            <a:custGeom>
              <a:avLst/>
              <a:gdLst>
                <a:gd name="connsiteX0" fmla="*/ 5822 w 2521502"/>
                <a:gd name="connsiteY0" fmla="*/ 2521494 h 2521493"/>
                <a:gd name="connsiteX1" fmla="*/ 1702 w 2521502"/>
                <a:gd name="connsiteY1" fmla="*/ 2519783 h 2521493"/>
                <a:gd name="connsiteX2" fmla="*/ 1702 w 2521502"/>
                <a:gd name="connsiteY2" fmla="*/ 2511559 h 2521493"/>
                <a:gd name="connsiteX3" fmla="*/ 1824 w 2521502"/>
                <a:gd name="connsiteY3" fmla="*/ 2511437 h 2521493"/>
                <a:gd name="connsiteX4" fmla="*/ 10048 w 2521502"/>
                <a:gd name="connsiteY4" fmla="*/ 2511437 h 2521493"/>
                <a:gd name="connsiteX5" fmla="*/ 10048 w 2521502"/>
                <a:gd name="connsiteY5" fmla="*/ 2519660 h 2521493"/>
                <a:gd name="connsiteX6" fmla="*/ 9926 w 2521502"/>
                <a:gd name="connsiteY6" fmla="*/ 2519783 h 2521493"/>
                <a:gd name="connsiteX7" fmla="*/ 5805 w 2521502"/>
                <a:gd name="connsiteY7" fmla="*/ 2521494 h 2521493"/>
                <a:gd name="connsiteX8" fmla="*/ 92368 w 2521502"/>
                <a:gd name="connsiteY8" fmla="*/ 2434948 h 2521493"/>
                <a:gd name="connsiteX9" fmla="*/ 88248 w 2521502"/>
                <a:gd name="connsiteY9" fmla="*/ 2433237 h 2521493"/>
                <a:gd name="connsiteX10" fmla="*/ 88248 w 2521502"/>
                <a:gd name="connsiteY10" fmla="*/ 2425014 h 2521493"/>
                <a:gd name="connsiteX11" fmla="*/ 88370 w 2521502"/>
                <a:gd name="connsiteY11" fmla="*/ 2424891 h 2521493"/>
                <a:gd name="connsiteX12" fmla="*/ 96593 w 2521502"/>
                <a:gd name="connsiteY12" fmla="*/ 2424891 h 2521493"/>
                <a:gd name="connsiteX13" fmla="*/ 96593 w 2521502"/>
                <a:gd name="connsiteY13" fmla="*/ 2433115 h 2521493"/>
                <a:gd name="connsiteX14" fmla="*/ 96471 w 2521502"/>
                <a:gd name="connsiteY14" fmla="*/ 2433237 h 2521493"/>
                <a:gd name="connsiteX15" fmla="*/ 92351 w 2521502"/>
                <a:gd name="connsiteY15" fmla="*/ 2434948 h 2521493"/>
                <a:gd name="connsiteX16" fmla="*/ 178949 w 2521502"/>
                <a:gd name="connsiteY16" fmla="*/ 2348315 h 2521493"/>
                <a:gd name="connsiteX17" fmla="*/ 174863 w 2521502"/>
                <a:gd name="connsiteY17" fmla="*/ 2346639 h 2521493"/>
                <a:gd name="connsiteX18" fmla="*/ 174793 w 2521502"/>
                <a:gd name="connsiteY18" fmla="*/ 2338468 h 2521493"/>
                <a:gd name="connsiteX19" fmla="*/ 174916 w 2521502"/>
                <a:gd name="connsiteY19" fmla="*/ 2338346 h 2521493"/>
                <a:gd name="connsiteX20" fmla="*/ 183139 w 2521502"/>
                <a:gd name="connsiteY20" fmla="*/ 2338346 h 2521493"/>
                <a:gd name="connsiteX21" fmla="*/ 183139 w 2521502"/>
                <a:gd name="connsiteY21" fmla="*/ 2346569 h 2521493"/>
                <a:gd name="connsiteX22" fmla="*/ 178931 w 2521502"/>
                <a:gd name="connsiteY22" fmla="*/ 2348298 h 2521493"/>
                <a:gd name="connsiteX23" fmla="*/ 265477 w 2521502"/>
                <a:gd name="connsiteY23" fmla="*/ 2261770 h 2521493"/>
                <a:gd name="connsiteX24" fmla="*/ 261391 w 2521502"/>
                <a:gd name="connsiteY24" fmla="*/ 2260094 h 2521493"/>
                <a:gd name="connsiteX25" fmla="*/ 261322 w 2521502"/>
                <a:gd name="connsiteY25" fmla="*/ 2251922 h 2521493"/>
                <a:gd name="connsiteX26" fmla="*/ 261444 w 2521502"/>
                <a:gd name="connsiteY26" fmla="*/ 2251801 h 2521493"/>
                <a:gd name="connsiteX27" fmla="*/ 269667 w 2521502"/>
                <a:gd name="connsiteY27" fmla="*/ 2251801 h 2521493"/>
                <a:gd name="connsiteX28" fmla="*/ 269667 w 2521502"/>
                <a:gd name="connsiteY28" fmla="*/ 2260024 h 2521493"/>
                <a:gd name="connsiteX29" fmla="*/ 265459 w 2521502"/>
                <a:gd name="connsiteY29" fmla="*/ 2261752 h 2521493"/>
                <a:gd name="connsiteX30" fmla="*/ 352022 w 2521502"/>
                <a:gd name="connsiteY30" fmla="*/ 2175224 h 2521493"/>
                <a:gd name="connsiteX31" fmla="*/ 347937 w 2521502"/>
                <a:gd name="connsiteY31" fmla="*/ 2173548 h 2521493"/>
                <a:gd name="connsiteX32" fmla="*/ 347867 w 2521502"/>
                <a:gd name="connsiteY32" fmla="*/ 2165377 h 2521493"/>
                <a:gd name="connsiteX33" fmla="*/ 347989 w 2521502"/>
                <a:gd name="connsiteY33" fmla="*/ 2165255 h 2521493"/>
                <a:gd name="connsiteX34" fmla="*/ 356213 w 2521502"/>
                <a:gd name="connsiteY34" fmla="*/ 2165255 h 2521493"/>
                <a:gd name="connsiteX35" fmla="*/ 356213 w 2521502"/>
                <a:gd name="connsiteY35" fmla="*/ 2173478 h 2521493"/>
                <a:gd name="connsiteX36" fmla="*/ 352005 w 2521502"/>
                <a:gd name="connsiteY36" fmla="*/ 2175206 h 2521493"/>
                <a:gd name="connsiteX37" fmla="*/ 438533 w 2521502"/>
                <a:gd name="connsiteY37" fmla="*/ 2088766 h 2521493"/>
                <a:gd name="connsiteX38" fmla="*/ 434413 w 2521502"/>
                <a:gd name="connsiteY38" fmla="*/ 2087055 h 2521493"/>
                <a:gd name="connsiteX39" fmla="*/ 434413 w 2521502"/>
                <a:gd name="connsiteY39" fmla="*/ 2078831 h 2521493"/>
                <a:gd name="connsiteX40" fmla="*/ 434535 w 2521502"/>
                <a:gd name="connsiteY40" fmla="*/ 2078709 h 2521493"/>
                <a:gd name="connsiteX41" fmla="*/ 442758 w 2521502"/>
                <a:gd name="connsiteY41" fmla="*/ 2078709 h 2521493"/>
                <a:gd name="connsiteX42" fmla="*/ 442758 w 2521502"/>
                <a:gd name="connsiteY42" fmla="*/ 2086932 h 2521493"/>
                <a:gd name="connsiteX43" fmla="*/ 442636 w 2521502"/>
                <a:gd name="connsiteY43" fmla="*/ 2087055 h 2521493"/>
                <a:gd name="connsiteX44" fmla="*/ 438516 w 2521502"/>
                <a:gd name="connsiteY44" fmla="*/ 2088766 h 2521493"/>
                <a:gd name="connsiteX45" fmla="*/ 525079 w 2521502"/>
                <a:gd name="connsiteY45" fmla="*/ 2002237 h 2521493"/>
                <a:gd name="connsiteX46" fmla="*/ 520958 w 2521502"/>
                <a:gd name="connsiteY46" fmla="*/ 2000526 h 2521493"/>
                <a:gd name="connsiteX47" fmla="*/ 520958 w 2521502"/>
                <a:gd name="connsiteY47" fmla="*/ 1992303 h 2521493"/>
                <a:gd name="connsiteX48" fmla="*/ 521081 w 2521502"/>
                <a:gd name="connsiteY48" fmla="*/ 1992181 h 2521493"/>
                <a:gd name="connsiteX49" fmla="*/ 529304 w 2521502"/>
                <a:gd name="connsiteY49" fmla="*/ 1992181 h 2521493"/>
                <a:gd name="connsiteX50" fmla="*/ 529304 w 2521502"/>
                <a:gd name="connsiteY50" fmla="*/ 2000404 h 2521493"/>
                <a:gd name="connsiteX51" fmla="*/ 529182 w 2521502"/>
                <a:gd name="connsiteY51" fmla="*/ 2000526 h 2521493"/>
                <a:gd name="connsiteX52" fmla="*/ 525061 w 2521502"/>
                <a:gd name="connsiteY52" fmla="*/ 2002237 h 2521493"/>
                <a:gd name="connsiteX53" fmla="*/ 611624 w 2521502"/>
                <a:gd name="connsiteY53" fmla="*/ 1915692 h 2521493"/>
                <a:gd name="connsiteX54" fmla="*/ 607539 w 2521502"/>
                <a:gd name="connsiteY54" fmla="*/ 1914016 h 2521493"/>
                <a:gd name="connsiteX55" fmla="*/ 607487 w 2521502"/>
                <a:gd name="connsiteY55" fmla="*/ 1905792 h 2521493"/>
                <a:gd name="connsiteX56" fmla="*/ 607609 w 2521502"/>
                <a:gd name="connsiteY56" fmla="*/ 1905670 h 2521493"/>
                <a:gd name="connsiteX57" fmla="*/ 615832 w 2521502"/>
                <a:gd name="connsiteY57" fmla="*/ 1905618 h 2521493"/>
                <a:gd name="connsiteX58" fmla="*/ 615885 w 2521502"/>
                <a:gd name="connsiteY58" fmla="*/ 1913841 h 2521493"/>
                <a:gd name="connsiteX59" fmla="*/ 615762 w 2521502"/>
                <a:gd name="connsiteY59" fmla="*/ 1913964 h 2521493"/>
                <a:gd name="connsiteX60" fmla="*/ 611624 w 2521502"/>
                <a:gd name="connsiteY60" fmla="*/ 1915692 h 2521493"/>
                <a:gd name="connsiteX61" fmla="*/ 698205 w 2521502"/>
                <a:gd name="connsiteY61" fmla="*/ 1829059 h 2521493"/>
                <a:gd name="connsiteX62" fmla="*/ 694119 w 2521502"/>
                <a:gd name="connsiteY62" fmla="*/ 1827383 h 2521493"/>
                <a:gd name="connsiteX63" fmla="*/ 694050 w 2521502"/>
                <a:gd name="connsiteY63" fmla="*/ 1819212 h 2521493"/>
                <a:gd name="connsiteX64" fmla="*/ 694172 w 2521502"/>
                <a:gd name="connsiteY64" fmla="*/ 1819090 h 2521493"/>
                <a:gd name="connsiteX65" fmla="*/ 702395 w 2521502"/>
                <a:gd name="connsiteY65" fmla="*/ 1819090 h 2521493"/>
                <a:gd name="connsiteX66" fmla="*/ 702395 w 2521502"/>
                <a:gd name="connsiteY66" fmla="*/ 1827313 h 2521493"/>
                <a:gd name="connsiteX67" fmla="*/ 698187 w 2521502"/>
                <a:gd name="connsiteY67" fmla="*/ 1829042 h 2521493"/>
                <a:gd name="connsiteX68" fmla="*/ 784733 w 2521502"/>
                <a:gd name="connsiteY68" fmla="*/ 1742513 h 2521493"/>
                <a:gd name="connsiteX69" fmla="*/ 780647 w 2521502"/>
                <a:gd name="connsiteY69" fmla="*/ 1740837 h 2521493"/>
                <a:gd name="connsiteX70" fmla="*/ 780578 w 2521502"/>
                <a:gd name="connsiteY70" fmla="*/ 1732666 h 2521493"/>
                <a:gd name="connsiteX71" fmla="*/ 780700 w 2521502"/>
                <a:gd name="connsiteY71" fmla="*/ 1732544 h 2521493"/>
                <a:gd name="connsiteX72" fmla="*/ 788923 w 2521502"/>
                <a:gd name="connsiteY72" fmla="*/ 1732544 h 2521493"/>
                <a:gd name="connsiteX73" fmla="*/ 788923 w 2521502"/>
                <a:gd name="connsiteY73" fmla="*/ 1740767 h 2521493"/>
                <a:gd name="connsiteX74" fmla="*/ 784716 w 2521502"/>
                <a:gd name="connsiteY74" fmla="*/ 1742496 h 2521493"/>
                <a:gd name="connsiteX75" fmla="*/ 871244 w 2521502"/>
                <a:gd name="connsiteY75" fmla="*/ 1656055 h 2521493"/>
                <a:gd name="connsiteX76" fmla="*/ 867123 w 2521502"/>
                <a:gd name="connsiteY76" fmla="*/ 1654344 h 2521493"/>
                <a:gd name="connsiteX77" fmla="*/ 867123 w 2521502"/>
                <a:gd name="connsiteY77" fmla="*/ 1646121 h 2521493"/>
                <a:gd name="connsiteX78" fmla="*/ 867246 w 2521502"/>
                <a:gd name="connsiteY78" fmla="*/ 1645999 h 2521493"/>
                <a:gd name="connsiteX79" fmla="*/ 875469 w 2521502"/>
                <a:gd name="connsiteY79" fmla="*/ 1645999 h 2521493"/>
                <a:gd name="connsiteX80" fmla="*/ 875469 w 2521502"/>
                <a:gd name="connsiteY80" fmla="*/ 1654222 h 2521493"/>
                <a:gd name="connsiteX81" fmla="*/ 875346 w 2521502"/>
                <a:gd name="connsiteY81" fmla="*/ 1654344 h 2521493"/>
                <a:gd name="connsiteX82" fmla="*/ 871226 w 2521502"/>
                <a:gd name="connsiteY82" fmla="*/ 1656055 h 2521493"/>
                <a:gd name="connsiteX83" fmla="*/ 957789 w 2521502"/>
                <a:gd name="connsiteY83" fmla="*/ 1569527 h 2521493"/>
                <a:gd name="connsiteX84" fmla="*/ 953669 w 2521502"/>
                <a:gd name="connsiteY84" fmla="*/ 1567816 h 2521493"/>
                <a:gd name="connsiteX85" fmla="*/ 953669 w 2521502"/>
                <a:gd name="connsiteY85" fmla="*/ 1559593 h 2521493"/>
                <a:gd name="connsiteX86" fmla="*/ 953791 w 2521502"/>
                <a:gd name="connsiteY86" fmla="*/ 1559471 h 2521493"/>
                <a:gd name="connsiteX87" fmla="*/ 962014 w 2521502"/>
                <a:gd name="connsiteY87" fmla="*/ 1559471 h 2521493"/>
                <a:gd name="connsiteX88" fmla="*/ 962014 w 2521502"/>
                <a:gd name="connsiteY88" fmla="*/ 1567694 h 2521493"/>
                <a:gd name="connsiteX89" fmla="*/ 961892 w 2521502"/>
                <a:gd name="connsiteY89" fmla="*/ 1567816 h 2521493"/>
                <a:gd name="connsiteX90" fmla="*/ 957772 w 2521502"/>
                <a:gd name="connsiteY90" fmla="*/ 1569527 h 2521493"/>
                <a:gd name="connsiteX91" fmla="*/ 1044370 w 2521502"/>
                <a:gd name="connsiteY91" fmla="*/ 1482877 h 2521493"/>
                <a:gd name="connsiteX92" fmla="*/ 1040284 w 2521502"/>
                <a:gd name="connsiteY92" fmla="*/ 1481201 h 2521493"/>
                <a:gd name="connsiteX93" fmla="*/ 1040214 w 2521502"/>
                <a:gd name="connsiteY93" fmla="*/ 1473030 h 2521493"/>
                <a:gd name="connsiteX94" fmla="*/ 1040337 w 2521502"/>
                <a:gd name="connsiteY94" fmla="*/ 1472907 h 2521493"/>
                <a:gd name="connsiteX95" fmla="*/ 1048560 w 2521502"/>
                <a:gd name="connsiteY95" fmla="*/ 1472907 h 2521493"/>
                <a:gd name="connsiteX96" fmla="*/ 1048560 w 2521502"/>
                <a:gd name="connsiteY96" fmla="*/ 1481131 h 2521493"/>
                <a:gd name="connsiteX97" fmla="*/ 1044352 w 2521502"/>
                <a:gd name="connsiteY97" fmla="*/ 1482859 h 2521493"/>
                <a:gd name="connsiteX98" fmla="*/ 1130915 w 2521502"/>
                <a:gd name="connsiteY98" fmla="*/ 1396348 h 2521493"/>
                <a:gd name="connsiteX99" fmla="*/ 1126830 w 2521502"/>
                <a:gd name="connsiteY99" fmla="*/ 1394672 h 2521493"/>
                <a:gd name="connsiteX100" fmla="*/ 1126760 w 2521502"/>
                <a:gd name="connsiteY100" fmla="*/ 1386502 h 2521493"/>
                <a:gd name="connsiteX101" fmla="*/ 1126882 w 2521502"/>
                <a:gd name="connsiteY101" fmla="*/ 1386379 h 2521493"/>
                <a:gd name="connsiteX102" fmla="*/ 1135106 w 2521502"/>
                <a:gd name="connsiteY102" fmla="*/ 1386379 h 2521493"/>
                <a:gd name="connsiteX103" fmla="*/ 1135106 w 2521502"/>
                <a:gd name="connsiteY103" fmla="*/ 1394602 h 2521493"/>
                <a:gd name="connsiteX104" fmla="*/ 1130898 w 2521502"/>
                <a:gd name="connsiteY104" fmla="*/ 1396331 h 2521493"/>
                <a:gd name="connsiteX105" fmla="*/ 1217426 w 2521502"/>
                <a:gd name="connsiteY105" fmla="*/ 1309890 h 2521493"/>
                <a:gd name="connsiteX106" fmla="*/ 1213288 w 2521502"/>
                <a:gd name="connsiteY106" fmla="*/ 1308162 h 2521493"/>
                <a:gd name="connsiteX107" fmla="*/ 1213341 w 2521502"/>
                <a:gd name="connsiteY107" fmla="*/ 1299938 h 2521493"/>
                <a:gd name="connsiteX108" fmla="*/ 1213463 w 2521502"/>
                <a:gd name="connsiteY108" fmla="*/ 1299816 h 2521493"/>
                <a:gd name="connsiteX109" fmla="*/ 1221686 w 2521502"/>
                <a:gd name="connsiteY109" fmla="*/ 1299869 h 2521493"/>
                <a:gd name="connsiteX110" fmla="*/ 1221634 w 2521502"/>
                <a:gd name="connsiteY110" fmla="*/ 1308092 h 2521493"/>
                <a:gd name="connsiteX111" fmla="*/ 1221511 w 2521502"/>
                <a:gd name="connsiteY111" fmla="*/ 1308214 h 2521493"/>
                <a:gd name="connsiteX112" fmla="*/ 1217426 w 2521502"/>
                <a:gd name="connsiteY112" fmla="*/ 1309890 h 2521493"/>
                <a:gd name="connsiteX113" fmla="*/ 1303954 w 2521502"/>
                <a:gd name="connsiteY113" fmla="*/ 1223345 h 2521493"/>
                <a:gd name="connsiteX114" fmla="*/ 1299816 w 2521502"/>
                <a:gd name="connsiteY114" fmla="*/ 1221616 h 2521493"/>
                <a:gd name="connsiteX115" fmla="*/ 1299869 w 2521502"/>
                <a:gd name="connsiteY115" fmla="*/ 1213393 h 2521493"/>
                <a:gd name="connsiteX116" fmla="*/ 1299991 w 2521502"/>
                <a:gd name="connsiteY116" fmla="*/ 1213271 h 2521493"/>
                <a:gd name="connsiteX117" fmla="*/ 1308214 w 2521502"/>
                <a:gd name="connsiteY117" fmla="*/ 1213323 h 2521493"/>
                <a:gd name="connsiteX118" fmla="*/ 1308162 w 2521502"/>
                <a:gd name="connsiteY118" fmla="*/ 1221546 h 2521493"/>
                <a:gd name="connsiteX119" fmla="*/ 1308040 w 2521502"/>
                <a:gd name="connsiteY119" fmla="*/ 1221669 h 2521493"/>
                <a:gd name="connsiteX120" fmla="*/ 1303954 w 2521502"/>
                <a:gd name="connsiteY120" fmla="*/ 1223345 h 2521493"/>
                <a:gd name="connsiteX121" fmla="*/ 1390500 w 2521502"/>
                <a:gd name="connsiteY121" fmla="*/ 1136799 h 2521493"/>
                <a:gd name="connsiteX122" fmla="*/ 1386414 w 2521502"/>
                <a:gd name="connsiteY122" fmla="*/ 1135123 h 2521493"/>
                <a:gd name="connsiteX123" fmla="*/ 1386362 w 2521502"/>
                <a:gd name="connsiteY123" fmla="*/ 1126900 h 2521493"/>
                <a:gd name="connsiteX124" fmla="*/ 1386484 w 2521502"/>
                <a:gd name="connsiteY124" fmla="*/ 1126777 h 2521493"/>
                <a:gd name="connsiteX125" fmla="*/ 1394707 w 2521502"/>
                <a:gd name="connsiteY125" fmla="*/ 1126725 h 2521493"/>
                <a:gd name="connsiteX126" fmla="*/ 1394760 w 2521502"/>
                <a:gd name="connsiteY126" fmla="*/ 1134948 h 2521493"/>
                <a:gd name="connsiteX127" fmla="*/ 1394637 w 2521502"/>
                <a:gd name="connsiteY127" fmla="*/ 1135071 h 2521493"/>
                <a:gd name="connsiteX128" fmla="*/ 1390500 w 2521502"/>
                <a:gd name="connsiteY128" fmla="*/ 1136799 h 2521493"/>
                <a:gd name="connsiteX129" fmla="*/ 1477045 w 2521502"/>
                <a:gd name="connsiteY129" fmla="*/ 1050271 h 2521493"/>
                <a:gd name="connsiteX130" fmla="*/ 1472960 w 2521502"/>
                <a:gd name="connsiteY130" fmla="*/ 1048595 h 2521493"/>
                <a:gd name="connsiteX131" fmla="*/ 1472907 w 2521502"/>
                <a:gd name="connsiteY131" fmla="*/ 1040372 h 2521493"/>
                <a:gd name="connsiteX132" fmla="*/ 1473030 w 2521502"/>
                <a:gd name="connsiteY132" fmla="*/ 1040249 h 2521493"/>
                <a:gd name="connsiteX133" fmla="*/ 1481253 w 2521502"/>
                <a:gd name="connsiteY133" fmla="*/ 1040197 h 2521493"/>
                <a:gd name="connsiteX134" fmla="*/ 1481305 w 2521502"/>
                <a:gd name="connsiteY134" fmla="*/ 1048420 h 2521493"/>
                <a:gd name="connsiteX135" fmla="*/ 1481183 w 2521502"/>
                <a:gd name="connsiteY135" fmla="*/ 1048542 h 2521493"/>
                <a:gd name="connsiteX136" fmla="*/ 1477045 w 2521502"/>
                <a:gd name="connsiteY136" fmla="*/ 1050271 h 2521493"/>
                <a:gd name="connsiteX137" fmla="*/ 1563626 w 2521502"/>
                <a:gd name="connsiteY137" fmla="*/ 963638 h 2521493"/>
                <a:gd name="connsiteX138" fmla="*/ 1559540 w 2521502"/>
                <a:gd name="connsiteY138" fmla="*/ 961962 h 2521493"/>
                <a:gd name="connsiteX139" fmla="*/ 1559488 w 2521502"/>
                <a:gd name="connsiteY139" fmla="*/ 953791 h 2521493"/>
                <a:gd name="connsiteX140" fmla="*/ 1559610 w 2521502"/>
                <a:gd name="connsiteY140" fmla="*/ 953669 h 2521493"/>
                <a:gd name="connsiteX141" fmla="*/ 1567834 w 2521502"/>
                <a:gd name="connsiteY141" fmla="*/ 953669 h 2521493"/>
                <a:gd name="connsiteX142" fmla="*/ 1567834 w 2521502"/>
                <a:gd name="connsiteY142" fmla="*/ 961892 h 2521493"/>
                <a:gd name="connsiteX143" fmla="*/ 1563626 w 2521502"/>
                <a:gd name="connsiteY143" fmla="*/ 963621 h 2521493"/>
                <a:gd name="connsiteX144" fmla="*/ 1650171 w 2521502"/>
                <a:gd name="connsiteY144" fmla="*/ 877092 h 2521493"/>
                <a:gd name="connsiteX145" fmla="*/ 1646086 w 2521502"/>
                <a:gd name="connsiteY145" fmla="*/ 875416 h 2521493"/>
                <a:gd name="connsiteX146" fmla="*/ 1646016 w 2521502"/>
                <a:gd name="connsiteY146" fmla="*/ 867245 h 2521493"/>
                <a:gd name="connsiteX147" fmla="*/ 1646138 w 2521502"/>
                <a:gd name="connsiteY147" fmla="*/ 867123 h 2521493"/>
                <a:gd name="connsiteX148" fmla="*/ 1654361 w 2521502"/>
                <a:gd name="connsiteY148" fmla="*/ 867123 h 2521493"/>
                <a:gd name="connsiteX149" fmla="*/ 1654361 w 2521502"/>
                <a:gd name="connsiteY149" fmla="*/ 875347 h 2521493"/>
                <a:gd name="connsiteX150" fmla="*/ 1650154 w 2521502"/>
                <a:gd name="connsiteY150" fmla="*/ 877075 h 2521493"/>
                <a:gd name="connsiteX151" fmla="*/ 1736682 w 2521502"/>
                <a:gd name="connsiteY151" fmla="*/ 790634 h 2521493"/>
                <a:gd name="connsiteX152" fmla="*/ 1732544 w 2521502"/>
                <a:gd name="connsiteY152" fmla="*/ 788906 h 2521493"/>
                <a:gd name="connsiteX153" fmla="*/ 1732597 w 2521502"/>
                <a:gd name="connsiteY153" fmla="*/ 780682 h 2521493"/>
                <a:gd name="connsiteX154" fmla="*/ 1732719 w 2521502"/>
                <a:gd name="connsiteY154" fmla="*/ 780560 h 2521493"/>
                <a:gd name="connsiteX155" fmla="*/ 1740942 w 2521502"/>
                <a:gd name="connsiteY155" fmla="*/ 780613 h 2521493"/>
                <a:gd name="connsiteX156" fmla="*/ 1740890 w 2521502"/>
                <a:gd name="connsiteY156" fmla="*/ 788836 h 2521493"/>
                <a:gd name="connsiteX157" fmla="*/ 1740767 w 2521502"/>
                <a:gd name="connsiteY157" fmla="*/ 788958 h 2521493"/>
                <a:gd name="connsiteX158" fmla="*/ 1736682 w 2521502"/>
                <a:gd name="connsiteY158" fmla="*/ 790634 h 2521493"/>
                <a:gd name="connsiteX159" fmla="*/ 1823210 w 2521502"/>
                <a:gd name="connsiteY159" fmla="*/ 704089 h 2521493"/>
                <a:gd name="connsiteX160" fmla="*/ 1819090 w 2521502"/>
                <a:gd name="connsiteY160" fmla="*/ 702378 h 2521493"/>
                <a:gd name="connsiteX161" fmla="*/ 1819090 w 2521502"/>
                <a:gd name="connsiteY161" fmla="*/ 694154 h 2521493"/>
                <a:gd name="connsiteX162" fmla="*/ 1819212 w 2521502"/>
                <a:gd name="connsiteY162" fmla="*/ 694032 h 2521493"/>
                <a:gd name="connsiteX163" fmla="*/ 1827435 w 2521502"/>
                <a:gd name="connsiteY163" fmla="*/ 694032 h 2521493"/>
                <a:gd name="connsiteX164" fmla="*/ 1827435 w 2521502"/>
                <a:gd name="connsiteY164" fmla="*/ 702255 h 2521493"/>
                <a:gd name="connsiteX165" fmla="*/ 1827313 w 2521502"/>
                <a:gd name="connsiteY165" fmla="*/ 702378 h 2521493"/>
                <a:gd name="connsiteX166" fmla="*/ 1823193 w 2521502"/>
                <a:gd name="connsiteY166" fmla="*/ 704089 h 2521493"/>
                <a:gd name="connsiteX167" fmla="*/ 1909791 w 2521502"/>
                <a:gd name="connsiteY167" fmla="*/ 617456 h 2521493"/>
                <a:gd name="connsiteX168" fmla="*/ 1905723 w 2521502"/>
                <a:gd name="connsiteY168" fmla="*/ 615797 h 2521493"/>
                <a:gd name="connsiteX169" fmla="*/ 1905635 w 2521502"/>
                <a:gd name="connsiteY169" fmla="*/ 607626 h 2521493"/>
                <a:gd name="connsiteX170" fmla="*/ 1905757 w 2521502"/>
                <a:gd name="connsiteY170" fmla="*/ 607504 h 2521493"/>
                <a:gd name="connsiteX171" fmla="*/ 1913981 w 2521502"/>
                <a:gd name="connsiteY171" fmla="*/ 607469 h 2521493"/>
                <a:gd name="connsiteX172" fmla="*/ 1914016 w 2521502"/>
                <a:gd name="connsiteY172" fmla="*/ 615692 h 2521493"/>
                <a:gd name="connsiteX173" fmla="*/ 1909791 w 2521502"/>
                <a:gd name="connsiteY173" fmla="*/ 617438 h 2521493"/>
                <a:gd name="connsiteX174" fmla="*/ 1996336 w 2521502"/>
                <a:gd name="connsiteY174" fmla="*/ 530928 h 2521493"/>
                <a:gd name="connsiteX175" fmla="*/ 1992269 w 2521502"/>
                <a:gd name="connsiteY175" fmla="*/ 529269 h 2521493"/>
                <a:gd name="connsiteX176" fmla="*/ 1992181 w 2521502"/>
                <a:gd name="connsiteY176" fmla="*/ 521098 h 2521493"/>
                <a:gd name="connsiteX177" fmla="*/ 1992304 w 2521502"/>
                <a:gd name="connsiteY177" fmla="*/ 520976 h 2521493"/>
                <a:gd name="connsiteX178" fmla="*/ 2000527 w 2521502"/>
                <a:gd name="connsiteY178" fmla="*/ 520941 h 2521493"/>
                <a:gd name="connsiteX179" fmla="*/ 2000562 w 2521502"/>
                <a:gd name="connsiteY179" fmla="*/ 529164 h 2521493"/>
                <a:gd name="connsiteX180" fmla="*/ 1996336 w 2521502"/>
                <a:gd name="connsiteY180" fmla="*/ 530910 h 2521493"/>
                <a:gd name="connsiteX181" fmla="*/ 2082847 w 2521502"/>
                <a:gd name="connsiteY181" fmla="*/ 444469 h 2521493"/>
                <a:gd name="connsiteX182" fmla="*/ 2078709 w 2521502"/>
                <a:gd name="connsiteY182" fmla="*/ 442741 h 2521493"/>
                <a:gd name="connsiteX183" fmla="*/ 2078762 w 2521502"/>
                <a:gd name="connsiteY183" fmla="*/ 434517 h 2521493"/>
                <a:gd name="connsiteX184" fmla="*/ 2078884 w 2521502"/>
                <a:gd name="connsiteY184" fmla="*/ 434395 h 2521493"/>
                <a:gd name="connsiteX185" fmla="*/ 2087107 w 2521502"/>
                <a:gd name="connsiteY185" fmla="*/ 434448 h 2521493"/>
                <a:gd name="connsiteX186" fmla="*/ 2087055 w 2521502"/>
                <a:gd name="connsiteY186" fmla="*/ 442671 h 2521493"/>
                <a:gd name="connsiteX187" fmla="*/ 2086932 w 2521502"/>
                <a:gd name="connsiteY187" fmla="*/ 442793 h 2521493"/>
                <a:gd name="connsiteX188" fmla="*/ 2082847 w 2521502"/>
                <a:gd name="connsiteY188" fmla="*/ 444469 h 2521493"/>
                <a:gd name="connsiteX189" fmla="*/ 2169392 w 2521502"/>
                <a:gd name="connsiteY189" fmla="*/ 357924 h 2521493"/>
                <a:gd name="connsiteX190" fmla="*/ 2165254 w 2521502"/>
                <a:gd name="connsiteY190" fmla="*/ 356195 h 2521493"/>
                <a:gd name="connsiteX191" fmla="*/ 2165307 w 2521502"/>
                <a:gd name="connsiteY191" fmla="*/ 347972 h 2521493"/>
                <a:gd name="connsiteX192" fmla="*/ 2165429 w 2521502"/>
                <a:gd name="connsiteY192" fmla="*/ 347850 h 2521493"/>
                <a:gd name="connsiteX193" fmla="*/ 2173652 w 2521502"/>
                <a:gd name="connsiteY193" fmla="*/ 347902 h 2521493"/>
                <a:gd name="connsiteX194" fmla="*/ 2173600 w 2521502"/>
                <a:gd name="connsiteY194" fmla="*/ 356125 h 2521493"/>
                <a:gd name="connsiteX195" fmla="*/ 2173478 w 2521502"/>
                <a:gd name="connsiteY195" fmla="*/ 356248 h 2521493"/>
                <a:gd name="connsiteX196" fmla="*/ 2169392 w 2521502"/>
                <a:gd name="connsiteY196" fmla="*/ 357924 h 2521493"/>
                <a:gd name="connsiteX197" fmla="*/ 2255956 w 2521502"/>
                <a:gd name="connsiteY197" fmla="*/ 271291 h 2521493"/>
                <a:gd name="connsiteX198" fmla="*/ 2251887 w 2521502"/>
                <a:gd name="connsiteY198" fmla="*/ 269632 h 2521493"/>
                <a:gd name="connsiteX199" fmla="*/ 2251800 w 2521502"/>
                <a:gd name="connsiteY199" fmla="*/ 261461 h 2521493"/>
                <a:gd name="connsiteX200" fmla="*/ 2251922 w 2521502"/>
                <a:gd name="connsiteY200" fmla="*/ 261339 h 2521493"/>
                <a:gd name="connsiteX201" fmla="*/ 2260146 w 2521502"/>
                <a:gd name="connsiteY201" fmla="*/ 261304 h 2521493"/>
                <a:gd name="connsiteX202" fmla="*/ 2260181 w 2521502"/>
                <a:gd name="connsiteY202" fmla="*/ 269527 h 2521493"/>
                <a:gd name="connsiteX203" fmla="*/ 2255956 w 2521502"/>
                <a:gd name="connsiteY203" fmla="*/ 271273 h 2521493"/>
                <a:gd name="connsiteX204" fmla="*/ 2342501 w 2521502"/>
                <a:gd name="connsiteY204" fmla="*/ 184745 h 2521493"/>
                <a:gd name="connsiteX205" fmla="*/ 2338434 w 2521502"/>
                <a:gd name="connsiteY205" fmla="*/ 183087 h 2521493"/>
                <a:gd name="connsiteX206" fmla="*/ 2338346 w 2521502"/>
                <a:gd name="connsiteY206" fmla="*/ 174916 h 2521493"/>
                <a:gd name="connsiteX207" fmla="*/ 2338469 w 2521502"/>
                <a:gd name="connsiteY207" fmla="*/ 174793 h 2521493"/>
                <a:gd name="connsiteX208" fmla="*/ 2346692 w 2521502"/>
                <a:gd name="connsiteY208" fmla="*/ 174758 h 2521493"/>
                <a:gd name="connsiteX209" fmla="*/ 2346727 w 2521502"/>
                <a:gd name="connsiteY209" fmla="*/ 182982 h 2521493"/>
                <a:gd name="connsiteX210" fmla="*/ 2342501 w 2521502"/>
                <a:gd name="connsiteY210" fmla="*/ 184728 h 2521493"/>
                <a:gd name="connsiteX211" fmla="*/ 2429012 w 2521502"/>
                <a:gd name="connsiteY211" fmla="*/ 98304 h 2521493"/>
                <a:gd name="connsiteX212" fmla="*/ 2424927 w 2521502"/>
                <a:gd name="connsiteY212" fmla="*/ 96628 h 2521493"/>
                <a:gd name="connsiteX213" fmla="*/ 2424874 w 2521502"/>
                <a:gd name="connsiteY213" fmla="*/ 88405 h 2521493"/>
                <a:gd name="connsiteX214" fmla="*/ 2424996 w 2521502"/>
                <a:gd name="connsiteY214" fmla="*/ 88283 h 2521493"/>
                <a:gd name="connsiteX215" fmla="*/ 2433220 w 2521502"/>
                <a:gd name="connsiteY215" fmla="*/ 88230 h 2521493"/>
                <a:gd name="connsiteX216" fmla="*/ 2433272 w 2521502"/>
                <a:gd name="connsiteY216" fmla="*/ 96454 h 2521493"/>
                <a:gd name="connsiteX217" fmla="*/ 2433150 w 2521502"/>
                <a:gd name="connsiteY217" fmla="*/ 96576 h 2521493"/>
                <a:gd name="connsiteX218" fmla="*/ 2429012 w 2521502"/>
                <a:gd name="connsiteY218" fmla="*/ 98304 h 2521493"/>
                <a:gd name="connsiteX219" fmla="*/ 2515592 w 2521502"/>
                <a:gd name="connsiteY219" fmla="*/ 11672 h 2521493"/>
                <a:gd name="connsiteX220" fmla="*/ 2511524 w 2521502"/>
                <a:gd name="connsiteY220" fmla="*/ 10013 h 2521493"/>
                <a:gd name="connsiteX221" fmla="*/ 2511437 w 2521502"/>
                <a:gd name="connsiteY221" fmla="*/ 1842 h 2521493"/>
                <a:gd name="connsiteX222" fmla="*/ 2511559 w 2521502"/>
                <a:gd name="connsiteY222" fmla="*/ 1720 h 2521493"/>
                <a:gd name="connsiteX223" fmla="*/ 2519782 w 2521502"/>
                <a:gd name="connsiteY223" fmla="*/ 1685 h 2521493"/>
                <a:gd name="connsiteX224" fmla="*/ 2519817 w 2521502"/>
                <a:gd name="connsiteY224" fmla="*/ 9908 h 2521493"/>
                <a:gd name="connsiteX225" fmla="*/ 2515592 w 2521502"/>
                <a:gd name="connsiteY225" fmla="*/ 11654 h 2521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2521502" h="2521493">
                  <a:moveTo>
                    <a:pt x="5822" y="2521494"/>
                  </a:moveTo>
                  <a:cubicBezTo>
                    <a:pt x="4339" y="2521494"/>
                    <a:pt x="2837" y="2520917"/>
                    <a:pt x="1702" y="2519783"/>
                  </a:cubicBezTo>
                  <a:cubicBezTo>
                    <a:pt x="-567" y="2517513"/>
                    <a:pt x="-567" y="2513829"/>
                    <a:pt x="1702" y="2511559"/>
                  </a:cubicBezTo>
                  <a:lnTo>
                    <a:pt x="1824" y="2511437"/>
                  </a:lnTo>
                  <a:cubicBezTo>
                    <a:pt x="4094" y="2509167"/>
                    <a:pt x="7778" y="2509167"/>
                    <a:pt x="10048" y="2511437"/>
                  </a:cubicBezTo>
                  <a:cubicBezTo>
                    <a:pt x="12317" y="2513707"/>
                    <a:pt x="12317" y="2517391"/>
                    <a:pt x="10048" y="2519660"/>
                  </a:cubicBezTo>
                  <a:lnTo>
                    <a:pt x="9926" y="2519783"/>
                  </a:lnTo>
                  <a:cubicBezTo>
                    <a:pt x="8791" y="2520917"/>
                    <a:pt x="7307" y="2521494"/>
                    <a:pt x="5805" y="2521494"/>
                  </a:cubicBezTo>
                  <a:close/>
                  <a:moveTo>
                    <a:pt x="92368" y="2434948"/>
                  </a:moveTo>
                  <a:cubicBezTo>
                    <a:pt x="90884" y="2434948"/>
                    <a:pt x="89383" y="2434372"/>
                    <a:pt x="88248" y="2433237"/>
                  </a:cubicBezTo>
                  <a:cubicBezTo>
                    <a:pt x="85978" y="2430967"/>
                    <a:pt x="85978" y="2427284"/>
                    <a:pt x="88248" y="2425014"/>
                  </a:cubicBezTo>
                  <a:lnTo>
                    <a:pt x="88370" y="2424891"/>
                  </a:lnTo>
                  <a:cubicBezTo>
                    <a:pt x="90640" y="2422622"/>
                    <a:pt x="94324" y="2422622"/>
                    <a:pt x="96593" y="2424891"/>
                  </a:cubicBezTo>
                  <a:cubicBezTo>
                    <a:pt x="98863" y="2427161"/>
                    <a:pt x="98863" y="2430845"/>
                    <a:pt x="96593" y="2433115"/>
                  </a:cubicBezTo>
                  <a:lnTo>
                    <a:pt x="96471" y="2433237"/>
                  </a:lnTo>
                  <a:cubicBezTo>
                    <a:pt x="95336" y="2434372"/>
                    <a:pt x="93852" y="2434948"/>
                    <a:pt x="92351" y="2434948"/>
                  </a:cubicBezTo>
                  <a:close/>
                  <a:moveTo>
                    <a:pt x="178949" y="2348315"/>
                  </a:moveTo>
                  <a:cubicBezTo>
                    <a:pt x="177465" y="2348315"/>
                    <a:pt x="175980" y="2347757"/>
                    <a:pt x="174863" y="2346639"/>
                  </a:cubicBezTo>
                  <a:cubicBezTo>
                    <a:pt x="172593" y="2344370"/>
                    <a:pt x="172524" y="2340738"/>
                    <a:pt x="174793" y="2338468"/>
                  </a:cubicBezTo>
                  <a:lnTo>
                    <a:pt x="174916" y="2338346"/>
                  </a:lnTo>
                  <a:cubicBezTo>
                    <a:pt x="177185" y="2336076"/>
                    <a:pt x="180869" y="2336076"/>
                    <a:pt x="183139" y="2338346"/>
                  </a:cubicBezTo>
                  <a:cubicBezTo>
                    <a:pt x="185409" y="2340616"/>
                    <a:pt x="185409" y="2344300"/>
                    <a:pt x="183139" y="2346569"/>
                  </a:cubicBezTo>
                  <a:cubicBezTo>
                    <a:pt x="181987" y="2347722"/>
                    <a:pt x="180450" y="2348298"/>
                    <a:pt x="178931" y="2348298"/>
                  </a:cubicBezTo>
                  <a:close/>
                  <a:moveTo>
                    <a:pt x="265477" y="2261770"/>
                  </a:moveTo>
                  <a:cubicBezTo>
                    <a:pt x="263993" y="2261770"/>
                    <a:pt x="262509" y="2261211"/>
                    <a:pt x="261391" y="2260094"/>
                  </a:cubicBezTo>
                  <a:cubicBezTo>
                    <a:pt x="259122" y="2257824"/>
                    <a:pt x="259052" y="2254192"/>
                    <a:pt x="261322" y="2251922"/>
                  </a:cubicBezTo>
                  <a:lnTo>
                    <a:pt x="261444" y="2251801"/>
                  </a:lnTo>
                  <a:cubicBezTo>
                    <a:pt x="263713" y="2249531"/>
                    <a:pt x="267397" y="2249531"/>
                    <a:pt x="269667" y="2251801"/>
                  </a:cubicBezTo>
                  <a:cubicBezTo>
                    <a:pt x="271937" y="2254070"/>
                    <a:pt x="271937" y="2257754"/>
                    <a:pt x="269667" y="2260024"/>
                  </a:cubicBezTo>
                  <a:cubicBezTo>
                    <a:pt x="268515" y="2261176"/>
                    <a:pt x="266978" y="2261752"/>
                    <a:pt x="265459" y="2261752"/>
                  </a:cubicBezTo>
                  <a:close/>
                  <a:moveTo>
                    <a:pt x="352022" y="2175224"/>
                  </a:moveTo>
                  <a:cubicBezTo>
                    <a:pt x="350539" y="2175224"/>
                    <a:pt x="349054" y="2174665"/>
                    <a:pt x="347937" y="2173548"/>
                  </a:cubicBezTo>
                  <a:cubicBezTo>
                    <a:pt x="345667" y="2171278"/>
                    <a:pt x="345597" y="2167647"/>
                    <a:pt x="347867" y="2165377"/>
                  </a:cubicBezTo>
                  <a:lnTo>
                    <a:pt x="347989" y="2165255"/>
                  </a:lnTo>
                  <a:cubicBezTo>
                    <a:pt x="350259" y="2162985"/>
                    <a:pt x="353943" y="2162985"/>
                    <a:pt x="356213" y="2165255"/>
                  </a:cubicBezTo>
                  <a:cubicBezTo>
                    <a:pt x="358482" y="2167525"/>
                    <a:pt x="358482" y="2171208"/>
                    <a:pt x="356213" y="2173478"/>
                  </a:cubicBezTo>
                  <a:cubicBezTo>
                    <a:pt x="355060" y="2174630"/>
                    <a:pt x="353524" y="2175206"/>
                    <a:pt x="352005" y="2175206"/>
                  </a:cubicBezTo>
                  <a:close/>
                  <a:moveTo>
                    <a:pt x="438533" y="2088766"/>
                  </a:moveTo>
                  <a:cubicBezTo>
                    <a:pt x="437049" y="2088766"/>
                    <a:pt x="435548" y="2088189"/>
                    <a:pt x="434413" y="2087055"/>
                  </a:cubicBezTo>
                  <a:cubicBezTo>
                    <a:pt x="432143" y="2084785"/>
                    <a:pt x="432143" y="2081101"/>
                    <a:pt x="434413" y="2078831"/>
                  </a:cubicBezTo>
                  <a:lnTo>
                    <a:pt x="434535" y="2078709"/>
                  </a:lnTo>
                  <a:cubicBezTo>
                    <a:pt x="436805" y="2076439"/>
                    <a:pt x="440488" y="2076439"/>
                    <a:pt x="442758" y="2078709"/>
                  </a:cubicBezTo>
                  <a:cubicBezTo>
                    <a:pt x="445028" y="2080979"/>
                    <a:pt x="445028" y="2084663"/>
                    <a:pt x="442758" y="2086932"/>
                  </a:cubicBezTo>
                  <a:lnTo>
                    <a:pt x="442636" y="2087055"/>
                  </a:lnTo>
                  <a:cubicBezTo>
                    <a:pt x="441501" y="2088189"/>
                    <a:pt x="440017" y="2088766"/>
                    <a:pt x="438516" y="2088766"/>
                  </a:cubicBezTo>
                  <a:close/>
                  <a:moveTo>
                    <a:pt x="525079" y="2002237"/>
                  </a:moveTo>
                  <a:cubicBezTo>
                    <a:pt x="523595" y="2002237"/>
                    <a:pt x="522093" y="2001661"/>
                    <a:pt x="520958" y="2000526"/>
                  </a:cubicBezTo>
                  <a:cubicBezTo>
                    <a:pt x="518688" y="1998257"/>
                    <a:pt x="518688" y="1994573"/>
                    <a:pt x="520958" y="1992303"/>
                  </a:cubicBezTo>
                  <a:lnTo>
                    <a:pt x="521081" y="1992181"/>
                  </a:lnTo>
                  <a:cubicBezTo>
                    <a:pt x="523350" y="1989911"/>
                    <a:pt x="527034" y="1989911"/>
                    <a:pt x="529304" y="1992181"/>
                  </a:cubicBezTo>
                  <a:cubicBezTo>
                    <a:pt x="531574" y="1994451"/>
                    <a:pt x="531574" y="1998135"/>
                    <a:pt x="529304" y="2000404"/>
                  </a:cubicBezTo>
                  <a:lnTo>
                    <a:pt x="529182" y="2000526"/>
                  </a:lnTo>
                  <a:cubicBezTo>
                    <a:pt x="528047" y="2001661"/>
                    <a:pt x="526563" y="2002237"/>
                    <a:pt x="525061" y="2002237"/>
                  </a:cubicBezTo>
                  <a:close/>
                  <a:moveTo>
                    <a:pt x="611624" y="1915692"/>
                  </a:moveTo>
                  <a:cubicBezTo>
                    <a:pt x="610140" y="1915692"/>
                    <a:pt x="608674" y="1915133"/>
                    <a:pt x="607539" y="1914016"/>
                  </a:cubicBezTo>
                  <a:cubicBezTo>
                    <a:pt x="605252" y="1911764"/>
                    <a:pt x="605217" y="1908080"/>
                    <a:pt x="607487" y="1905792"/>
                  </a:cubicBezTo>
                  <a:lnTo>
                    <a:pt x="607609" y="1905670"/>
                  </a:lnTo>
                  <a:cubicBezTo>
                    <a:pt x="609861" y="1903383"/>
                    <a:pt x="613545" y="1903348"/>
                    <a:pt x="615832" y="1905618"/>
                  </a:cubicBezTo>
                  <a:cubicBezTo>
                    <a:pt x="618119" y="1907870"/>
                    <a:pt x="618154" y="1911554"/>
                    <a:pt x="615885" y="1913841"/>
                  </a:cubicBezTo>
                  <a:lnTo>
                    <a:pt x="615762" y="1913964"/>
                  </a:lnTo>
                  <a:cubicBezTo>
                    <a:pt x="614628" y="1915116"/>
                    <a:pt x="613126" y="1915692"/>
                    <a:pt x="611624" y="1915692"/>
                  </a:cubicBezTo>
                  <a:close/>
                  <a:moveTo>
                    <a:pt x="698205" y="1829059"/>
                  </a:moveTo>
                  <a:cubicBezTo>
                    <a:pt x="696721" y="1829059"/>
                    <a:pt x="695237" y="1828500"/>
                    <a:pt x="694119" y="1827383"/>
                  </a:cubicBezTo>
                  <a:cubicBezTo>
                    <a:pt x="691850" y="1825113"/>
                    <a:pt x="691780" y="1821482"/>
                    <a:pt x="694050" y="1819212"/>
                  </a:cubicBezTo>
                  <a:lnTo>
                    <a:pt x="694172" y="1819090"/>
                  </a:lnTo>
                  <a:cubicBezTo>
                    <a:pt x="696441" y="1816820"/>
                    <a:pt x="700125" y="1816820"/>
                    <a:pt x="702395" y="1819090"/>
                  </a:cubicBezTo>
                  <a:cubicBezTo>
                    <a:pt x="704665" y="1821360"/>
                    <a:pt x="704665" y="1825043"/>
                    <a:pt x="702395" y="1827313"/>
                  </a:cubicBezTo>
                  <a:cubicBezTo>
                    <a:pt x="701243" y="1828465"/>
                    <a:pt x="699706" y="1829042"/>
                    <a:pt x="698187" y="1829042"/>
                  </a:cubicBezTo>
                  <a:close/>
                  <a:moveTo>
                    <a:pt x="784733" y="1742513"/>
                  </a:moveTo>
                  <a:cubicBezTo>
                    <a:pt x="783249" y="1742513"/>
                    <a:pt x="781765" y="1741955"/>
                    <a:pt x="780647" y="1740837"/>
                  </a:cubicBezTo>
                  <a:cubicBezTo>
                    <a:pt x="778378" y="1738567"/>
                    <a:pt x="778308" y="1734936"/>
                    <a:pt x="780578" y="1732666"/>
                  </a:cubicBezTo>
                  <a:lnTo>
                    <a:pt x="780700" y="1732544"/>
                  </a:lnTo>
                  <a:cubicBezTo>
                    <a:pt x="782970" y="1730274"/>
                    <a:pt x="786653" y="1730274"/>
                    <a:pt x="788923" y="1732544"/>
                  </a:cubicBezTo>
                  <a:cubicBezTo>
                    <a:pt x="791193" y="1734814"/>
                    <a:pt x="791193" y="1738498"/>
                    <a:pt x="788923" y="1740767"/>
                  </a:cubicBezTo>
                  <a:cubicBezTo>
                    <a:pt x="787771" y="1741920"/>
                    <a:pt x="786234" y="1742496"/>
                    <a:pt x="784716" y="1742496"/>
                  </a:cubicBezTo>
                  <a:close/>
                  <a:moveTo>
                    <a:pt x="871244" y="1656055"/>
                  </a:moveTo>
                  <a:cubicBezTo>
                    <a:pt x="869760" y="1656055"/>
                    <a:pt x="868258" y="1655479"/>
                    <a:pt x="867123" y="1654344"/>
                  </a:cubicBezTo>
                  <a:cubicBezTo>
                    <a:pt x="864853" y="1652075"/>
                    <a:pt x="864853" y="1648391"/>
                    <a:pt x="867123" y="1646121"/>
                  </a:cubicBezTo>
                  <a:lnTo>
                    <a:pt x="867246" y="1645999"/>
                  </a:lnTo>
                  <a:cubicBezTo>
                    <a:pt x="869515" y="1643729"/>
                    <a:pt x="873199" y="1643729"/>
                    <a:pt x="875469" y="1645999"/>
                  </a:cubicBezTo>
                  <a:cubicBezTo>
                    <a:pt x="877739" y="1648268"/>
                    <a:pt x="877739" y="1651952"/>
                    <a:pt x="875469" y="1654222"/>
                  </a:cubicBezTo>
                  <a:lnTo>
                    <a:pt x="875346" y="1654344"/>
                  </a:lnTo>
                  <a:cubicBezTo>
                    <a:pt x="874212" y="1655479"/>
                    <a:pt x="872728" y="1656055"/>
                    <a:pt x="871226" y="1656055"/>
                  </a:cubicBezTo>
                  <a:close/>
                  <a:moveTo>
                    <a:pt x="957789" y="1569527"/>
                  </a:moveTo>
                  <a:cubicBezTo>
                    <a:pt x="956305" y="1569527"/>
                    <a:pt x="954804" y="1568951"/>
                    <a:pt x="953669" y="1567816"/>
                  </a:cubicBezTo>
                  <a:cubicBezTo>
                    <a:pt x="951399" y="1565546"/>
                    <a:pt x="951399" y="1561862"/>
                    <a:pt x="953669" y="1559593"/>
                  </a:cubicBezTo>
                  <a:lnTo>
                    <a:pt x="953791" y="1559471"/>
                  </a:lnTo>
                  <a:cubicBezTo>
                    <a:pt x="956061" y="1557201"/>
                    <a:pt x="959745" y="1557201"/>
                    <a:pt x="962014" y="1559471"/>
                  </a:cubicBezTo>
                  <a:cubicBezTo>
                    <a:pt x="964284" y="1561740"/>
                    <a:pt x="964284" y="1565424"/>
                    <a:pt x="962014" y="1567694"/>
                  </a:cubicBezTo>
                  <a:lnTo>
                    <a:pt x="961892" y="1567816"/>
                  </a:lnTo>
                  <a:cubicBezTo>
                    <a:pt x="960757" y="1568951"/>
                    <a:pt x="959273" y="1569527"/>
                    <a:pt x="957772" y="1569527"/>
                  </a:cubicBezTo>
                  <a:close/>
                  <a:moveTo>
                    <a:pt x="1044370" y="1482877"/>
                  </a:moveTo>
                  <a:cubicBezTo>
                    <a:pt x="1042886" y="1482877"/>
                    <a:pt x="1041402" y="1482318"/>
                    <a:pt x="1040284" y="1481201"/>
                  </a:cubicBezTo>
                  <a:cubicBezTo>
                    <a:pt x="1038015" y="1478931"/>
                    <a:pt x="1037945" y="1475300"/>
                    <a:pt x="1040214" y="1473030"/>
                  </a:cubicBezTo>
                  <a:lnTo>
                    <a:pt x="1040337" y="1472907"/>
                  </a:lnTo>
                  <a:cubicBezTo>
                    <a:pt x="1042606" y="1470638"/>
                    <a:pt x="1046290" y="1470638"/>
                    <a:pt x="1048560" y="1472907"/>
                  </a:cubicBezTo>
                  <a:cubicBezTo>
                    <a:pt x="1050830" y="1475177"/>
                    <a:pt x="1050830" y="1478861"/>
                    <a:pt x="1048560" y="1481131"/>
                  </a:cubicBezTo>
                  <a:cubicBezTo>
                    <a:pt x="1047408" y="1482283"/>
                    <a:pt x="1045871" y="1482859"/>
                    <a:pt x="1044352" y="1482859"/>
                  </a:cubicBezTo>
                  <a:close/>
                  <a:moveTo>
                    <a:pt x="1130915" y="1396348"/>
                  </a:moveTo>
                  <a:cubicBezTo>
                    <a:pt x="1129431" y="1396348"/>
                    <a:pt x="1127947" y="1395790"/>
                    <a:pt x="1126830" y="1394672"/>
                  </a:cubicBezTo>
                  <a:cubicBezTo>
                    <a:pt x="1124560" y="1392403"/>
                    <a:pt x="1124490" y="1388771"/>
                    <a:pt x="1126760" y="1386502"/>
                  </a:cubicBezTo>
                  <a:lnTo>
                    <a:pt x="1126882" y="1386379"/>
                  </a:lnTo>
                  <a:cubicBezTo>
                    <a:pt x="1129152" y="1384110"/>
                    <a:pt x="1132836" y="1384110"/>
                    <a:pt x="1135106" y="1386379"/>
                  </a:cubicBezTo>
                  <a:cubicBezTo>
                    <a:pt x="1137375" y="1388649"/>
                    <a:pt x="1137375" y="1392333"/>
                    <a:pt x="1135106" y="1394602"/>
                  </a:cubicBezTo>
                  <a:cubicBezTo>
                    <a:pt x="1133953" y="1395755"/>
                    <a:pt x="1132417" y="1396331"/>
                    <a:pt x="1130898" y="1396331"/>
                  </a:cubicBezTo>
                  <a:close/>
                  <a:moveTo>
                    <a:pt x="1217426" y="1309890"/>
                  </a:moveTo>
                  <a:cubicBezTo>
                    <a:pt x="1215925" y="1309890"/>
                    <a:pt x="1214423" y="1309314"/>
                    <a:pt x="1213288" y="1308162"/>
                  </a:cubicBezTo>
                  <a:cubicBezTo>
                    <a:pt x="1211036" y="1305875"/>
                    <a:pt x="1211053" y="1302191"/>
                    <a:pt x="1213341" y="1299938"/>
                  </a:cubicBezTo>
                  <a:lnTo>
                    <a:pt x="1213463" y="1299816"/>
                  </a:lnTo>
                  <a:cubicBezTo>
                    <a:pt x="1215750" y="1297564"/>
                    <a:pt x="1219434" y="1297582"/>
                    <a:pt x="1221686" y="1299869"/>
                  </a:cubicBezTo>
                  <a:cubicBezTo>
                    <a:pt x="1223938" y="1302156"/>
                    <a:pt x="1223921" y="1305840"/>
                    <a:pt x="1221634" y="1308092"/>
                  </a:cubicBezTo>
                  <a:lnTo>
                    <a:pt x="1221511" y="1308214"/>
                  </a:lnTo>
                  <a:cubicBezTo>
                    <a:pt x="1220377" y="1309332"/>
                    <a:pt x="1218893" y="1309890"/>
                    <a:pt x="1217426" y="1309890"/>
                  </a:cubicBezTo>
                  <a:close/>
                  <a:moveTo>
                    <a:pt x="1303954" y="1223345"/>
                  </a:moveTo>
                  <a:cubicBezTo>
                    <a:pt x="1302453" y="1223345"/>
                    <a:pt x="1300951" y="1222768"/>
                    <a:pt x="1299816" y="1221616"/>
                  </a:cubicBezTo>
                  <a:cubicBezTo>
                    <a:pt x="1297564" y="1219329"/>
                    <a:pt x="1297582" y="1215645"/>
                    <a:pt x="1299869" y="1213393"/>
                  </a:cubicBezTo>
                  <a:lnTo>
                    <a:pt x="1299991" y="1213271"/>
                  </a:lnTo>
                  <a:cubicBezTo>
                    <a:pt x="1302278" y="1211018"/>
                    <a:pt x="1305962" y="1211036"/>
                    <a:pt x="1308214" y="1213323"/>
                  </a:cubicBezTo>
                  <a:cubicBezTo>
                    <a:pt x="1310466" y="1215610"/>
                    <a:pt x="1310449" y="1219294"/>
                    <a:pt x="1308162" y="1221546"/>
                  </a:cubicBezTo>
                  <a:lnTo>
                    <a:pt x="1308040" y="1221669"/>
                  </a:lnTo>
                  <a:cubicBezTo>
                    <a:pt x="1306905" y="1222786"/>
                    <a:pt x="1305421" y="1223345"/>
                    <a:pt x="1303954" y="1223345"/>
                  </a:cubicBezTo>
                  <a:close/>
                  <a:moveTo>
                    <a:pt x="1390500" y="1136799"/>
                  </a:moveTo>
                  <a:cubicBezTo>
                    <a:pt x="1389016" y="1136799"/>
                    <a:pt x="1387549" y="1136240"/>
                    <a:pt x="1386414" y="1135123"/>
                  </a:cubicBezTo>
                  <a:cubicBezTo>
                    <a:pt x="1384127" y="1132871"/>
                    <a:pt x="1384092" y="1129187"/>
                    <a:pt x="1386362" y="1126900"/>
                  </a:cubicBezTo>
                  <a:lnTo>
                    <a:pt x="1386484" y="1126777"/>
                  </a:lnTo>
                  <a:cubicBezTo>
                    <a:pt x="1388736" y="1124490"/>
                    <a:pt x="1392420" y="1124473"/>
                    <a:pt x="1394707" y="1126725"/>
                  </a:cubicBezTo>
                  <a:cubicBezTo>
                    <a:pt x="1396995" y="1128977"/>
                    <a:pt x="1397029" y="1132661"/>
                    <a:pt x="1394760" y="1134948"/>
                  </a:cubicBezTo>
                  <a:lnTo>
                    <a:pt x="1394637" y="1135071"/>
                  </a:lnTo>
                  <a:cubicBezTo>
                    <a:pt x="1393503" y="1136223"/>
                    <a:pt x="1392001" y="1136799"/>
                    <a:pt x="1390500" y="1136799"/>
                  </a:cubicBezTo>
                  <a:close/>
                  <a:moveTo>
                    <a:pt x="1477045" y="1050271"/>
                  </a:moveTo>
                  <a:cubicBezTo>
                    <a:pt x="1475561" y="1050271"/>
                    <a:pt x="1474094" y="1049712"/>
                    <a:pt x="1472960" y="1048595"/>
                  </a:cubicBezTo>
                  <a:cubicBezTo>
                    <a:pt x="1470673" y="1046342"/>
                    <a:pt x="1470638" y="1042659"/>
                    <a:pt x="1472907" y="1040372"/>
                  </a:cubicBezTo>
                  <a:lnTo>
                    <a:pt x="1473030" y="1040249"/>
                  </a:lnTo>
                  <a:cubicBezTo>
                    <a:pt x="1475282" y="1037962"/>
                    <a:pt x="1478966" y="1037945"/>
                    <a:pt x="1481253" y="1040197"/>
                  </a:cubicBezTo>
                  <a:cubicBezTo>
                    <a:pt x="1483540" y="1042449"/>
                    <a:pt x="1483575" y="1046133"/>
                    <a:pt x="1481305" y="1048420"/>
                  </a:cubicBezTo>
                  <a:lnTo>
                    <a:pt x="1481183" y="1048542"/>
                  </a:lnTo>
                  <a:cubicBezTo>
                    <a:pt x="1480048" y="1049695"/>
                    <a:pt x="1478547" y="1050271"/>
                    <a:pt x="1477045" y="1050271"/>
                  </a:cubicBezTo>
                  <a:close/>
                  <a:moveTo>
                    <a:pt x="1563626" y="963638"/>
                  </a:moveTo>
                  <a:cubicBezTo>
                    <a:pt x="1562142" y="963638"/>
                    <a:pt x="1560658" y="963079"/>
                    <a:pt x="1559540" y="961962"/>
                  </a:cubicBezTo>
                  <a:cubicBezTo>
                    <a:pt x="1557271" y="959692"/>
                    <a:pt x="1557201" y="956061"/>
                    <a:pt x="1559488" y="953791"/>
                  </a:cubicBezTo>
                  <a:lnTo>
                    <a:pt x="1559610" y="953669"/>
                  </a:lnTo>
                  <a:cubicBezTo>
                    <a:pt x="1561880" y="951399"/>
                    <a:pt x="1565564" y="951399"/>
                    <a:pt x="1567834" y="953669"/>
                  </a:cubicBezTo>
                  <a:cubicBezTo>
                    <a:pt x="1570103" y="955938"/>
                    <a:pt x="1570103" y="959622"/>
                    <a:pt x="1567834" y="961892"/>
                  </a:cubicBezTo>
                  <a:cubicBezTo>
                    <a:pt x="1566681" y="963044"/>
                    <a:pt x="1565145" y="963621"/>
                    <a:pt x="1563626" y="963621"/>
                  </a:cubicBezTo>
                  <a:close/>
                  <a:moveTo>
                    <a:pt x="1650171" y="877092"/>
                  </a:moveTo>
                  <a:cubicBezTo>
                    <a:pt x="1648687" y="877092"/>
                    <a:pt x="1647203" y="876534"/>
                    <a:pt x="1646086" y="875416"/>
                  </a:cubicBezTo>
                  <a:cubicBezTo>
                    <a:pt x="1643816" y="873147"/>
                    <a:pt x="1643746" y="869515"/>
                    <a:pt x="1646016" y="867245"/>
                  </a:cubicBezTo>
                  <a:lnTo>
                    <a:pt x="1646138" y="867123"/>
                  </a:lnTo>
                  <a:cubicBezTo>
                    <a:pt x="1648408" y="864853"/>
                    <a:pt x="1652092" y="864853"/>
                    <a:pt x="1654361" y="867123"/>
                  </a:cubicBezTo>
                  <a:cubicBezTo>
                    <a:pt x="1656631" y="869393"/>
                    <a:pt x="1656631" y="873077"/>
                    <a:pt x="1654361" y="875347"/>
                  </a:cubicBezTo>
                  <a:cubicBezTo>
                    <a:pt x="1653209" y="876499"/>
                    <a:pt x="1651673" y="877075"/>
                    <a:pt x="1650154" y="877075"/>
                  </a:cubicBezTo>
                  <a:close/>
                  <a:moveTo>
                    <a:pt x="1736682" y="790634"/>
                  </a:moveTo>
                  <a:cubicBezTo>
                    <a:pt x="1735180" y="790634"/>
                    <a:pt x="1733679" y="790058"/>
                    <a:pt x="1732544" y="788906"/>
                  </a:cubicBezTo>
                  <a:cubicBezTo>
                    <a:pt x="1730292" y="786619"/>
                    <a:pt x="1730309" y="782935"/>
                    <a:pt x="1732597" y="780682"/>
                  </a:cubicBezTo>
                  <a:lnTo>
                    <a:pt x="1732719" y="780560"/>
                  </a:lnTo>
                  <a:cubicBezTo>
                    <a:pt x="1735006" y="778308"/>
                    <a:pt x="1738690" y="778325"/>
                    <a:pt x="1740942" y="780613"/>
                  </a:cubicBezTo>
                  <a:cubicBezTo>
                    <a:pt x="1743194" y="782900"/>
                    <a:pt x="1743177" y="786584"/>
                    <a:pt x="1740890" y="788836"/>
                  </a:cubicBezTo>
                  <a:lnTo>
                    <a:pt x="1740767" y="788958"/>
                  </a:lnTo>
                  <a:cubicBezTo>
                    <a:pt x="1739633" y="790076"/>
                    <a:pt x="1738148" y="790634"/>
                    <a:pt x="1736682" y="790634"/>
                  </a:cubicBezTo>
                  <a:close/>
                  <a:moveTo>
                    <a:pt x="1823210" y="704089"/>
                  </a:moveTo>
                  <a:cubicBezTo>
                    <a:pt x="1821726" y="704089"/>
                    <a:pt x="1820224" y="703513"/>
                    <a:pt x="1819090" y="702378"/>
                  </a:cubicBezTo>
                  <a:cubicBezTo>
                    <a:pt x="1816820" y="700108"/>
                    <a:pt x="1816820" y="696424"/>
                    <a:pt x="1819090" y="694154"/>
                  </a:cubicBezTo>
                  <a:lnTo>
                    <a:pt x="1819212" y="694032"/>
                  </a:lnTo>
                  <a:cubicBezTo>
                    <a:pt x="1821482" y="691762"/>
                    <a:pt x="1825166" y="691762"/>
                    <a:pt x="1827435" y="694032"/>
                  </a:cubicBezTo>
                  <a:cubicBezTo>
                    <a:pt x="1829705" y="696302"/>
                    <a:pt x="1829705" y="699986"/>
                    <a:pt x="1827435" y="702255"/>
                  </a:cubicBezTo>
                  <a:lnTo>
                    <a:pt x="1827313" y="702378"/>
                  </a:lnTo>
                  <a:cubicBezTo>
                    <a:pt x="1826178" y="703513"/>
                    <a:pt x="1824694" y="704089"/>
                    <a:pt x="1823193" y="704089"/>
                  </a:cubicBezTo>
                  <a:close/>
                  <a:moveTo>
                    <a:pt x="1909791" y="617456"/>
                  </a:moveTo>
                  <a:cubicBezTo>
                    <a:pt x="1908307" y="617456"/>
                    <a:pt x="1906840" y="616914"/>
                    <a:pt x="1905723" y="615797"/>
                  </a:cubicBezTo>
                  <a:cubicBezTo>
                    <a:pt x="1903436" y="613527"/>
                    <a:pt x="1903366" y="609913"/>
                    <a:pt x="1905635" y="607626"/>
                  </a:cubicBezTo>
                  <a:lnTo>
                    <a:pt x="1905757" y="607504"/>
                  </a:lnTo>
                  <a:cubicBezTo>
                    <a:pt x="1908027" y="605217"/>
                    <a:pt x="1911711" y="605217"/>
                    <a:pt x="1913981" y="607469"/>
                  </a:cubicBezTo>
                  <a:cubicBezTo>
                    <a:pt x="1916268" y="609739"/>
                    <a:pt x="1916268" y="613423"/>
                    <a:pt x="1914016" y="615692"/>
                  </a:cubicBezTo>
                  <a:cubicBezTo>
                    <a:pt x="1912863" y="616862"/>
                    <a:pt x="1911327" y="617438"/>
                    <a:pt x="1909791" y="617438"/>
                  </a:cubicBezTo>
                  <a:close/>
                  <a:moveTo>
                    <a:pt x="1996336" y="530928"/>
                  </a:moveTo>
                  <a:cubicBezTo>
                    <a:pt x="1994853" y="530928"/>
                    <a:pt x="1993385" y="530386"/>
                    <a:pt x="1992269" y="529269"/>
                  </a:cubicBezTo>
                  <a:cubicBezTo>
                    <a:pt x="1989981" y="526999"/>
                    <a:pt x="1989911" y="523385"/>
                    <a:pt x="1992181" y="521098"/>
                  </a:cubicBezTo>
                  <a:lnTo>
                    <a:pt x="1992304" y="520976"/>
                  </a:lnTo>
                  <a:cubicBezTo>
                    <a:pt x="1994573" y="518689"/>
                    <a:pt x="1998257" y="518689"/>
                    <a:pt x="2000527" y="520941"/>
                  </a:cubicBezTo>
                  <a:cubicBezTo>
                    <a:pt x="2002814" y="523211"/>
                    <a:pt x="2002814" y="526895"/>
                    <a:pt x="2000562" y="529164"/>
                  </a:cubicBezTo>
                  <a:cubicBezTo>
                    <a:pt x="1999409" y="530316"/>
                    <a:pt x="1997873" y="530910"/>
                    <a:pt x="1996336" y="530910"/>
                  </a:cubicBezTo>
                  <a:close/>
                  <a:moveTo>
                    <a:pt x="2082847" y="444469"/>
                  </a:moveTo>
                  <a:cubicBezTo>
                    <a:pt x="2081346" y="444469"/>
                    <a:pt x="2079844" y="443893"/>
                    <a:pt x="2078709" y="442741"/>
                  </a:cubicBezTo>
                  <a:cubicBezTo>
                    <a:pt x="2076457" y="440454"/>
                    <a:pt x="2076475" y="436770"/>
                    <a:pt x="2078762" y="434517"/>
                  </a:cubicBezTo>
                  <a:lnTo>
                    <a:pt x="2078884" y="434395"/>
                  </a:lnTo>
                  <a:cubicBezTo>
                    <a:pt x="2081171" y="432143"/>
                    <a:pt x="2084855" y="432161"/>
                    <a:pt x="2087107" y="434448"/>
                  </a:cubicBezTo>
                  <a:cubicBezTo>
                    <a:pt x="2089359" y="436735"/>
                    <a:pt x="2089341" y="440419"/>
                    <a:pt x="2087055" y="442671"/>
                  </a:cubicBezTo>
                  <a:lnTo>
                    <a:pt x="2086932" y="442793"/>
                  </a:lnTo>
                  <a:cubicBezTo>
                    <a:pt x="2085798" y="443911"/>
                    <a:pt x="2084313" y="444469"/>
                    <a:pt x="2082847" y="444469"/>
                  </a:cubicBezTo>
                  <a:close/>
                  <a:moveTo>
                    <a:pt x="2169392" y="357924"/>
                  </a:moveTo>
                  <a:cubicBezTo>
                    <a:pt x="2167891" y="357924"/>
                    <a:pt x="2166390" y="357348"/>
                    <a:pt x="2165254" y="356195"/>
                  </a:cubicBezTo>
                  <a:cubicBezTo>
                    <a:pt x="2163003" y="353908"/>
                    <a:pt x="2163020" y="350224"/>
                    <a:pt x="2165307" y="347972"/>
                  </a:cubicBezTo>
                  <a:lnTo>
                    <a:pt x="2165429" y="347850"/>
                  </a:lnTo>
                  <a:cubicBezTo>
                    <a:pt x="2167716" y="345598"/>
                    <a:pt x="2171400" y="345615"/>
                    <a:pt x="2173652" y="347902"/>
                  </a:cubicBezTo>
                  <a:cubicBezTo>
                    <a:pt x="2175905" y="350189"/>
                    <a:pt x="2175888" y="353873"/>
                    <a:pt x="2173600" y="356125"/>
                  </a:cubicBezTo>
                  <a:lnTo>
                    <a:pt x="2173478" y="356248"/>
                  </a:lnTo>
                  <a:cubicBezTo>
                    <a:pt x="2172343" y="357365"/>
                    <a:pt x="2170860" y="357924"/>
                    <a:pt x="2169392" y="357924"/>
                  </a:cubicBezTo>
                  <a:close/>
                  <a:moveTo>
                    <a:pt x="2255956" y="271291"/>
                  </a:moveTo>
                  <a:cubicBezTo>
                    <a:pt x="2254471" y="271291"/>
                    <a:pt x="2253005" y="270750"/>
                    <a:pt x="2251887" y="269632"/>
                  </a:cubicBezTo>
                  <a:cubicBezTo>
                    <a:pt x="2249600" y="267362"/>
                    <a:pt x="2249530" y="263749"/>
                    <a:pt x="2251800" y="261461"/>
                  </a:cubicBezTo>
                  <a:lnTo>
                    <a:pt x="2251922" y="261339"/>
                  </a:lnTo>
                  <a:cubicBezTo>
                    <a:pt x="2254193" y="259052"/>
                    <a:pt x="2257876" y="259052"/>
                    <a:pt x="2260146" y="261304"/>
                  </a:cubicBezTo>
                  <a:cubicBezTo>
                    <a:pt x="2262433" y="263574"/>
                    <a:pt x="2262433" y="267258"/>
                    <a:pt x="2260181" y="269527"/>
                  </a:cubicBezTo>
                  <a:cubicBezTo>
                    <a:pt x="2259029" y="270680"/>
                    <a:pt x="2257492" y="271273"/>
                    <a:pt x="2255956" y="271273"/>
                  </a:cubicBezTo>
                  <a:close/>
                  <a:moveTo>
                    <a:pt x="2342501" y="184745"/>
                  </a:moveTo>
                  <a:cubicBezTo>
                    <a:pt x="2341018" y="184745"/>
                    <a:pt x="2339550" y="184204"/>
                    <a:pt x="2338434" y="183087"/>
                  </a:cubicBezTo>
                  <a:cubicBezTo>
                    <a:pt x="2336146" y="180817"/>
                    <a:pt x="2336076" y="177203"/>
                    <a:pt x="2338346" y="174916"/>
                  </a:cubicBezTo>
                  <a:lnTo>
                    <a:pt x="2338469" y="174793"/>
                  </a:lnTo>
                  <a:cubicBezTo>
                    <a:pt x="2340738" y="172506"/>
                    <a:pt x="2344422" y="172506"/>
                    <a:pt x="2346692" y="174758"/>
                  </a:cubicBezTo>
                  <a:cubicBezTo>
                    <a:pt x="2348979" y="177028"/>
                    <a:pt x="2348979" y="180712"/>
                    <a:pt x="2346727" y="182982"/>
                  </a:cubicBezTo>
                  <a:cubicBezTo>
                    <a:pt x="2345574" y="184134"/>
                    <a:pt x="2344038" y="184728"/>
                    <a:pt x="2342501" y="184728"/>
                  </a:cubicBezTo>
                  <a:close/>
                  <a:moveTo>
                    <a:pt x="2429012" y="98304"/>
                  </a:moveTo>
                  <a:cubicBezTo>
                    <a:pt x="2427528" y="98304"/>
                    <a:pt x="2426062" y="97746"/>
                    <a:pt x="2424927" y="96628"/>
                  </a:cubicBezTo>
                  <a:cubicBezTo>
                    <a:pt x="2422640" y="94376"/>
                    <a:pt x="2422605" y="90692"/>
                    <a:pt x="2424874" y="88405"/>
                  </a:cubicBezTo>
                  <a:lnTo>
                    <a:pt x="2424996" y="88283"/>
                  </a:lnTo>
                  <a:cubicBezTo>
                    <a:pt x="2427248" y="85996"/>
                    <a:pt x="2430933" y="85978"/>
                    <a:pt x="2433220" y="88230"/>
                  </a:cubicBezTo>
                  <a:cubicBezTo>
                    <a:pt x="2435506" y="90483"/>
                    <a:pt x="2435541" y="94167"/>
                    <a:pt x="2433272" y="96454"/>
                  </a:cubicBezTo>
                  <a:lnTo>
                    <a:pt x="2433150" y="96576"/>
                  </a:lnTo>
                  <a:cubicBezTo>
                    <a:pt x="2432015" y="97728"/>
                    <a:pt x="2430513" y="98304"/>
                    <a:pt x="2429012" y="98304"/>
                  </a:cubicBezTo>
                  <a:close/>
                  <a:moveTo>
                    <a:pt x="2515592" y="11672"/>
                  </a:moveTo>
                  <a:cubicBezTo>
                    <a:pt x="2514108" y="11672"/>
                    <a:pt x="2512642" y="11130"/>
                    <a:pt x="2511524" y="10013"/>
                  </a:cubicBezTo>
                  <a:cubicBezTo>
                    <a:pt x="2509237" y="7743"/>
                    <a:pt x="2509168" y="4129"/>
                    <a:pt x="2511437" y="1842"/>
                  </a:cubicBezTo>
                  <a:lnTo>
                    <a:pt x="2511559" y="1720"/>
                  </a:lnTo>
                  <a:cubicBezTo>
                    <a:pt x="2513829" y="-567"/>
                    <a:pt x="2517513" y="-567"/>
                    <a:pt x="2519782" y="1685"/>
                  </a:cubicBezTo>
                  <a:cubicBezTo>
                    <a:pt x="2522070" y="3955"/>
                    <a:pt x="2522070" y="7638"/>
                    <a:pt x="2519817" y="9908"/>
                  </a:cubicBezTo>
                  <a:cubicBezTo>
                    <a:pt x="2518666" y="11060"/>
                    <a:pt x="2517128" y="11654"/>
                    <a:pt x="2515592" y="11654"/>
                  </a:cubicBezTo>
                  <a:close/>
                </a:path>
              </a:pathLst>
            </a:custGeom>
            <a:grpFill/>
            <a:ln w="0"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76B2C25F-DFD2-227D-AB24-82D363405BFA}"/>
                </a:ext>
              </a:extLst>
            </p:cNvPr>
            <p:cNvSpPr/>
            <p:nvPr/>
          </p:nvSpPr>
          <p:spPr>
            <a:xfrm>
              <a:off x="6453613" y="2786173"/>
              <a:ext cx="2436124" cy="2436119"/>
            </a:xfrm>
            <a:custGeom>
              <a:avLst/>
              <a:gdLst>
                <a:gd name="connsiteX0" fmla="*/ 6395 w 2436124"/>
                <a:gd name="connsiteY0" fmla="*/ 2436120 h 2436119"/>
                <a:gd name="connsiteX1" fmla="*/ 1872 w 2436124"/>
                <a:gd name="connsiteY1" fmla="*/ 2434252 h 2436119"/>
                <a:gd name="connsiteX2" fmla="*/ 1872 w 2436124"/>
                <a:gd name="connsiteY2" fmla="*/ 2425191 h 2436119"/>
                <a:gd name="connsiteX3" fmla="*/ 1995 w 2436124"/>
                <a:gd name="connsiteY3" fmla="*/ 2425068 h 2436119"/>
                <a:gd name="connsiteX4" fmla="*/ 11056 w 2436124"/>
                <a:gd name="connsiteY4" fmla="*/ 2425068 h 2436119"/>
                <a:gd name="connsiteX5" fmla="*/ 11056 w 2436124"/>
                <a:gd name="connsiteY5" fmla="*/ 2434130 h 2436119"/>
                <a:gd name="connsiteX6" fmla="*/ 10934 w 2436124"/>
                <a:gd name="connsiteY6" fmla="*/ 2434252 h 2436119"/>
                <a:gd name="connsiteX7" fmla="*/ 6412 w 2436124"/>
                <a:gd name="connsiteY7" fmla="*/ 2436120 h 2436119"/>
                <a:gd name="connsiteX8" fmla="*/ 92940 w 2436124"/>
                <a:gd name="connsiteY8" fmla="*/ 2349575 h 2436119"/>
                <a:gd name="connsiteX9" fmla="*/ 88418 w 2436124"/>
                <a:gd name="connsiteY9" fmla="*/ 2347706 h 2436119"/>
                <a:gd name="connsiteX10" fmla="*/ 88418 w 2436124"/>
                <a:gd name="connsiteY10" fmla="*/ 2338645 h 2436119"/>
                <a:gd name="connsiteX11" fmla="*/ 88540 w 2436124"/>
                <a:gd name="connsiteY11" fmla="*/ 2338523 h 2436119"/>
                <a:gd name="connsiteX12" fmla="*/ 97602 w 2436124"/>
                <a:gd name="connsiteY12" fmla="*/ 2338523 h 2436119"/>
                <a:gd name="connsiteX13" fmla="*/ 97602 w 2436124"/>
                <a:gd name="connsiteY13" fmla="*/ 2347584 h 2436119"/>
                <a:gd name="connsiteX14" fmla="*/ 97479 w 2436124"/>
                <a:gd name="connsiteY14" fmla="*/ 2347706 h 2436119"/>
                <a:gd name="connsiteX15" fmla="*/ 92958 w 2436124"/>
                <a:gd name="connsiteY15" fmla="*/ 2349575 h 2436119"/>
                <a:gd name="connsiteX16" fmla="*/ 179520 w 2436124"/>
                <a:gd name="connsiteY16" fmla="*/ 2262942 h 2436119"/>
                <a:gd name="connsiteX17" fmla="*/ 175016 w 2436124"/>
                <a:gd name="connsiteY17" fmla="*/ 2261091 h 2436119"/>
                <a:gd name="connsiteX18" fmla="*/ 174946 w 2436124"/>
                <a:gd name="connsiteY18" fmla="*/ 2252099 h 2436119"/>
                <a:gd name="connsiteX19" fmla="*/ 175069 w 2436124"/>
                <a:gd name="connsiteY19" fmla="*/ 2251977 h 2436119"/>
                <a:gd name="connsiteX20" fmla="*/ 184130 w 2436124"/>
                <a:gd name="connsiteY20" fmla="*/ 2251977 h 2436119"/>
                <a:gd name="connsiteX21" fmla="*/ 184130 w 2436124"/>
                <a:gd name="connsiteY21" fmla="*/ 2261039 h 2436119"/>
                <a:gd name="connsiteX22" fmla="*/ 179503 w 2436124"/>
                <a:gd name="connsiteY22" fmla="*/ 2262942 h 2436119"/>
                <a:gd name="connsiteX23" fmla="*/ 266066 w 2436124"/>
                <a:gd name="connsiteY23" fmla="*/ 2176396 h 2436119"/>
                <a:gd name="connsiteX24" fmla="*/ 261562 w 2436124"/>
                <a:gd name="connsiteY24" fmla="*/ 2174545 h 2436119"/>
                <a:gd name="connsiteX25" fmla="*/ 261492 w 2436124"/>
                <a:gd name="connsiteY25" fmla="*/ 2165554 h 2436119"/>
                <a:gd name="connsiteX26" fmla="*/ 261614 w 2436124"/>
                <a:gd name="connsiteY26" fmla="*/ 2165432 h 2436119"/>
                <a:gd name="connsiteX27" fmla="*/ 270676 w 2436124"/>
                <a:gd name="connsiteY27" fmla="*/ 2165432 h 2436119"/>
                <a:gd name="connsiteX28" fmla="*/ 270676 w 2436124"/>
                <a:gd name="connsiteY28" fmla="*/ 2174493 h 2436119"/>
                <a:gd name="connsiteX29" fmla="*/ 266049 w 2436124"/>
                <a:gd name="connsiteY29" fmla="*/ 2176396 h 2436119"/>
                <a:gd name="connsiteX30" fmla="*/ 352612 w 2436124"/>
                <a:gd name="connsiteY30" fmla="*/ 2089868 h 2436119"/>
                <a:gd name="connsiteX31" fmla="*/ 348107 w 2436124"/>
                <a:gd name="connsiteY31" fmla="*/ 2088017 h 2436119"/>
                <a:gd name="connsiteX32" fmla="*/ 348037 w 2436124"/>
                <a:gd name="connsiteY32" fmla="*/ 2079026 h 2436119"/>
                <a:gd name="connsiteX33" fmla="*/ 348160 w 2436124"/>
                <a:gd name="connsiteY33" fmla="*/ 2078903 h 2436119"/>
                <a:gd name="connsiteX34" fmla="*/ 357221 w 2436124"/>
                <a:gd name="connsiteY34" fmla="*/ 2078903 h 2436119"/>
                <a:gd name="connsiteX35" fmla="*/ 357221 w 2436124"/>
                <a:gd name="connsiteY35" fmla="*/ 2087965 h 2436119"/>
                <a:gd name="connsiteX36" fmla="*/ 352594 w 2436124"/>
                <a:gd name="connsiteY36" fmla="*/ 2089868 h 2436119"/>
                <a:gd name="connsiteX37" fmla="*/ 439105 w 2436124"/>
                <a:gd name="connsiteY37" fmla="*/ 2003410 h 2436119"/>
                <a:gd name="connsiteX38" fmla="*/ 434583 w 2436124"/>
                <a:gd name="connsiteY38" fmla="*/ 2001541 h 2436119"/>
                <a:gd name="connsiteX39" fmla="*/ 434583 w 2436124"/>
                <a:gd name="connsiteY39" fmla="*/ 1992480 h 2436119"/>
                <a:gd name="connsiteX40" fmla="*/ 434705 w 2436124"/>
                <a:gd name="connsiteY40" fmla="*/ 1992358 h 2436119"/>
                <a:gd name="connsiteX41" fmla="*/ 443767 w 2436124"/>
                <a:gd name="connsiteY41" fmla="*/ 1992358 h 2436119"/>
                <a:gd name="connsiteX42" fmla="*/ 443767 w 2436124"/>
                <a:gd name="connsiteY42" fmla="*/ 2001419 h 2436119"/>
                <a:gd name="connsiteX43" fmla="*/ 443644 w 2436124"/>
                <a:gd name="connsiteY43" fmla="*/ 2001541 h 2436119"/>
                <a:gd name="connsiteX44" fmla="*/ 439123 w 2436124"/>
                <a:gd name="connsiteY44" fmla="*/ 2003410 h 2436119"/>
                <a:gd name="connsiteX45" fmla="*/ 525650 w 2436124"/>
                <a:gd name="connsiteY45" fmla="*/ 1916864 h 2436119"/>
                <a:gd name="connsiteX46" fmla="*/ 521129 w 2436124"/>
                <a:gd name="connsiteY46" fmla="*/ 1914996 h 2436119"/>
                <a:gd name="connsiteX47" fmla="*/ 521129 w 2436124"/>
                <a:gd name="connsiteY47" fmla="*/ 1905934 h 2436119"/>
                <a:gd name="connsiteX48" fmla="*/ 521251 w 2436124"/>
                <a:gd name="connsiteY48" fmla="*/ 1905812 h 2436119"/>
                <a:gd name="connsiteX49" fmla="*/ 530312 w 2436124"/>
                <a:gd name="connsiteY49" fmla="*/ 1905812 h 2436119"/>
                <a:gd name="connsiteX50" fmla="*/ 530312 w 2436124"/>
                <a:gd name="connsiteY50" fmla="*/ 1914874 h 2436119"/>
                <a:gd name="connsiteX51" fmla="*/ 530190 w 2436124"/>
                <a:gd name="connsiteY51" fmla="*/ 1914996 h 2436119"/>
                <a:gd name="connsiteX52" fmla="*/ 525668 w 2436124"/>
                <a:gd name="connsiteY52" fmla="*/ 1916864 h 2436119"/>
                <a:gd name="connsiteX53" fmla="*/ 612231 w 2436124"/>
                <a:gd name="connsiteY53" fmla="*/ 1830231 h 2436119"/>
                <a:gd name="connsiteX54" fmla="*/ 607726 w 2436124"/>
                <a:gd name="connsiteY54" fmla="*/ 1828380 h 2436119"/>
                <a:gd name="connsiteX55" fmla="*/ 607657 w 2436124"/>
                <a:gd name="connsiteY55" fmla="*/ 1819389 h 2436119"/>
                <a:gd name="connsiteX56" fmla="*/ 607779 w 2436124"/>
                <a:gd name="connsiteY56" fmla="*/ 1819267 h 2436119"/>
                <a:gd name="connsiteX57" fmla="*/ 616840 w 2436124"/>
                <a:gd name="connsiteY57" fmla="*/ 1819267 h 2436119"/>
                <a:gd name="connsiteX58" fmla="*/ 616840 w 2436124"/>
                <a:gd name="connsiteY58" fmla="*/ 1828328 h 2436119"/>
                <a:gd name="connsiteX59" fmla="*/ 612214 w 2436124"/>
                <a:gd name="connsiteY59" fmla="*/ 1830231 h 2436119"/>
                <a:gd name="connsiteX60" fmla="*/ 698777 w 2436124"/>
                <a:gd name="connsiteY60" fmla="*/ 1743686 h 2436119"/>
                <a:gd name="connsiteX61" fmla="*/ 694272 w 2436124"/>
                <a:gd name="connsiteY61" fmla="*/ 1741835 h 2436119"/>
                <a:gd name="connsiteX62" fmla="*/ 694202 w 2436124"/>
                <a:gd name="connsiteY62" fmla="*/ 1732843 h 2436119"/>
                <a:gd name="connsiteX63" fmla="*/ 694325 w 2436124"/>
                <a:gd name="connsiteY63" fmla="*/ 1732721 h 2436119"/>
                <a:gd name="connsiteX64" fmla="*/ 703386 w 2436124"/>
                <a:gd name="connsiteY64" fmla="*/ 1732721 h 2436119"/>
                <a:gd name="connsiteX65" fmla="*/ 703386 w 2436124"/>
                <a:gd name="connsiteY65" fmla="*/ 1741782 h 2436119"/>
                <a:gd name="connsiteX66" fmla="*/ 698759 w 2436124"/>
                <a:gd name="connsiteY66" fmla="*/ 1743686 h 2436119"/>
                <a:gd name="connsiteX67" fmla="*/ 785322 w 2436124"/>
                <a:gd name="connsiteY67" fmla="*/ 1657157 h 2436119"/>
                <a:gd name="connsiteX68" fmla="*/ 780818 w 2436124"/>
                <a:gd name="connsiteY68" fmla="*/ 1655307 h 2436119"/>
                <a:gd name="connsiteX69" fmla="*/ 780748 w 2436124"/>
                <a:gd name="connsiteY69" fmla="*/ 1646315 h 2436119"/>
                <a:gd name="connsiteX70" fmla="*/ 780870 w 2436124"/>
                <a:gd name="connsiteY70" fmla="*/ 1646193 h 2436119"/>
                <a:gd name="connsiteX71" fmla="*/ 789932 w 2436124"/>
                <a:gd name="connsiteY71" fmla="*/ 1646193 h 2436119"/>
                <a:gd name="connsiteX72" fmla="*/ 789932 w 2436124"/>
                <a:gd name="connsiteY72" fmla="*/ 1655254 h 2436119"/>
                <a:gd name="connsiteX73" fmla="*/ 785305 w 2436124"/>
                <a:gd name="connsiteY73" fmla="*/ 1657157 h 2436119"/>
                <a:gd name="connsiteX74" fmla="*/ 871833 w 2436124"/>
                <a:gd name="connsiteY74" fmla="*/ 1570699 h 2436119"/>
                <a:gd name="connsiteX75" fmla="*/ 867311 w 2436124"/>
                <a:gd name="connsiteY75" fmla="*/ 1568831 h 2436119"/>
                <a:gd name="connsiteX76" fmla="*/ 867311 w 2436124"/>
                <a:gd name="connsiteY76" fmla="*/ 1559769 h 2436119"/>
                <a:gd name="connsiteX77" fmla="*/ 867433 w 2436124"/>
                <a:gd name="connsiteY77" fmla="*/ 1559648 h 2436119"/>
                <a:gd name="connsiteX78" fmla="*/ 876495 w 2436124"/>
                <a:gd name="connsiteY78" fmla="*/ 1559648 h 2436119"/>
                <a:gd name="connsiteX79" fmla="*/ 876495 w 2436124"/>
                <a:gd name="connsiteY79" fmla="*/ 1568709 h 2436119"/>
                <a:gd name="connsiteX80" fmla="*/ 876372 w 2436124"/>
                <a:gd name="connsiteY80" fmla="*/ 1568831 h 2436119"/>
                <a:gd name="connsiteX81" fmla="*/ 871850 w 2436124"/>
                <a:gd name="connsiteY81" fmla="*/ 1570699 h 2436119"/>
                <a:gd name="connsiteX82" fmla="*/ 958361 w 2436124"/>
                <a:gd name="connsiteY82" fmla="*/ 1484153 h 2436119"/>
                <a:gd name="connsiteX83" fmla="*/ 953839 w 2436124"/>
                <a:gd name="connsiteY83" fmla="*/ 1482285 h 2436119"/>
                <a:gd name="connsiteX84" fmla="*/ 953839 w 2436124"/>
                <a:gd name="connsiteY84" fmla="*/ 1473224 h 2436119"/>
                <a:gd name="connsiteX85" fmla="*/ 953961 w 2436124"/>
                <a:gd name="connsiteY85" fmla="*/ 1473102 h 2436119"/>
                <a:gd name="connsiteX86" fmla="*/ 963023 w 2436124"/>
                <a:gd name="connsiteY86" fmla="*/ 1473102 h 2436119"/>
                <a:gd name="connsiteX87" fmla="*/ 963023 w 2436124"/>
                <a:gd name="connsiteY87" fmla="*/ 1482163 h 2436119"/>
                <a:gd name="connsiteX88" fmla="*/ 962901 w 2436124"/>
                <a:gd name="connsiteY88" fmla="*/ 1482285 h 2436119"/>
                <a:gd name="connsiteX89" fmla="*/ 958379 w 2436124"/>
                <a:gd name="connsiteY89" fmla="*/ 1484153 h 2436119"/>
                <a:gd name="connsiteX90" fmla="*/ 1044942 w 2436124"/>
                <a:gd name="connsiteY90" fmla="*/ 1397521 h 2436119"/>
                <a:gd name="connsiteX91" fmla="*/ 1040437 w 2436124"/>
                <a:gd name="connsiteY91" fmla="*/ 1395670 h 2436119"/>
                <a:gd name="connsiteX92" fmla="*/ 1040367 w 2436124"/>
                <a:gd name="connsiteY92" fmla="*/ 1386679 h 2436119"/>
                <a:gd name="connsiteX93" fmla="*/ 1040490 w 2436124"/>
                <a:gd name="connsiteY93" fmla="*/ 1386556 h 2436119"/>
                <a:gd name="connsiteX94" fmla="*/ 1049551 w 2436124"/>
                <a:gd name="connsiteY94" fmla="*/ 1386556 h 2436119"/>
                <a:gd name="connsiteX95" fmla="*/ 1049551 w 2436124"/>
                <a:gd name="connsiteY95" fmla="*/ 1395617 h 2436119"/>
                <a:gd name="connsiteX96" fmla="*/ 1044924 w 2436124"/>
                <a:gd name="connsiteY96" fmla="*/ 1397521 h 2436119"/>
                <a:gd name="connsiteX97" fmla="*/ 1131487 w 2436124"/>
                <a:gd name="connsiteY97" fmla="*/ 1310975 h 2436119"/>
                <a:gd name="connsiteX98" fmla="*/ 1126983 w 2436124"/>
                <a:gd name="connsiteY98" fmla="*/ 1309124 h 2436119"/>
                <a:gd name="connsiteX99" fmla="*/ 1126913 w 2436124"/>
                <a:gd name="connsiteY99" fmla="*/ 1300133 h 2436119"/>
                <a:gd name="connsiteX100" fmla="*/ 1127035 w 2436124"/>
                <a:gd name="connsiteY100" fmla="*/ 1300010 h 2436119"/>
                <a:gd name="connsiteX101" fmla="*/ 1136097 w 2436124"/>
                <a:gd name="connsiteY101" fmla="*/ 1300010 h 2436119"/>
                <a:gd name="connsiteX102" fmla="*/ 1136097 w 2436124"/>
                <a:gd name="connsiteY102" fmla="*/ 1309072 h 2436119"/>
                <a:gd name="connsiteX103" fmla="*/ 1131470 w 2436124"/>
                <a:gd name="connsiteY103" fmla="*/ 1310975 h 2436119"/>
                <a:gd name="connsiteX104" fmla="*/ 1218033 w 2436124"/>
                <a:gd name="connsiteY104" fmla="*/ 1224430 h 2436119"/>
                <a:gd name="connsiteX105" fmla="*/ 1213528 w 2436124"/>
                <a:gd name="connsiteY105" fmla="*/ 1222579 h 2436119"/>
                <a:gd name="connsiteX106" fmla="*/ 1213459 w 2436124"/>
                <a:gd name="connsiteY106" fmla="*/ 1213587 h 2436119"/>
                <a:gd name="connsiteX107" fmla="*/ 1213581 w 2436124"/>
                <a:gd name="connsiteY107" fmla="*/ 1213465 h 2436119"/>
                <a:gd name="connsiteX108" fmla="*/ 1222642 w 2436124"/>
                <a:gd name="connsiteY108" fmla="*/ 1213465 h 2436119"/>
                <a:gd name="connsiteX109" fmla="*/ 1222642 w 2436124"/>
                <a:gd name="connsiteY109" fmla="*/ 1222526 h 2436119"/>
                <a:gd name="connsiteX110" fmla="*/ 1218015 w 2436124"/>
                <a:gd name="connsiteY110" fmla="*/ 1224430 h 2436119"/>
                <a:gd name="connsiteX111" fmla="*/ 1304544 w 2436124"/>
                <a:gd name="connsiteY111" fmla="*/ 1137989 h 2436119"/>
                <a:gd name="connsiteX112" fmla="*/ 1300021 w 2436124"/>
                <a:gd name="connsiteY112" fmla="*/ 1136121 h 2436119"/>
                <a:gd name="connsiteX113" fmla="*/ 1300021 w 2436124"/>
                <a:gd name="connsiteY113" fmla="*/ 1127059 h 2436119"/>
                <a:gd name="connsiteX114" fmla="*/ 1300144 w 2436124"/>
                <a:gd name="connsiteY114" fmla="*/ 1126937 h 2436119"/>
                <a:gd name="connsiteX115" fmla="*/ 1309205 w 2436124"/>
                <a:gd name="connsiteY115" fmla="*/ 1126937 h 2436119"/>
                <a:gd name="connsiteX116" fmla="*/ 1309205 w 2436124"/>
                <a:gd name="connsiteY116" fmla="*/ 1135998 h 2436119"/>
                <a:gd name="connsiteX117" fmla="*/ 1309083 w 2436124"/>
                <a:gd name="connsiteY117" fmla="*/ 1136121 h 2436119"/>
                <a:gd name="connsiteX118" fmla="*/ 1304561 w 2436124"/>
                <a:gd name="connsiteY118" fmla="*/ 1137989 h 2436119"/>
                <a:gd name="connsiteX119" fmla="*/ 1391072 w 2436124"/>
                <a:gd name="connsiteY119" fmla="*/ 1051443 h 2436119"/>
                <a:gd name="connsiteX120" fmla="*/ 1386550 w 2436124"/>
                <a:gd name="connsiteY120" fmla="*/ 1049575 h 2436119"/>
                <a:gd name="connsiteX121" fmla="*/ 1386550 w 2436124"/>
                <a:gd name="connsiteY121" fmla="*/ 1040514 h 2436119"/>
                <a:gd name="connsiteX122" fmla="*/ 1386672 w 2436124"/>
                <a:gd name="connsiteY122" fmla="*/ 1040391 h 2436119"/>
                <a:gd name="connsiteX123" fmla="*/ 1395733 w 2436124"/>
                <a:gd name="connsiteY123" fmla="*/ 1040391 h 2436119"/>
                <a:gd name="connsiteX124" fmla="*/ 1395733 w 2436124"/>
                <a:gd name="connsiteY124" fmla="*/ 1049453 h 2436119"/>
                <a:gd name="connsiteX125" fmla="*/ 1395611 w 2436124"/>
                <a:gd name="connsiteY125" fmla="*/ 1049575 h 2436119"/>
                <a:gd name="connsiteX126" fmla="*/ 1391089 w 2436124"/>
                <a:gd name="connsiteY126" fmla="*/ 1051443 h 2436119"/>
                <a:gd name="connsiteX127" fmla="*/ 1477617 w 2436124"/>
                <a:gd name="connsiteY127" fmla="*/ 964897 h 2436119"/>
                <a:gd name="connsiteX128" fmla="*/ 1473113 w 2436124"/>
                <a:gd name="connsiteY128" fmla="*/ 963047 h 2436119"/>
                <a:gd name="connsiteX129" fmla="*/ 1473043 w 2436124"/>
                <a:gd name="connsiteY129" fmla="*/ 953985 h 2436119"/>
                <a:gd name="connsiteX130" fmla="*/ 1473165 w 2436124"/>
                <a:gd name="connsiteY130" fmla="*/ 953863 h 2436119"/>
                <a:gd name="connsiteX131" fmla="*/ 1482227 w 2436124"/>
                <a:gd name="connsiteY131" fmla="*/ 953794 h 2436119"/>
                <a:gd name="connsiteX132" fmla="*/ 1482296 w 2436124"/>
                <a:gd name="connsiteY132" fmla="*/ 962855 h 2436119"/>
                <a:gd name="connsiteX133" fmla="*/ 1482174 w 2436124"/>
                <a:gd name="connsiteY133" fmla="*/ 962977 h 2436119"/>
                <a:gd name="connsiteX134" fmla="*/ 1477617 w 2436124"/>
                <a:gd name="connsiteY134" fmla="*/ 964880 h 2436119"/>
                <a:gd name="connsiteX135" fmla="*/ 1564198 w 2436124"/>
                <a:gd name="connsiteY135" fmla="*/ 878265 h 2436119"/>
                <a:gd name="connsiteX136" fmla="*/ 1559693 w 2436124"/>
                <a:gd name="connsiteY136" fmla="*/ 876414 h 2436119"/>
                <a:gd name="connsiteX137" fmla="*/ 1559624 w 2436124"/>
                <a:gd name="connsiteY137" fmla="*/ 867422 h 2436119"/>
                <a:gd name="connsiteX138" fmla="*/ 1559745 w 2436124"/>
                <a:gd name="connsiteY138" fmla="*/ 867300 h 2436119"/>
                <a:gd name="connsiteX139" fmla="*/ 1568807 w 2436124"/>
                <a:gd name="connsiteY139" fmla="*/ 867300 h 2436119"/>
                <a:gd name="connsiteX140" fmla="*/ 1568807 w 2436124"/>
                <a:gd name="connsiteY140" fmla="*/ 876362 h 2436119"/>
                <a:gd name="connsiteX141" fmla="*/ 1564180 w 2436124"/>
                <a:gd name="connsiteY141" fmla="*/ 878265 h 2436119"/>
                <a:gd name="connsiteX142" fmla="*/ 1650743 w 2436124"/>
                <a:gd name="connsiteY142" fmla="*/ 791719 h 2436119"/>
                <a:gd name="connsiteX143" fmla="*/ 1646239 w 2436124"/>
                <a:gd name="connsiteY143" fmla="*/ 789868 h 2436119"/>
                <a:gd name="connsiteX144" fmla="*/ 1646169 w 2436124"/>
                <a:gd name="connsiteY144" fmla="*/ 780877 h 2436119"/>
                <a:gd name="connsiteX145" fmla="*/ 1646291 w 2436124"/>
                <a:gd name="connsiteY145" fmla="*/ 780755 h 2436119"/>
                <a:gd name="connsiteX146" fmla="*/ 1655352 w 2436124"/>
                <a:gd name="connsiteY146" fmla="*/ 780755 h 2436119"/>
                <a:gd name="connsiteX147" fmla="*/ 1655352 w 2436124"/>
                <a:gd name="connsiteY147" fmla="*/ 789816 h 2436119"/>
                <a:gd name="connsiteX148" fmla="*/ 1650726 w 2436124"/>
                <a:gd name="connsiteY148" fmla="*/ 791719 h 2436119"/>
                <a:gd name="connsiteX149" fmla="*/ 1737254 w 2436124"/>
                <a:gd name="connsiteY149" fmla="*/ 705278 h 2436119"/>
                <a:gd name="connsiteX150" fmla="*/ 1732750 w 2436124"/>
                <a:gd name="connsiteY150" fmla="*/ 703427 h 2436119"/>
                <a:gd name="connsiteX151" fmla="*/ 1732680 w 2436124"/>
                <a:gd name="connsiteY151" fmla="*/ 694366 h 2436119"/>
                <a:gd name="connsiteX152" fmla="*/ 1732802 w 2436124"/>
                <a:gd name="connsiteY152" fmla="*/ 694244 h 2436119"/>
                <a:gd name="connsiteX153" fmla="*/ 1741863 w 2436124"/>
                <a:gd name="connsiteY153" fmla="*/ 694174 h 2436119"/>
                <a:gd name="connsiteX154" fmla="*/ 1741933 w 2436124"/>
                <a:gd name="connsiteY154" fmla="*/ 703235 h 2436119"/>
                <a:gd name="connsiteX155" fmla="*/ 1741811 w 2436124"/>
                <a:gd name="connsiteY155" fmla="*/ 703358 h 2436119"/>
                <a:gd name="connsiteX156" fmla="*/ 1737254 w 2436124"/>
                <a:gd name="connsiteY156" fmla="*/ 705261 h 2436119"/>
                <a:gd name="connsiteX157" fmla="*/ 1823799 w 2436124"/>
                <a:gd name="connsiteY157" fmla="*/ 618732 h 2436119"/>
                <a:gd name="connsiteX158" fmla="*/ 1819278 w 2436124"/>
                <a:gd name="connsiteY158" fmla="*/ 616864 h 2436119"/>
                <a:gd name="connsiteX159" fmla="*/ 1819278 w 2436124"/>
                <a:gd name="connsiteY159" fmla="*/ 607803 h 2436119"/>
                <a:gd name="connsiteX160" fmla="*/ 1819400 w 2436124"/>
                <a:gd name="connsiteY160" fmla="*/ 607681 h 2436119"/>
                <a:gd name="connsiteX161" fmla="*/ 1828461 w 2436124"/>
                <a:gd name="connsiteY161" fmla="*/ 607681 h 2436119"/>
                <a:gd name="connsiteX162" fmla="*/ 1828461 w 2436124"/>
                <a:gd name="connsiteY162" fmla="*/ 616742 h 2436119"/>
                <a:gd name="connsiteX163" fmla="*/ 1828339 w 2436124"/>
                <a:gd name="connsiteY163" fmla="*/ 616864 h 2436119"/>
                <a:gd name="connsiteX164" fmla="*/ 1823817 w 2436124"/>
                <a:gd name="connsiteY164" fmla="*/ 618732 h 2436119"/>
                <a:gd name="connsiteX165" fmla="*/ 1910328 w 2436124"/>
                <a:gd name="connsiteY165" fmla="*/ 532187 h 2436119"/>
                <a:gd name="connsiteX166" fmla="*/ 1905771 w 2436124"/>
                <a:gd name="connsiteY166" fmla="*/ 530284 h 2436119"/>
                <a:gd name="connsiteX167" fmla="*/ 1905841 w 2436124"/>
                <a:gd name="connsiteY167" fmla="*/ 521222 h 2436119"/>
                <a:gd name="connsiteX168" fmla="*/ 1905963 w 2436124"/>
                <a:gd name="connsiteY168" fmla="*/ 521100 h 2436119"/>
                <a:gd name="connsiteX169" fmla="*/ 1915024 w 2436124"/>
                <a:gd name="connsiteY169" fmla="*/ 521170 h 2436119"/>
                <a:gd name="connsiteX170" fmla="*/ 1914954 w 2436124"/>
                <a:gd name="connsiteY170" fmla="*/ 530232 h 2436119"/>
                <a:gd name="connsiteX171" fmla="*/ 1914832 w 2436124"/>
                <a:gd name="connsiteY171" fmla="*/ 530354 h 2436119"/>
                <a:gd name="connsiteX172" fmla="*/ 1910345 w 2436124"/>
                <a:gd name="connsiteY172" fmla="*/ 532204 h 2436119"/>
                <a:gd name="connsiteX173" fmla="*/ 1996908 w 2436124"/>
                <a:gd name="connsiteY173" fmla="*/ 445554 h 2436119"/>
                <a:gd name="connsiteX174" fmla="*/ 1992421 w 2436124"/>
                <a:gd name="connsiteY174" fmla="*/ 443721 h 2436119"/>
                <a:gd name="connsiteX175" fmla="*/ 1992334 w 2436124"/>
                <a:gd name="connsiteY175" fmla="*/ 434729 h 2436119"/>
                <a:gd name="connsiteX176" fmla="*/ 1992456 w 2436124"/>
                <a:gd name="connsiteY176" fmla="*/ 434607 h 2436119"/>
                <a:gd name="connsiteX177" fmla="*/ 2001518 w 2436124"/>
                <a:gd name="connsiteY177" fmla="*/ 434572 h 2436119"/>
                <a:gd name="connsiteX178" fmla="*/ 2001553 w 2436124"/>
                <a:gd name="connsiteY178" fmla="*/ 443634 h 2436119"/>
                <a:gd name="connsiteX179" fmla="*/ 1996925 w 2436124"/>
                <a:gd name="connsiteY179" fmla="*/ 445554 h 2436119"/>
                <a:gd name="connsiteX180" fmla="*/ 2083454 w 2436124"/>
                <a:gd name="connsiteY180" fmla="*/ 359008 h 2436119"/>
                <a:gd name="connsiteX181" fmla="*/ 2078949 w 2436124"/>
                <a:gd name="connsiteY181" fmla="*/ 357158 h 2436119"/>
                <a:gd name="connsiteX182" fmla="*/ 2078879 w 2436124"/>
                <a:gd name="connsiteY182" fmla="*/ 348166 h 2436119"/>
                <a:gd name="connsiteX183" fmla="*/ 2079002 w 2436124"/>
                <a:gd name="connsiteY183" fmla="*/ 348044 h 2436119"/>
                <a:gd name="connsiteX184" fmla="*/ 2088063 w 2436124"/>
                <a:gd name="connsiteY184" fmla="*/ 348044 h 2436119"/>
                <a:gd name="connsiteX185" fmla="*/ 2088063 w 2436124"/>
                <a:gd name="connsiteY185" fmla="*/ 357105 h 2436119"/>
                <a:gd name="connsiteX186" fmla="*/ 2083437 w 2436124"/>
                <a:gd name="connsiteY186" fmla="*/ 359008 h 2436119"/>
                <a:gd name="connsiteX187" fmla="*/ 2169965 w 2436124"/>
                <a:gd name="connsiteY187" fmla="*/ 272568 h 2436119"/>
                <a:gd name="connsiteX188" fmla="*/ 2165425 w 2436124"/>
                <a:gd name="connsiteY188" fmla="*/ 270682 h 2436119"/>
                <a:gd name="connsiteX189" fmla="*/ 2165460 w 2436124"/>
                <a:gd name="connsiteY189" fmla="*/ 261621 h 2436119"/>
                <a:gd name="connsiteX190" fmla="*/ 2165582 w 2436124"/>
                <a:gd name="connsiteY190" fmla="*/ 261498 h 2436119"/>
                <a:gd name="connsiteX191" fmla="*/ 2174643 w 2436124"/>
                <a:gd name="connsiteY191" fmla="*/ 261533 h 2436119"/>
                <a:gd name="connsiteX192" fmla="*/ 2174608 w 2436124"/>
                <a:gd name="connsiteY192" fmla="*/ 270595 h 2436119"/>
                <a:gd name="connsiteX193" fmla="*/ 2174487 w 2436124"/>
                <a:gd name="connsiteY193" fmla="*/ 270717 h 2436119"/>
                <a:gd name="connsiteX194" fmla="*/ 2169982 w 2436124"/>
                <a:gd name="connsiteY194" fmla="*/ 272568 h 2436119"/>
                <a:gd name="connsiteX195" fmla="*/ 2256510 w 2436124"/>
                <a:gd name="connsiteY195" fmla="*/ 186022 h 2436119"/>
                <a:gd name="connsiteX196" fmla="*/ 2251971 w 2436124"/>
                <a:gd name="connsiteY196" fmla="*/ 184137 h 2436119"/>
                <a:gd name="connsiteX197" fmla="*/ 2252006 w 2436124"/>
                <a:gd name="connsiteY197" fmla="*/ 175075 h 2436119"/>
                <a:gd name="connsiteX198" fmla="*/ 2252127 w 2436124"/>
                <a:gd name="connsiteY198" fmla="*/ 174953 h 2436119"/>
                <a:gd name="connsiteX199" fmla="*/ 2261190 w 2436124"/>
                <a:gd name="connsiteY199" fmla="*/ 174988 h 2436119"/>
                <a:gd name="connsiteX200" fmla="*/ 2261155 w 2436124"/>
                <a:gd name="connsiteY200" fmla="*/ 184049 h 2436119"/>
                <a:gd name="connsiteX201" fmla="*/ 2261032 w 2436124"/>
                <a:gd name="connsiteY201" fmla="*/ 184171 h 2436119"/>
                <a:gd name="connsiteX202" fmla="*/ 2256527 w 2436124"/>
                <a:gd name="connsiteY202" fmla="*/ 186022 h 2436119"/>
                <a:gd name="connsiteX203" fmla="*/ 2343038 w 2436124"/>
                <a:gd name="connsiteY203" fmla="*/ 99477 h 2436119"/>
                <a:gd name="connsiteX204" fmla="*/ 2338499 w 2436124"/>
                <a:gd name="connsiteY204" fmla="*/ 97591 h 2436119"/>
                <a:gd name="connsiteX205" fmla="*/ 2338534 w 2436124"/>
                <a:gd name="connsiteY205" fmla="*/ 88530 h 2436119"/>
                <a:gd name="connsiteX206" fmla="*/ 2338656 w 2436124"/>
                <a:gd name="connsiteY206" fmla="*/ 88407 h 2436119"/>
                <a:gd name="connsiteX207" fmla="*/ 2347717 w 2436124"/>
                <a:gd name="connsiteY207" fmla="*/ 88442 h 2436119"/>
                <a:gd name="connsiteX208" fmla="*/ 2347683 w 2436124"/>
                <a:gd name="connsiteY208" fmla="*/ 97504 h 2436119"/>
                <a:gd name="connsiteX209" fmla="*/ 2347560 w 2436124"/>
                <a:gd name="connsiteY209" fmla="*/ 97626 h 2436119"/>
                <a:gd name="connsiteX210" fmla="*/ 2343055 w 2436124"/>
                <a:gd name="connsiteY210" fmla="*/ 99477 h 2436119"/>
                <a:gd name="connsiteX211" fmla="*/ 2429584 w 2436124"/>
                <a:gd name="connsiteY211" fmla="*/ 12931 h 2436119"/>
                <a:gd name="connsiteX212" fmla="*/ 2425044 w 2436124"/>
                <a:gd name="connsiteY212" fmla="*/ 11045 h 2436119"/>
                <a:gd name="connsiteX213" fmla="*/ 2425079 w 2436124"/>
                <a:gd name="connsiteY213" fmla="*/ 1984 h 2436119"/>
                <a:gd name="connsiteX214" fmla="*/ 2425202 w 2436124"/>
                <a:gd name="connsiteY214" fmla="*/ 1862 h 2436119"/>
                <a:gd name="connsiteX215" fmla="*/ 2434263 w 2436124"/>
                <a:gd name="connsiteY215" fmla="*/ 1897 h 2436119"/>
                <a:gd name="connsiteX216" fmla="*/ 2434228 w 2436124"/>
                <a:gd name="connsiteY216" fmla="*/ 10958 h 2436119"/>
                <a:gd name="connsiteX217" fmla="*/ 2434106 w 2436124"/>
                <a:gd name="connsiteY217" fmla="*/ 11080 h 2436119"/>
                <a:gd name="connsiteX218" fmla="*/ 2429602 w 2436124"/>
                <a:gd name="connsiteY218" fmla="*/ 12931 h 243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2436124" h="2436119">
                  <a:moveTo>
                    <a:pt x="6395" y="2436120"/>
                  </a:moveTo>
                  <a:cubicBezTo>
                    <a:pt x="4753" y="2436120"/>
                    <a:pt x="3112" y="2435492"/>
                    <a:pt x="1872" y="2434252"/>
                  </a:cubicBezTo>
                  <a:cubicBezTo>
                    <a:pt x="-624" y="2431755"/>
                    <a:pt x="-624" y="2427705"/>
                    <a:pt x="1872" y="2425191"/>
                  </a:cubicBezTo>
                  <a:lnTo>
                    <a:pt x="1995" y="2425068"/>
                  </a:lnTo>
                  <a:cubicBezTo>
                    <a:pt x="4491" y="2422572"/>
                    <a:pt x="8542" y="2422572"/>
                    <a:pt x="11056" y="2425068"/>
                  </a:cubicBezTo>
                  <a:cubicBezTo>
                    <a:pt x="13553" y="2427565"/>
                    <a:pt x="13553" y="2431616"/>
                    <a:pt x="11056" y="2434130"/>
                  </a:cubicBezTo>
                  <a:lnTo>
                    <a:pt x="10934" y="2434252"/>
                  </a:lnTo>
                  <a:cubicBezTo>
                    <a:pt x="9677" y="2435509"/>
                    <a:pt x="8053" y="2436120"/>
                    <a:pt x="6412" y="2436120"/>
                  </a:cubicBezTo>
                  <a:close/>
                  <a:moveTo>
                    <a:pt x="92940" y="2349575"/>
                  </a:moveTo>
                  <a:cubicBezTo>
                    <a:pt x="91299" y="2349575"/>
                    <a:pt x="89658" y="2348946"/>
                    <a:pt x="88418" y="2347706"/>
                  </a:cubicBezTo>
                  <a:cubicBezTo>
                    <a:pt x="85922" y="2345210"/>
                    <a:pt x="85922" y="2341159"/>
                    <a:pt x="88418" y="2338645"/>
                  </a:cubicBezTo>
                  <a:lnTo>
                    <a:pt x="88540" y="2338523"/>
                  </a:lnTo>
                  <a:cubicBezTo>
                    <a:pt x="91037" y="2336026"/>
                    <a:pt x="95088" y="2336026"/>
                    <a:pt x="97602" y="2338523"/>
                  </a:cubicBezTo>
                  <a:cubicBezTo>
                    <a:pt x="100098" y="2341019"/>
                    <a:pt x="100098" y="2345070"/>
                    <a:pt x="97602" y="2347584"/>
                  </a:cubicBezTo>
                  <a:lnTo>
                    <a:pt x="97479" y="2347706"/>
                  </a:lnTo>
                  <a:cubicBezTo>
                    <a:pt x="96222" y="2348963"/>
                    <a:pt x="94599" y="2349575"/>
                    <a:pt x="92958" y="2349575"/>
                  </a:cubicBezTo>
                  <a:close/>
                  <a:moveTo>
                    <a:pt x="179520" y="2262942"/>
                  </a:moveTo>
                  <a:cubicBezTo>
                    <a:pt x="177879" y="2262942"/>
                    <a:pt x="176256" y="2262331"/>
                    <a:pt x="175016" y="2261091"/>
                  </a:cubicBezTo>
                  <a:cubicBezTo>
                    <a:pt x="172519" y="2258594"/>
                    <a:pt x="172450" y="2254596"/>
                    <a:pt x="174946" y="2252099"/>
                  </a:cubicBezTo>
                  <a:lnTo>
                    <a:pt x="175069" y="2251977"/>
                  </a:lnTo>
                  <a:cubicBezTo>
                    <a:pt x="177565" y="2249480"/>
                    <a:pt x="181616" y="2249480"/>
                    <a:pt x="184130" y="2251977"/>
                  </a:cubicBezTo>
                  <a:cubicBezTo>
                    <a:pt x="186627" y="2254474"/>
                    <a:pt x="186627" y="2258524"/>
                    <a:pt x="184130" y="2261039"/>
                  </a:cubicBezTo>
                  <a:cubicBezTo>
                    <a:pt x="182873" y="2262296"/>
                    <a:pt x="181179" y="2262942"/>
                    <a:pt x="179503" y="2262942"/>
                  </a:cubicBezTo>
                  <a:close/>
                  <a:moveTo>
                    <a:pt x="266066" y="2176396"/>
                  </a:moveTo>
                  <a:cubicBezTo>
                    <a:pt x="264425" y="2176396"/>
                    <a:pt x="262802" y="2175785"/>
                    <a:pt x="261562" y="2174545"/>
                  </a:cubicBezTo>
                  <a:cubicBezTo>
                    <a:pt x="259065" y="2172048"/>
                    <a:pt x="258995" y="2168051"/>
                    <a:pt x="261492" y="2165554"/>
                  </a:cubicBezTo>
                  <a:lnTo>
                    <a:pt x="261614" y="2165432"/>
                  </a:lnTo>
                  <a:cubicBezTo>
                    <a:pt x="264111" y="2162935"/>
                    <a:pt x="268161" y="2162935"/>
                    <a:pt x="270676" y="2165432"/>
                  </a:cubicBezTo>
                  <a:cubicBezTo>
                    <a:pt x="273190" y="2167928"/>
                    <a:pt x="273172" y="2171979"/>
                    <a:pt x="270676" y="2174493"/>
                  </a:cubicBezTo>
                  <a:cubicBezTo>
                    <a:pt x="269418" y="2175750"/>
                    <a:pt x="267725" y="2176396"/>
                    <a:pt x="266049" y="2176396"/>
                  </a:cubicBezTo>
                  <a:close/>
                  <a:moveTo>
                    <a:pt x="352612" y="2089868"/>
                  </a:moveTo>
                  <a:cubicBezTo>
                    <a:pt x="350971" y="2089868"/>
                    <a:pt x="349347" y="2089257"/>
                    <a:pt x="348107" y="2088017"/>
                  </a:cubicBezTo>
                  <a:cubicBezTo>
                    <a:pt x="345611" y="2085521"/>
                    <a:pt x="345541" y="2081522"/>
                    <a:pt x="348037" y="2079026"/>
                  </a:cubicBezTo>
                  <a:lnTo>
                    <a:pt x="348160" y="2078903"/>
                  </a:lnTo>
                  <a:cubicBezTo>
                    <a:pt x="350656" y="2076407"/>
                    <a:pt x="354707" y="2076407"/>
                    <a:pt x="357221" y="2078903"/>
                  </a:cubicBezTo>
                  <a:cubicBezTo>
                    <a:pt x="359735" y="2081400"/>
                    <a:pt x="359718" y="2085451"/>
                    <a:pt x="357221" y="2087965"/>
                  </a:cubicBezTo>
                  <a:cubicBezTo>
                    <a:pt x="355964" y="2089222"/>
                    <a:pt x="354270" y="2089868"/>
                    <a:pt x="352594" y="2089868"/>
                  </a:cubicBezTo>
                  <a:close/>
                  <a:moveTo>
                    <a:pt x="439105" y="2003410"/>
                  </a:moveTo>
                  <a:cubicBezTo>
                    <a:pt x="437464" y="2003410"/>
                    <a:pt x="435823" y="2002781"/>
                    <a:pt x="434583" y="2001541"/>
                  </a:cubicBezTo>
                  <a:cubicBezTo>
                    <a:pt x="432087" y="1999045"/>
                    <a:pt x="432087" y="1994994"/>
                    <a:pt x="434583" y="1992480"/>
                  </a:cubicBezTo>
                  <a:lnTo>
                    <a:pt x="434705" y="1992358"/>
                  </a:lnTo>
                  <a:cubicBezTo>
                    <a:pt x="437202" y="1989861"/>
                    <a:pt x="441253" y="1989861"/>
                    <a:pt x="443767" y="1992358"/>
                  </a:cubicBezTo>
                  <a:cubicBezTo>
                    <a:pt x="446281" y="1994854"/>
                    <a:pt x="446263" y="1998905"/>
                    <a:pt x="443767" y="2001419"/>
                  </a:cubicBezTo>
                  <a:lnTo>
                    <a:pt x="443644" y="2001541"/>
                  </a:lnTo>
                  <a:cubicBezTo>
                    <a:pt x="442387" y="2002798"/>
                    <a:pt x="440764" y="2003410"/>
                    <a:pt x="439123" y="2003410"/>
                  </a:cubicBezTo>
                  <a:close/>
                  <a:moveTo>
                    <a:pt x="525650" y="1916864"/>
                  </a:moveTo>
                  <a:cubicBezTo>
                    <a:pt x="524009" y="1916864"/>
                    <a:pt x="522368" y="1916236"/>
                    <a:pt x="521129" y="1914996"/>
                  </a:cubicBezTo>
                  <a:cubicBezTo>
                    <a:pt x="518632" y="1912499"/>
                    <a:pt x="518632" y="1908448"/>
                    <a:pt x="521129" y="1905934"/>
                  </a:cubicBezTo>
                  <a:lnTo>
                    <a:pt x="521251" y="1905812"/>
                  </a:lnTo>
                  <a:cubicBezTo>
                    <a:pt x="523748" y="1903316"/>
                    <a:pt x="527798" y="1903316"/>
                    <a:pt x="530312" y="1905812"/>
                  </a:cubicBezTo>
                  <a:cubicBezTo>
                    <a:pt x="532809" y="1908309"/>
                    <a:pt x="532809" y="1912359"/>
                    <a:pt x="530312" y="1914874"/>
                  </a:cubicBezTo>
                  <a:lnTo>
                    <a:pt x="530190" y="1914996"/>
                  </a:lnTo>
                  <a:cubicBezTo>
                    <a:pt x="528933" y="1916253"/>
                    <a:pt x="527309" y="1916864"/>
                    <a:pt x="525668" y="1916864"/>
                  </a:cubicBezTo>
                  <a:close/>
                  <a:moveTo>
                    <a:pt x="612231" y="1830231"/>
                  </a:moveTo>
                  <a:cubicBezTo>
                    <a:pt x="610590" y="1830231"/>
                    <a:pt x="608966" y="1829620"/>
                    <a:pt x="607726" y="1828380"/>
                  </a:cubicBezTo>
                  <a:cubicBezTo>
                    <a:pt x="605230" y="1825884"/>
                    <a:pt x="605160" y="1821886"/>
                    <a:pt x="607657" y="1819389"/>
                  </a:cubicBezTo>
                  <a:lnTo>
                    <a:pt x="607779" y="1819267"/>
                  </a:lnTo>
                  <a:cubicBezTo>
                    <a:pt x="610276" y="1816770"/>
                    <a:pt x="614326" y="1816770"/>
                    <a:pt x="616840" y="1819267"/>
                  </a:cubicBezTo>
                  <a:cubicBezTo>
                    <a:pt x="619355" y="1821763"/>
                    <a:pt x="619337" y="1825814"/>
                    <a:pt x="616840" y="1828328"/>
                  </a:cubicBezTo>
                  <a:cubicBezTo>
                    <a:pt x="615583" y="1829585"/>
                    <a:pt x="613890" y="1830231"/>
                    <a:pt x="612214" y="1830231"/>
                  </a:cubicBezTo>
                  <a:close/>
                  <a:moveTo>
                    <a:pt x="698777" y="1743686"/>
                  </a:moveTo>
                  <a:cubicBezTo>
                    <a:pt x="697136" y="1743686"/>
                    <a:pt x="695512" y="1743074"/>
                    <a:pt x="694272" y="1741835"/>
                  </a:cubicBezTo>
                  <a:cubicBezTo>
                    <a:pt x="691776" y="1739338"/>
                    <a:pt x="691706" y="1735340"/>
                    <a:pt x="694202" y="1732843"/>
                  </a:cubicBezTo>
                  <a:lnTo>
                    <a:pt x="694325" y="1732721"/>
                  </a:lnTo>
                  <a:cubicBezTo>
                    <a:pt x="696821" y="1730225"/>
                    <a:pt x="700872" y="1730225"/>
                    <a:pt x="703386" y="1732721"/>
                  </a:cubicBezTo>
                  <a:cubicBezTo>
                    <a:pt x="705900" y="1735218"/>
                    <a:pt x="705882" y="1739268"/>
                    <a:pt x="703386" y="1741782"/>
                  </a:cubicBezTo>
                  <a:cubicBezTo>
                    <a:pt x="702129" y="1743039"/>
                    <a:pt x="700435" y="1743686"/>
                    <a:pt x="698759" y="1743686"/>
                  </a:cubicBezTo>
                  <a:close/>
                  <a:moveTo>
                    <a:pt x="785322" y="1657157"/>
                  </a:moveTo>
                  <a:cubicBezTo>
                    <a:pt x="783681" y="1657157"/>
                    <a:pt x="782057" y="1656547"/>
                    <a:pt x="780818" y="1655307"/>
                  </a:cubicBezTo>
                  <a:cubicBezTo>
                    <a:pt x="778321" y="1652810"/>
                    <a:pt x="778251" y="1648812"/>
                    <a:pt x="780748" y="1646315"/>
                  </a:cubicBezTo>
                  <a:lnTo>
                    <a:pt x="780870" y="1646193"/>
                  </a:lnTo>
                  <a:cubicBezTo>
                    <a:pt x="783367" y="1643696"/>
                    <a:pt x="787418" y="1643696"/>
                    <a:pt x="789932" y="1646193"/>
                  </a:cubicBezTo>
                  <a:cubicBezTo>
                    <a:pt x="792428" y="1648690"/>
                    <a:pt x="792428" y="1652740"/>
                    <a:pt x="789932" y="1655254"/>
                  </a:cubicBezTo>
                  <a:cubicBezTo>
                    <a:pt x="788675" y="1656512"/>
                    <a:pt x="786981" y="1657157"/>
                    <a:pt x="785305" y="1657157"/>
                  </a:cubicBezTo>
                  <a:close/>
                  <a:moveTo>
                    <a:pt x="871833" y="1570699"/>
                  </a:moveTo>
                  <a:cubicBezTo>
                    <a:pt x="870192" y="1570699"/>
                    <a:pt x="868551" y="1570071"/>
                    <a:pt x="867311" y="1568831"/>
                  </a:cubicBezTo>
                  <a:cubicBezTo>
                    <a:pt x="864814" y="1566334"/>
                    <a:pt x="864814" y="1562284"/>
                    <a:pt x="867311" y="1559769"/>
                  </a:cubicBezTo>
                  <a:lnTo>
                    <a:pt x="867433" y="1559648"/>
                  </a:lnTo>
                  <a:cubicBezTo>
                    <a:pt x="869930" y="1557151"/>
                    <a:pt x="873980" y="1557151"/>
                    <a:pt x="876495" y="1559648"/>
                  </a:cubicBezTo>
                  <a:cubicBezTo>
                    <a:pt x="878991" y="1562144"/>
                    <a:pt x="878991" y="1566195"/>
                    <a:pt x="876495" y="1568709"/>
                  </a:cubicBezTo>
                  <a:lnTo>
                    <a:pt x="876372" y="1568831"/>
                  </a:lnTo>
                  <a:cubicBezTo>
                    <a:pt x="875115" y="1570088"/>
                    <a:pt x="873491" y="1570699"/>
                    <a:pt x="871850" y="1570699"/>
                  </a:cubicBezTo>
                  <a:close/>
                  <a:moveTo>
                    <a:pt x="958361" y="1484153"/>
                  </a:moveTo>
                  <a:cubicBezTo>
                    <a:pt x="956720" y="1484153"/>
                    <a:pt x="955079" y="1483525"/>
                    <a:pt x="953839" y="1482285"/>
                  </a:cubicBezTo>
                  <a:cubicBezTo>
                    <a:pt x="951342" y="1479788"/>
                    <a:pt x="951342" y="1475738"/>
                    <a:pt x="953839" y="1473224"/>
                  </a:cubicBezTo>
                  <a:lnTo>
                    <a:pt x="953961" y="1473102"/>
                  </a:lnTo>
                  <a:cubicBezTo>
                    <a:pt x="956458" y="1470605"/>
                    <a:pt x="960509" y="1470605"/>
                    <a:pt x="963023" y="1473102"/>
                  </a:cubicBezTo>
                  <a:cubicBezTo>
                    <a:pt x="965520" y="1475598"/>
                    <a:pt x="965520" y="1479649"/>
                    <a:pt x="963023" y="1482163"/>
                  </a:cubicBezTo>
                  <a:lnTo>
                    <a:pt x="962901" y="1482285"/>
                  </a:lnTo>
                  <a:cubicBezTo>
                    <a:pt x="961644" y="1483542"/>
                    <a:pt x="960020" y="1484153"/>
                    <a:pt x="958379" y="1484153"/>
                  </a:cubicBezTo>
                  <a:close/>
                  <a:moveTo>
                    <a:pt x="1044942" y="1397521"/>
                  </a:moveTo>
                  <a:cubicBezTo>
                    <a:pt x="1043300" y="1397521"/>
                    <a:pt x="1041677" y="1396909"/>
                    <a:pt x="1040437" y="1395670"/>
                  </a:cubicBezTo>
                  <a:cubicBezTo>
                    <a:pt x="1037941" y="1393173"/>
                    <a:pt x="1037871" y="1389175"/>
                    <a:pt x="1040367" y="1386679"/>
                  </a:cubicBezTo>
                  <a:lnTo>
                    <a:pt x="1040490" y="1386556"/>
                  </a:lnTo>
                  <a:cubicBezTo>
                    <a:pt x="1042986" y="1384060"/>
                    <a:pt x="1047037" y="1384060"/>
                    <a:pt x="1049551" y="1386556"/>
                  </a:cubicBezTo>
                  <a:cubicBezTo>
                    <a:pt x="1052047" y="1389053"/>
                    <a:pt x="1052047" y="1393103"/>
                    <a:pt x="1049551" y="1395617"/>
                  </a:cubicBezTo>
                  <a:cubicBezTo>
                    <a:pt x="1048294" y="1396874"/>
                    <a:pt x="1046600" y="1397521"/>
                    <a:pt x="1044924" y="1397521"/>
                  </a:cubicBezTo>
                  <a:close/>
                  <a:moveTo>
                    <a:pt x="1131487" y="1310975"/>
                  </a:moveTo>
                  <a:cubicBezTo>
                    <a:pt x="1129846" y="1310975"/>
                    <a:pt x="1128222" y="1310364"/>
                    <a:pt x="1126983" y="1309124"/>
                  </a:cubicBezTo>
                  <a:cubicBezTo>
                    <a:pt x="1124486" y="1306628"/>
                    <a:pt x="1124416" y="1302629"/>
                    <a:pt x="1126913" y="1300133"/>
                  </a:cubicBezTo>
                  <a:lnTo>
                    <a:pt x="1127035" y="1300010"/>
                  </a:lnTo>
                  <a:cubicBezTo>
                    <a:pt x="1129532" y="1297514"/>
                    <a:pt x="1133583" y="1297514"/>
                    <a:pt x="1136097" y="1300010"/>
                  </a:cubicBezTo>
                  <a:cubicBezTo>
                    <a:pt x="1138593" y="1302507"/>
                    <a:pt x="1138593" y="1306558"/>
                    <a:pt x="1136097" y="1309072"/>
                  </a:cubicBezTo>
                  <a:cubicBezTo>
                    <a:pt x="1134840" y="1310329"/>
                    <a:pt x="1133146" y="1310975"/>
                    <a:pt x="1131470" y="1310975"/>
                  </a:cubicBezTo>
                  <a:close/>
                  <a:moveTo>
                    <a:pt x="1218033" y="1224430"/>
                  </a:moveTo>
                  <a:cubicBezTo>
                    <a:pt x="1216392" y="1224430"/>
                    <a:pt x="1214768" y="1223818"/>
                    <a:pt x="1213528" y="1222579"/>
                  </a:cubicBezTo>
                  <a:cubicBezTo>
                    <a:pt x="1211032" y="1220082"/>
                    <a:pt x="1210962" y="1216084"/>
                    <a:pt x="1213459" y="1213587"/>
                  </a:cubicBezTo>
                  <a:lnTo>
                    <a:pt x="1213581" y="1213465"/>
                  </a:lnTo>
                  <a:cubicBezTo>
                    <a:pt x="1216078" y="1210968"/>
                    <a:pt x="1220128" y="1210968"/>
                    <a:pt x="1222642" y="1213465"/>
                  </a:cubicBezTo>
                  <a:cubicBezTo>
                    <a:pt x="1225156" y="1215962"/>
                    <a:pt x="1225139" y="1220012"/>
                    <a:pt x="1222642" y="1222526"/>
                  </a:cubicBezTo>
                  <a:cubicBezTo>
                    <a:pt x="1221385" y="1223783"/>
                    <a:pt x="1219691" y="1224430"/>
                    <a:pt x="1218015" y="1224430"/>
                  </a:cubicBezTo>
                  <a:close/>
                  <a:moveTo>
                    <a:pt x="1304544" y="1137989"/>
                  </a:moveTo>
                  <a:cubicBezTo>
                    <a:pt x="1302902" y="1137989"/>
                    <a:pt x="1301261" y="1137360"/>
                    <a:pt x="1300021" y="1136121"/>
                  </a:cubicBezTo>
                  <a:cubicBezTo>
                    <a:pt x="1297525" y="1133624"/>
                    <a:pt x="1297525" y="1129573"/>
                    <a:pt x="1300021" y="1127059"/>
                  </a:cubicBezTo>
                  <a:lnTo>
                    <a:pt x="1300144" y="1126937"/>
                  </a:lnTo>
                  <a:cubicBezTo>
                    <a:pt x="1302640" y="1124440"/>
                    <a:pt x="1306691" y="1124440"/>
                    <a:pt x="1309205" y="1126937"/>
                  </a:cubicBezTo>
                  <a:cubicBezTo>
                    <a:pt x="1311719" y="1129434"/>
                    <a:pt x="1311702" y="1133484"/>
                    <a:pt x="1309205" y="1135998"/>
                  </a:cubicBezTo>
                  <a:lnTo>
                    <a:pt x="1309083" y="1136121"/>
                  </a:lnTo>
                  <a:cubicBezTo>
                    <a:pt x="1307826" y="1137378"/>
                    <a:pt x="1306202" y="1137989"/>
                    <a:pt x="1304561" y="1137989"/>
                  </a:cubicBezTo>
                  <a:close/>
                  <a:moveTo>
                    <a:pt x="1391072" y="1051443"/>
                  </a:moveTo>
                  <a:cubicBezTo>
                    <a:pt x="1389430" y="1051443"/>
                    <a:pt x="1387789" y="1050814"/>
                    <a:pt x="1386550" y="1049575"/>
                  </a:cubicBezTo>
                  <a:cubicBezTo>
                    <a:pt x="1384053" y="1047078"/>
                    <a:pt x="1384053" y="1043028"/>
                    <a:pt x="1386550" y="1040514"/>
                  </a:cubicBezTo>
                  <a:lnTo>
                    <a:pt x="1386672" y="1040391"/>
                  </a:lnTo>
                  <a:cubicBezTo>
                    <a:pt x="1389169" y="1037895"/>
                    <a:pt x="1393219" y="1037895"/>
                    <a:pt x="1395733" y="1040391"/>
                  </a:cubicBezTo>
                  <a:cubicBezTo>
                    <a:pt x="1398247" y="1042888"/>
                    <a:pt x="1398230" y="1046938"/>
                    <a:pt x="1395733" y="1049453"/>
                  </a:cubicBezTo>
                  <a:lnTo>
                    <a:pt x="1395611" y="1049575"/>
                  </a:lnTo>
                  <a:cubicBezTo>
                    <a:pt x="1394354" y="1050832"/>
                    <a:pt x="1392730" y="1051443"/>
                    <a:pt x="1391089" y="1051443"/>
                  </a:cubicBezTo>
                  <a:close/>
                  <a:moveTo>
                    <a:pt x="1477617" y="964897"/>
                  </a:moveTo>
                  <a:cubicBezTo>
                    <a:pt x="1475993" y="964897"/>
                    <a:pt x="1474370" y="964287"/>
                    <a:pt x="1473113" y="963047"/>
                  </a:cubicBezTo>
                  <a:cubicBezTo>
                    <a:pt x="1470598" y="960568"/>
                    <a:pt x="1470564" y="956517"/>
                    <a:pt x="1473043" y="953985"/>
                  </a:cubicBezTo>
                  <a:lnTo>
                    <a:pt x="1473165" y="953863"/>
                  </a:lnTo>
                  <a:cubicBezTo>
                    <a:pt x="1475644" y="951349"/>
                    <a:pt x="1479695" y="951314"/>
                    <a:pt x="1482227" y="953794"/>
                  </a:cubicBezTo>
                  <a:cubicBezTo>
                    <a:pt x="1484741" y="956273"/>
                    <a:pt x="1484776" y="960323"/>
                    <a:pt x="1482296" y="962855"/>
                  </a:cubicBezTo>
                  <a:lnTo>
                    <a:pt x="1482174" y="962977"/>
                  </a:lnTo>
                  <a:cubicBezTo>
                    <a:pt x="1480917" y="964252"/>
                    <a:pt x="1479276" y="964880"/>
                    <a:pt x="1477617" y="964880"/>
                  </a:cubicBezTo>
                  <a:close/>
                  <a:moveTo>
                    <a:pt x="1564198" y="878265"/>
                  </a:moveTo>
                  <a:cubicBezTo>
                    <a:pt x="1562557" y="878265"/>
                    <a:pt x="1560933" y="877653"/>
                    <a:pt x="1559693" y="876414"/>
                  </a:cubicBezTo>
                  <a:cubicBezTo>
                    <a:pt x="1557197" y="873917"/>
                    <a:pt x="1557127" y="869919"/>
                    <a:pt x="1559624" y="867422"/>
                  </a:cubicBezTo>
                  <a:lnTo>
                    <a:pt x="1559745" y="867300"/>
                  </a:lnTo>
                  <a:cubicBezTo>
                    <a:pt x="1562242" y="864803"/>
                    <a:pt x="1566293" y="864803"/>
                    <a:pt x="1568807" y="867300"/>
                  </a:cubicBezTo>
                  <a:cubicBezTo>
                    <a:pt x="1571321" y="869797"/>
                    <a:pt x="1571304" y="873847"/>
                    <a:pt x="1568807" y="876362"/>
                  </a:cubicBezTo>
                  <a:cubicBezTo>
                    <a:pt x="1567550" y="877619"/>
                    <a:pt x="1565856" y="878265"/>
                    <a:pt x="1564180" y="878265"/>
                  </a:cubicBezTo>
                  <a:close/>
                  <a:moveTo>
                    <a:pt x="1650743" y="791719"/>
                  </a:moveTo>
                  <a:cubicBezTo>
                    <a:pt x="1649102" y="791719"/>
                    <a:pt x="1647478" y="791108"/>
                    <a:pt x="1646239" y="789868"/>
                  </a:cubicBezTo>
                  <a:cubicBezTo>
                    <a:pt x="1643742" y="787372"/>
                    <a:pt x="1643672" y="783373"/>
                    <a:pt x="1646169" y="780877"/>
                  </a:cubicBezTo>
                  <a:lnTo>
                    <a:pt x="1646291" y="780755"/>
                  </a:lnTo>
                  <a:cubicBezTo>
                    <a:pt x="1648788" y="778258"/>
                    <a:pt x="1652838" y="778258"/>
                    <a:pt x="1655352" y="780755"/>
                  </a:cubicBezTo>
                  <a:cubicBezTo>
                    <a:pt x="1657866" y="783251"/>
                    <a:pt x="1657849" y="787302"/>
                    <a:pt x="1655352" y="789816"/>
                  </a:cubicBezTo>
                  <a:cubicBezTo>
                    <a:pt x="1654095" y="791073"/>
                    <a:pt x="1652402" y="791719"/>
                    <a:pt x="1650726" y="791719"/>
                  </a:cubicBezTo>
                  <a:close/>
                  <a:moveTo>
                    <a:pt x="1737254" y="705278"/>
                  </a:moveTo>
                  <a:cubicBezTo>
                    <a:pt x="1735630" y="705278"/>
                    <a:pt x="1734007" y="704667"/>
                    <a:pt x="1732750" y="703427"/>
                  </a:cubicBezTo>
                  <a:cubicBezTo>
                    <a:pt x="1730235" y="700948"/>
                    <a:pt x="1730201" y="696898"/>
                    <a:pt x="1732680" y="694366"/>
                  </a:cubicBezTo>
                  <a:lnTo>
                    <a:pt x="1732802" y="694244"/>
                  </a:lnTo>
                  <a:cubicBezTo>
                    <a:pt x="1735281" y="691730"/>
                    <a:pt x="1739332" y="691695"/>
                    <a:pt x="1741863" y="694174"/>
                  </a:cubicBezTo>
                  <a:cubicBezTo>
                    <a:pt x="1744377" y="696653"/>
                    <a:pt x="1744412" y="700704"/>
                    <a:pt x="1741933" y="703235"/>
                  </a:cubicBezTo>
                  <a:lnTo>
                    <a:pt x="1741811" y="703358"/>
                  </a:lnTo>
                  <a:cubicBezTo>
                    <a:pt x="1740554" y="704632"/>
                    <a:pt x="1738913" y="705261"/>
                    <a:pt x="1737254" y="705261"/>
                  </a:cubicBezTo>
                  <a:close/>
                  <a:moveTo>
                    <a:pt x="1823799" y="618732"/>
                  </a:moveTo>
                  <a:cubicBezTo>
                    <a:pt x="1822158" y="618732"/>
                    <a:pt x="1820517" y="618104"/>
                    <a:pt x="1819278" y="616864"/>
                  </a:cubicBezTo>
                  <a:cubicBezTo>
                    <a:pt x="1816781" y="614368"/>
                    <a:pt x="1816781" y="610317"/>
                    <a:pt x="1819278" y="607803"/>
                  </a:cubicBezTo>
                  <a:lnTo>
                    <a:pt x="1819400" y="607681"/>
                  </a:lnTo>
                  <a:cubicBezTo>
                    <a:pt x="1821897" y="605184"/>
                    <a:pt x="1825947" y="605184"/>
                    <a:pt x="1828461" y="607681"/>
                  </a:cubicBezTo>
                  <a:cubicBezTo>
                    <a:pt x="1830958" y="610178"/>
                    <a:pt x="1830958" y="614228"/>
                    <a:pt x="1828461" y="616742"/>
                  </a:cubicBezTo>
                  <a:lnTo>
                    <a:pt x="1828339" y="616864"/>
                  </a:lnTo>
                  <a:cubicBezTo>
                    <a:pt x="1827082" y="618121"/>
                    <a:pt x="1825458" y="618732"/>
                    <a:pt x="1823817" y="618732"/>
                  </a:cubicBezTo>
                  <a:close/>
                  <a:moveTo>
                    <a:pt x="1910328" y="532187"/>
                  </a:moveTo>
                  <a:cubicBezTo>
                    <a:pt x="1908669" y="532187"/>
                    <a:pt x="1907028" y="531558"/>
                    <a:pt x="1905771" y="530284"/>
                  </a:cubicBezTo>
                  <a:cubicBezTo>
                    <a:pt x="1903292" y="527770"/>
                    <a:pt x="1903309" y="523719"/>
                    <a:pt x="1905841" y="521222"/>
                  </a:cubicBezTo>
                  <a:lnTo>
                    <a:pt x="1905963" y="521100"/>
                  </a:lnTo>
                  <a:cubicBezTo>
                    <a:pt x="1908477" y="518621"/>
                    <a:pt x="1912545" y="518639"/>
                    <a:pt x="1915024" y="521170"/>
                  </a:cubicBezTo>
                  <a:cubicBezTo>
                    <a:pt x="1917504" y="523684"/>
                    <a:pt x="1917486" y="527735"/>
                    <a:pt x="1914954" y="530232"/>
                  </a:cubicBezTo>
                  <a:lnTo>
                    <a:pt x="1914832" y="530354"/>
                  </a:lnTo>
                  <a:cubicBezTo>
                    <a:pt x="1913593" y="531576"/>
                    <a:pt x="1911969" y="532204"/>
                    <a:pt x="1910345" y="532204"/>
                  </a:cubicBezTo>
                  <a:close/>
                  <a:moveTo>
                    <a:pt x="1996908" y="445554"/>
                  </a:moveTo>
                  <a:cubicBezTo>
                    <a:pt x="1995284" y="445554"/>
                    <a:pt x="1993661" y="444943"/>
                    <a:pt x="1992421" y="443721"/>
                  </a:cubicBezTo>
                  <a:cubicBezTo>
                    <a:pt x="1989907" y="441224"/>
                    <a:pt x="1989837" y="437243"/>
                    <a:pt x="1992334" y="434729"/>
                  </a:cubicBezTo>
                  <a:lnTo>
                    <a:pt x="1992456" y="434607"/>
                  </a:lnTo>
                  <a:cubicBezTo>
                    <a:pt x="1994953" y="432093"/>
                    <a:pt x="1999003" y="432093"/>
                    <a:pt x="2001518" y="434572"/>
                  </a:cubicBezTo>
                  <a:cubicBezTo>
                    <a:pt x="2004032" y="437069"/>
                    <a:pt x="2004032" y="441119"/>
                    <a:pt x="2001553" y="443634"/>
                  </a:cubicBezTo>
                  <a:cubicBezTo>
                    <a:pt x="2000277" y="444908"/>
                    <a:pt x="1998601" y="445554"/>
                    <a:pt x="1996925" y="445554"/>
                  </a:cubicBezTo>
                  <a:close/>
                  <a:moveTo>
                    <a:pt x="2083454" y="359008"/>
                  </a:moveTo>
                  <a:cubicBezTo>
                    <a:pt x="2081813" y="359008"/>
                    <a:pt x="2080189" y="358397"/>
                    <a:pt x="2078949" y="357158"/>
                  </a:cubicBezTo>
                  <a:cubicBezTo>
                    <a:pt x="2076453" y="354661"/>
                    <a:pt x="2076383" y="350663"/>
                    <a:pt x="2078879" y="348166"/>
                  </a:cubicBezTo>
                  <a:lnTo>
                    <a:pt x="2079002" y="348044"/>
                  </a:lnTo>
                  <a:cubicBezTo>
                    <a:pt x="2081498" y="345547"/>
                    <a:pt x="2085549" y="345547"/>
                    <a:pt x="2088063" y="348044"/>
                  </a:cubicBezTo>
                  <a:cubicBezTo>
                    <a:pt x="2090560" y="350541"/>
                    <a:pt x="2090560" y="354591"/>
                    <a:pt x="2088063" y="357105"/>
                  </a:cubicBezTo>
                  <a:cubicBezTo>
                    <a:pt x="2086806" y="358362"/>
                    <a:pt x="2085113" y="359008"/>
                    <a:pt x="2083437" y="359008"/>
                  </a:cubicBezTo>
                  <a:close/>
                  <a:moveTo>
                    <a:pt x="2169965" y="272568"/>
                  </a:moveTo>
                  <a:cubicBezTo>
                    <a:pt x="2168323" y="272568"/>
                    <a:pt x="2166682" y="271939"/>
                    <a:pt x="2165425" y="270682"/>
                  </a:cubicBezTo>
                  <a:cubicBezTo>
                    <a:pt x="2162928" y="268168"/>
                    <a:pt x="2162946" y="264117"/>
                    <a:pt x="2165460" y="261621"/>
                  </a:cubicBezTo>
                  <a:lnTo>
                    <a:pt x="2165582" y="261498"/>
                  </a:lnTo>
                  <a:cubicBezTo>
                    <a:pt x="2168096" y="259002"/>
                    <a:pt x="2172147" y="259019"/>
                    <a:pt x="2174643" y="261533"/>
                  </a:cubicBezTo>
                  <a:cubicBezTo>
                    <a:pt x="2177140" y="264048"/>
                    <a:pt x="2177122" y="268098"/>
                    <a:pt x="2174608" y="270595"/>
                  </a:cubicBezTo>
                  <a:lnTo>
                    <a:pt x="2174487" y="270717"/>
                  </a:lnTo>
                  <a:cubicBezTo>
                    <a:pt x="2173247" y="271956"/>
                    <a:pt x="2171606" y="272568"/>
                    <a:pt x="2169982" y="272568"/>
                  </a:cubicBezTo>
                  <a:close/>
                  <a:moveTo>
                    <a:pt x="2256510" y="186022"/>
                  </a:moveTo>
                  <a:cubicBezTo>
                    <a:pt x="2254869" y="186022"/>
                    <a:pt x="2253228" y="185394"/>
                    <a:pt x="2251971" y="184137"/>
                  </a:cubicBezTo>
                  <a:cubicBezTo>
                    <a:pt x="2249474" y="181622"/>
                    <a:pt x="2249491" y="177572"/>
                    <a:pt x="2252006" y="175075"/>
                  </a:cubicBezTo>
                  <a:lnTo>
                    <a:pt x="2252127" y="174953"/>
                  </a:lnTo>
                  <a:cubicBezTo>
                    <a:pt x="2254642" y="172456"/>
                    <a:pt x="2258693" y="172474"/>
                    <a:pt x="2261190" y="174988"/>
                  </a:cubicBezTo>
                  <a:cubicBezTo>
                    <a:pt x="2263686" y="177502"/>
                    <a:pt x="2263669" y="181553"/>
                    <a:pt x="2261155" y="184049"/>
                  </a:cubicBezTo>
                  <a:lnTo>
                    <a:pt x="2261032" y="184171"/>
                  </a:lnTo>
                  <a:cubicBezTo>
                    <a:pt x="2259792" y="185411"/>
                    <a:pt x="2258151" y="186022"/>
                    <a:pt x="2256527" y="186022"/>
                  </a:cubicBezTo>
                  <a:close/>
                  <a:moveTo>
                    <a:pt x="2343038" y="99477"/>
                  </a:moveTo>
                  <a:cubicBezTo>
                    <a:pt x="2341397" y="99477"/>
                    <a:pt x="2339756" y="98848"/>
                    <a:pt x="2338499" y="97591"/>
                  </a:cubicBezTo>
                  <a:cubicBezTo>
                    <a:pt x="2336002" y="95077"/>
                    <a:pt x="2336020" y="91026"/>
                    <a:pt x="2338534" y="88530"/>
                  </a:cubicBezTo>
                  <a:lnTo>
                    <a:pt x="2338656" y="88407"/>
                  </a:lnTo>
                  <a:cubicBezTo>
                    <a:pt x="2341170" y="85911"/>
                    <a:pt x="2345221" y="85928"/>
                    <a:pt x="2347717" y="88442"/>
                  </a:cubicBezTo>
                  <a:cubicBezTo>
                    <a:pt x="2350214" y="90956"/>
                    <a:pt x="2350197" y="95007"/>
                    <a:pt x="2347683" y="97504"/>
                  </a:cubicBezTo>
                  <a:lnTo>
                    <a:pt x="2347560" y="97626"/>
                  </a:lnTo>
                  <a:cubicBezTo>
                    <a:pt x="2346320" y="98865"/>
                    <a:pt x="2344679" y="99477"/>
                    <a:pt x="2343055" y="99477"/>
                  </a:cubicBezTo>
                  <a:close/>
                  <a:moveTo>
                    <a:pt x="2429584" y="12931"/>
                  </a:moveTo>
                  <a:cubicBezTo>
                    <a:pt x="2427943" y="12931"/>
                    <a:pt x="2426302" y="12302"/>
                    <a:pt x="2425044" y="11045"/>
                  </a:cubicBezTo>
                  <a:cubicBezTo>
                    <a:pt x="2422548" y="8531"/>
                    <a:pt x="2422565" y="4481"/>
                    <a:pt x="2425079" y="1984"/>
                  </a:cubicBezTo>
                  <a:lnTo>
                    <a:pt x="2425202" y="1862"/>
                  </a:lnTo>
                  <a:cubicBezTo>
                    <a:pt x="2427716" y="-635"/>
                    <a:pt x="2431766" y="-618"/>
                    <a:pt x="2434263" y="1897"/>
                  </a:cubicBezTo>
                  <a:cubicBezTo>
                    <a:pt x="2436759" y="4411"/>
                    <a:pt x="2436742" y="8461"/>
                    <a:pt x="2434228" y="10958"/>
                  </a:cubicBezTo>
                  <a:lnTo>
                    <a:pt x="2434106" y="11080"/>
                  </a:lnTo>
                  <a:cubicBezTo>
                    <a:pt x="2432849" y="12320"/>
                    <a:pt x="2431225" y="12931"/>
                    <a:pt x="2429602" y="12931"/>
                  </a:cubicBezTo>
                  <a:close/>
                </a:path>
              </a:pathLst>
            </a:custGeom>
            <a:grpFill/>
            <a:ln w="0"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BE6136D5-85C2-1F87-FA82-633BC74A0A6B}"/>
                </a:ext>
              </a:extLst>
            </p:cNvPr>
            <p:cNvSpPr/>
            <p:nvPr/>
          </p:nvSpPr>
          <p:spPr>
            <a:xfrm>
              <a:off x="6602108" y="2845818"/>
              <a:ext cx="2350757" cy="2350722"/>
            </a:xfrm>
            <a:custGeom>
              <a:avLst/>
              <a:gdLst>
                <a:gd name="connsiteX0" fmla="*/ 6984 w 2350757"/>
                <a:gd name="connsiteY0" fmla="*/ 2350722 h 2350722"/>
                <a:gd name="connsiteX1" fmla="*/ 2078 w 2350757"/>
                <a:gd name="connsiteY1" fmla="*/ 2348715 h 2350722"/>
                <a:gd name="connsiteX2" fmla="*/ 2008 w 2350757"/>
                <a:gd name="connsiteY2" fmla="*/ 2338833 h 2350722"/>
                <a:gd name="connsiteX3" fmla="*/ 2130 w 2350757"/>
                <a:gd name="connsiteY3" fmla="*/ 2338710 h 2350722"/>
                <a:gd name="connsiteX4" fmla="*/ 12012 w 2350757"/>
                <a:gd name="connsiteY4" fmla="*/ 2338641 h 2350722"/>
                <a:gd name="connsiteX5" fmla="*/ 12082 w 2350757"/>
                <a:gd name="connsiteY5" fmla="*/ 2348523 h 2350722"/>
                <a:gd name="connsiteX6" fmla="*/ 11960 w 2350757"/>
                <a:gd name="connsiteY6" fmla="*/ 2348645 h 2350722"/>
                <a:gd name="connsiteX7" fmla="*/ 6984 w 2350757"/>
                <a:gd name="connsiteY7" fmla="*/ 2350722 h 2350722"/>
                <a:gd name="connsiteX8" fmla="*/ 93564 w 2350757"/>
                <a:gd name="connsiteY8" fmla="*/ 2264090 h 2350722"/>
                <a:gd name="connsiteX9" fmla="*/ 88658 w 2350757"/>
                <a:gd name="connsiteY9" fmla="*/ 2262082 h 2350722"/>
                <a:gd name="connsiteX10" fmla="*/ 88589 w 2350757"/>
                <a:gd name="connsiteY10" fmla="*/ 2252270 h 2350722"/>
                <a:gd name="connsiteX11" fmla="*/ 88711 w 2350757"/>
                <a:gd name="connsiteY11" fmla="*/ 2252147 h 2350722"/>
                <a:gd name="connsiteX12" fmla="*/ 98593 w 2350757"/>
                <a:gd name="connsiteY12" fmla="*/ 2252147 h 2350722"/>
                <a:gd name="connsiteX13" fmla="*/ 98593 w 2350757"/>
                <a:gd name="connsiteY13" fmla="*/ 2262030 h 2350722"/>
                <a:gd name="connsiteX14" fmla="*/ 93564 w 2350757"/>
                <a:gd name="connsiteY14" fmla="*/ 2264107 h 2350722"/>
                <a:gd name="connsiteX15" fmla="*/ 180110 w 2350757"/>
                <a:gd name="connsiteY15" fmla="*/ 2177544 h 2350722"/>
                <a:gd name="connsiteX16" fmla="*/ 175204 w 2350757"/>
                <a:gd name="connsiteY16" fmla="*/ 2175536 h 2350722"/>
                <a:gd name="connsiteX17" fmla="*/ 175134 w 2350757"/>
                <a:gd name="connsiteY17" fmla="*/ 2165724 h 2350722"/>
                <a:gd name="connsiteX18" fmla="*/ 175256 w 2350757"/>
                <a:gd name="connsiteY18" fmla="*/ 2165602 h 2350722"/>
                <a:gd name="connsiteX19" fmla="*/ 185138 w 2350757"/>
                <a:gd name="connsiteY19" fmla="*/ 2165602 h 2350722"/>
                <a:gd name="connsiteX20" fmla="*/ 185138 w 2350757"/>
                <a:gd name="connsiteY20" fmla="*/ 2175484 h 2350722"/>
                <a:gd name="connsiteX21" fmla="*/ 180110 w 2350757"/>
                <a:gd name="connsiteY21" fmla="*/ 2177561 h 2350722"/>
                <a:gd name="connsiteX22" fmla="*/ 266621 w 2350757"/>
                <a:gd name="connsiteY22" fmla="*/ 2091103 h 2350722"/>
                <a:gd name="connsiteX23" fmla="*/ 261645 w 2350757"/>
                <a:gd name="connsiteY23" fmla="*/ 2089025 h 2350722"/>
                <a:gd name="connsiteX24" fmla="*/ 261715 w 2350757"/>
                <a:gd name="connsiteY24" fmla="*/ 2079144 h 2350722"/>
                <a:gd name="connsiteX25" fmla="*/ 261837 w 2350757"/>
                <a:gd name="connsiteY25" fmla="*/ 2079021 h 2350722"/>
                <a:gd name="connsiteX26" fmla="*/ 271719 w 2350757"/>
                <a:gd name="connsiteY26" fmla="*/ 2079091 h 2350722"/>
                <a:gd name="connsiteX27" fmla="*/ 271649 w 2350757"/>
                <a:gd name="connsiteY27" fmla="*/ 2088973 h 2350722"/>
                <a:gd name="connsiteX28" fmla="*/ 271527 w 2350757"/>
                <a:gd name="connsiteY28" fmla="*/ 2089095 h 2350722"/>
                <a:gd name="connsiteX29" fmla="*/ 266621 w 2350757"/>
                <a:gd name="connsiteY29" fmla="*/ 2091103 h 2350722"/>
                <a:gd name="connsiteX30" fmla="*/ 353166 w 2350757"/>
                <a:gd name="connsiteY30" fmla="*/ 2004558 h 2350722"/>
                <a:gd name="connsiteX31" fmla="*/ 348190 w 2350757"/>
                <a:gd name="connsiteY31" fmla="*/ 2002480 h 2350722"/>
                <a:gd name="connsiteX32" fmla="*/ 348260 w 2350757"/>
                <a:gd name="connsiteY32" fmla="*/ 1992598 h 2350722"/>
                <a:gd name="connsiteX33" fmla="*/ 348382 w 2350757"/>
                <a:gd name="connsiteY33" fmla="*/ 1992476 h 2350722"/>
                <a:gd name="connsiteX34" fmla="*/ 358264 w 2350757"/>
                <a:gd name="connsiteY34" fmla="*/ 1992545 h 2350722"/>
                <a:gd name="connsiteX35" fmla="*/ 358195 w 2350757"/>
                <a:gd name="connsiteY35" fmla="*/ 2002427 h 2350722"/>
                <a:gd name="connsiteX36" fmla="*/ 358072 w 2350757"/>
                <a:gd name="connsiteY36" fmla="*/ 2002550 h 2350722"/>
                <a:gd name="connsiteX37" fmla="*/ 353166 w 2350757"/>
                <a:gd name="connsiteY37" fmla="*/ 2004558 h 2350722"/>
                <a:gd name="connsiteX38" fmla="*/ 439712 w 2350757"/>
                <a:gd name="connsiteY38" fmla="*/ 1918012 h 2350722"/>
                <a:gd name="connsiteX39" fmla="*/ 434806 w 2350757"/>
                <a:gd name="connsiteY39" fmla="*/ 1916004 h 2350722"/>
                <a:gd name="connsiteX40" fmla="*/ 434736 w 2350757"/>
                <a:gd name="connsiteY40" fmla="*/ 1906122 h 2350722"/>
                <a:gd name="connsiteX41" fmla="*/ 434858 w 2350757"/>
                <a:gd name="connsiteY41" fmla="*/ 1906000 h 2350722"/>
                <a:gd name="connsiteX42" fmla="*/ 444740 w 2350757"/>
                <a:gd name="connsiteY42" fmla="*/ 1905930 h 2350722"/>
                <a:gd name="connsiteX43" fmla="*/ 444810 w 2350757"/>
                <a:gd name="connsiteY43" fmla="*/ 1915812 h 2350722"/>
                <a:gd name="connsiteX44" fmla="*/ 444688 w 2350757"/>
                <a:gd name="connsiteY44" fmla="*/ 1915934 h 2350722"/>
                <a:gd name="connsiteX45" fmla="*/ 439712 w 2350757"/>
                <a:gd name="connsiteY45" fmla="*/ 1918012 h 2350722"/>
                <a:gd name="connsiteX46" fmla="*/ 526240 w 2350757"/>
                <a:gd name="connsiteY46" fmla="*/ 1831466 h 2350722"/>
                <a:gd name="connsiteX47" fmla="*/ 521334 w 2350757"/>
                <a:gd name="connsiteY47" fmla="*/ 1829459 h 2350722"/>
                <a:gd name="connsiteX48" fmla="*/ 521264 w 2350757"/>
                <a:gd name="connsiteY48" fmla="*/ 1819576 h 2350722"/>
                <a:gd name="connsiteX49" fmla="*/ 521386 w 2350757"/>
                <a:gd name="connsiteY49" fmla="*/ 1819455 h 2350722"/>
                <a:gd name="connsiteX50" fmla="*/ 531268 w 2350757"/>
                <a:gd name="connsiteY50" fmla="*/ 1819385 h 2350722"/>
                <a:gd name="connsiteX51" fmla="*/ 531338 w 2350757"/>
                <a:gd name="connsiteY51" fmla="*/ 1829266 h 2350722"/>
                <a:gd name="connsiteX52" fmla="*/ 531216 w 2350757"/>
                <a:gd name="connsiteY52" fmla="*/ 1829389 h 2350722"/>
                <a:gd name="connsiteX53" fmla="*/ 526240 w 2350757"/>
                <a:gd name="connsiteY53" fmla="*/ 1831466 h 2350722"/>
                <a:gd name="connsiteX54" fmla="*/ 612820 w 2350757"/>
                <a:gd name="connsiteY54" fmla="*/ 1744834 h 2350722"/>
                <a:gd name="connsiteX55" fmla="*/ 607915 w 2350757"/>
                <a:gd name="connsiteY55" fmla="*/ 1742826 h 2350722"/>
                <a:gd name="connsiteX56" fmla="*/ 607845 w 2350757"/>
                <a:gd name="connsiteY56" fmla="*/ 1733014 h 2350722"/>
                <a:gd name="connsiteX57" fmla="*/ 607967 w 2350757"/>
                <a:gd name="connsiteY57" fmla="*/ 1732891 h 2350722"/>
                <a:gd name="connsiteX58" fmla="*/ 617849 w 2350757"/>
                <a:gd name="connsiteY58" fmla="*/ 1732891 h 2350722"/>
                <a:gd name="connsiteX59" fmla="*/ 617849 w 2350757"/>
                <a:gd name="connsiteY59" fmla="*/ 1742773 h 2350722"/>
                <a:gd name="connsiteX60" fmla="*/ 612820 w 2350757"/>
                <a:gd name="connsiteY60" fmla="*/ 1744851 h 2350722"/>
                <a:gd name="connsiteX61" fmla="*/ 699331 w 2350757"/>
                <a:gd name="connsiteY61" fmla="*/ 1658375 h 2350722"/>
                <a:gd name="connsiteX62" fmla="*/ 694355 w 2350757"/>
                <a:gd name="connsiteY62" fmla="*/ 1656297 h 2350722"/>
                <a:gd name="connsiteX63" fmla="*/ 694425 w 2350757"/>
                <a:gd name="connsiteY63" fmla="*/ 1646416 h 2350722"/>
                <a:gd name="connsiteX64" fmla="*/ 694547 w 2350757"/>
                <a:gd name="connsiteY64" fmla="*/ 1646293 h 2350722"/>
                <a:gd name="connsiteX65" fmla="*/ 704429 w 2350757"/>
                <a:gd name="connsiteY65" fmla="*/ 1646363 h 2350722"/>
                <a:gd name="connsiteX66" fmla="*/ 704360 w 2350757"/>
                <a:gd name="connsiteY66" fmla="*/ 1656245 h 2350722"/>
                <a:gd name="connsiteX67" fmla="*/ 704237 w 2350757"/>
                <a:gd name="connsiteY67" fmla="*/ 1656367 h 2350722"/>
                <a:gd name="connsiteX68" fmla="*/ 699331 w 2350757"/>
                <a:gd name="connsiteY68" fmla="*/ 1658375 h 2350722"/>
                <a:gd name="connsiteX69" fmla="*/ 785877 w 2350757"/>
                <a:gd name="connsiteY69" fmla="*/ 1571847 h 2350722"/>
                <a:gd name="connsiteX70" fmla="*/ 780901 w 2350757"/>
                <a:gd name="connsiteY70" fmla="*/ 1569770 h 2350722"/>
                <a:gd name="connsiteX71" fmla="*/ 780971 w 2350757"/>
                <a:gd name="connsiteY71" fmla="*/ 1559887 h 2350722"/>
                <a:gd name="connsiteX72" fmla="*/ 781093 w 2350757"/>
                <a:gd name="connsiteY72" fmla="*/ 1559765 h 2350722"/>
                <a:gd name="connsiteX73" fmla="*/ 790975 w 2350757"/>
                <a:gd name="connsiteY73" fmla="*/ 1559835 h 2350722"/>
                <a:gd name="connsiteX74" fmla="*/ 790905 w 2350757"/>
                <a:gd name="connsiteY74" fmla="*/ 1569717 h 2350722"/>
                <a:gd name="connsiteX75" fmla="*/ 790783 w 2350757"/>
                <a:gd name="connsiteY75" fmla="*/ 1569839 h 2350722"/>
                <a:gd name="connsiteX76" fmla="*/ 785877 w 2350757"/>
                <a:gd name="connsiteY76" fmla="*/ 1571847 h 2350722"/>
                <a:gd name="connsiteX77" fmla="*/ 872440 w 2350757"/>
                <a:gd name="connsiteY77" fmla="*/ 1485196 h 2350722"/>
                <a:gd name="connsiteX78" fmla="*/ 867534 w 2350757"/>
                <a:gd name="connsiteY78" fmla="*/ 1483189 h 2350722"/>
                <a:gd name="connsiteX79" fmla="*/ 867464 w 2350757"/>
                <a:gd name="connsiteY79" fmla="*/ 1473377 h 2350722"/>
                <a:gd name="connsiteX80" fmla="*/ 867586 w 2350757"/>
                <a:gd name="connsiteY80" fmla="*/ 1473255 h 2350722"/>
                <a:gd name="connsiteX81" fmla="*/ 877468 w 2350757"/>
                <a:gd name="connsiteY81" fmla="*/ 1473255 h 2350722"/>
                <a:gd name="connsiteX82" fmla="*/ 877468 w 2350757"/>
                <a:gd name="connsiteY82" fmla="*/ 1483136 h 2350722"/>
                <a:gd name="connsiteX83" fmla="*/ 872440 w 2350757"/>
                <a:gd name="connsiteY83" fmla="*/ 1485214 h 2350722"/>
                <a:gd name="connsiteX84" fmla="*/ 958950 w 2350757"/>
                <a:gd name="connsiteY84" fmla="*/ 1398756 h 2350722"/>
                <a:gd name="connsiteX85" fmla="*/ 954045 w 2350757"/>
                <a:gd name="connsiteY85" fmla="*/ 1396748 h 2350722"/>
                <a:gd name="connsiteX86" fmla="*/ 953975 w 2350757"/>
                <a:gd name="connsiteY86" fmla="*/ 1386866 h 2350722"/>
                <a:gd name="connsiteX87" fmla="*/ 954097 w 2350757"/>
                <a:gd name="connsiteY87" fmla="*/ 1386744 h 2350722"/>
                <a:gd name="connsiteX88" fmla="*/ 963979 w 2350757"/>
                <a:gd name="connsiteY88" fmla="*/ 1386674 h 2350722"/>
                <a:gd name="connsiteX89" fmla="*/ 964049 w 2350757"/>
                <a:gd name="connsiteY89" fmla="*/ 1396556 h 2350722"/>
                <a:gd name="connsiteX90" fmla="*/ 963926 w 2350757"/>
                <a:gd name="connsiteY90" fmla="*/ 1396678 h 2350722"/>
                <a:gd name="connsiteX91" fmla="*/ 958950 w 2350757"/>
                <a:gd name="connsiteY91" fmla="*/ 1398756 h 2350722"/>
                <a:gd name="connsiteX92" fmla="*/ 1045496 w 2350757"/>
                <a:gd name="connsiteY92" fmla="*/ 1312210 h 2350722"/>
                <a:gd name="connsiteX93" fmla="*/ 1040590 w 2350757"/>
                <a:gd name="connsiteY93" fmla="*/ 1310202 h 2350722"/>
                <a:gd name="connsiteX94" fmla="*/ 1040520 w 2350757"/>
                <a:gd name="connsiteY94" fmla="*/ 1300321 h 2350722"/>
                <a:gd name="connsiteX95" fmla="*/ 1040642 w 2350757"/>
                <a:gd name="connsiteY95" fmla="*/ 1300198 h 2350722"/>
                <a:gd name="connsiteX96" fmla="*/ 1050524 w 2350757"/>
                <a:gd name="connsiteY96" fmla="*/ 1300128 h 2350722"/>
                <a:gd name="connsiteX97" fmla="*/ 1050594 w 2350757"/>
                <a:gd name="connsiteY97" fmla="*/ 1310010 h 2350722"/>
                <a:gd name="connsiteX98" fmla="*/ 1050472 w 2350757"/>
                <a:gd name="connsiteY98" fmla="*/ 1310133 h 2350722"/>
                <a:gd name="connsiteX99" fmla="*/ 1045496 w 2350757"/>
                <a:gd name="connsiteY99" fmla="*/ 1312210 h 2350722"/>
                <a:gd name="connsiteX100" fmla="*/ 1132042 w 2350757"/>
                <a:gd name="connsiteY100" fmla="*/ 1225665 h 2350722"/>
                <a:gd name="connsiteX101" fmla="*/ 1127066 w 2350757"/>
                <a:gd name="connsiteY101" fmla="*/ 1223587 h 2350722"/>
                <a:gd name="connsiteX102" fmla="*/ 1127136 w 2350757"/>
                <a:gd name="connsiteY102" fmla="*/ 1213705 h 2350722"/>
                <a:gd name="connsiteX103" fmla="*/ 1127258 w 2350757"/>
                <a:gd name="connsiteY103" fmla="*/ 1213583 h 2350722"/>
                <a:gd name="connsiteX104" fmla="*/ 1137140 w 2350757"/>
                <a:gd name="connsiteY104" fmla="*/ 1213653 h 2350722"/>
                <a:gd name="connsiteX105" fmla="*/ 1137070 w 2350757"/>
                <a:gd name="connsiteY105" fmla="*/ 1223535 h 2350722"/>
                <a:gd name="connsiteX106" fmla="*/ 1136948 w 2350757"/>
                <a:gd name="connsiteY106" fmla="*/ 1223657 h 2350722"/>
                <a:gd name="connsiteX107" fmla="*/ 1132042 w 2350757"/>
                <a:gd name="connsiteY107" fmla="*/ 1225665 h 2350722"/>
                <a:gd name="connsiteX108" fmla="*/ 1218587 w 2350757"/>
                <a:gd name="connsiteY108" fmla="*/ 1139136 h 2350722"/>
                <a:gd name="connsiteX109" fmla="*/ 1213611 w 2350757"/>
                <a:gd name="connsiteY109" fmla="*/ 1137059 h 2350722"/>
                <a:gd name="connsiteX110" fmla="*/ 1213681 w 2350757"/>
                <a:gd name="connsiteY110" fmla="*/ 1127177 h 2350722"/>
                <a:gd name="connsiteX111" fmla="*/ 1213804 w 2350757"/>
                <a:gd name="connsiteY111" fmla="*/ 1127055 h 2350722"/>
                <a:gd name="connsiteX112" fmla="*/ 1223685 w 2350757"/>
                <a:gd name="connsiteY112" fmla="*/ 1127125 h 2350722"/>
                <a:gd name="connsiteX113" fmla="*/ 1223615 w 2350757"/>
                <a:gd name="connsiteY113" fmla="*/ 1137006 h 2350722"/>
                <a:gd name="connsiteX114" fmla="*/ 1223493 w 2350757"/>
                <a:gd name="connsiteY114" fmla="*/ 1137129 h 2350722"/>
                <a:gd name="connsiteX115" fmla="*/ 1218587 w 2350757"/>
                <a:gd name="connsiteY115" fmla="*/ 1139136 h 2350722"/>
                <a:gd name="connsiteX116" fmla="*/ 1305133 w 2350757"/>
                <a:gd name="connsiteY116" fmla="*/ 1052591 h 2350722"/>
                <a:gd name="connsiteX117" fmla="*/ 1300227 w 2350757"/>
                <a:gd name="connsiteY117" fmla="*/ 1050583 h 2350722"/>
                <a:gd name="connsiteX118" fmla="*/ 1300157 w 2350757"/>
                <a:gd name="connsiteY118" fmla="*/ 1040701 h 2350722"/>
                <a:gd name="connsiteX119" fmla="*/ 1300279 w 2350757"/>
                <a:gd name="connsiteY119" fmla="*/ 1040579 h 2350722"/>
                <a:gd name="connsiteX120" fmla="*/ 1310161 w 2350757"/>
                <a:gd name="connsiteY120" fmla="*/ 1040509 h 2350722"/>
                <a:gd name="connsiteX121" fmla="*/ 1310231 w 2350757"/>
                <a:gd name="connsiteY121" fmla="*/ 1050391 h 2350722"/>
                <a:gd name="connsiteX122" fmla="*/ 1310109 w 2350757"/>
                <a:gd name="connsiteY122" fmla="*/ 1050513 h 2350722"/>
                <a:gd name="connsiteX123" fmla="*/ 1305133 w 2350757"/>
                <a:gd name="connsiteY123" fmla="*/ 1052591 h 2350722"/>
                <a:gd name="connsiteX124" fmla="*/ 1391678 w 2350757"/>
                <a:gd name="connsiteY124" fmla="*/ 966045 h 2350722"/>
                <a:gd name="connsiteX125" fmla="*/ 1386772 w 2350757"/>
                <a:gd name="connsiteY125" fmla="*/ 964037 h 2350722"/>
                <a:gd name="connsiteX126" fmla="*/ 1386702 w 2350757"/>
                <a:gd name="connsiteY126" fmla="*/ 954156 h 2350722"/>
                <a:gd name="connsiteX127" fmla="*/ 1386825 w 2350757"/>
                <a:gd name="connsiteY127" fmla="*/ 954033 h 2350722"/>
                <a:gd name="connsiteX128" fmla="*/ 1396707 w 2350757"/>
                <a:gd name="connsiteY128" fmla="*/ 953964 h 2350722"/>
                <a:gd name="connsiteX129" fmla="*/ 1396776 w 2350757"/>
                <a:gd name="connsiteY129" fmla="*/ 963846 h 2350722"/>
                <a:gd name="connsiteX130" fmla="*/ 1396654 w 2350757"/>
                <a:gd name="connsiteY130" fmla="*/ 963968 h 2350722"/>
                <a:gd name="connsiteX131" fmla="*/ 1391678 w 2350757"/>
                <a:gd name="connsiteY131" fmla="*/ 966045 h 2350722"/>
                <a:gd name="connsiteX132" fmla="*/ 1478242 w 2350757"/>
                <a:gd name="connsiteY132" fmla="*/ 879412 h 2350722"/>
                <a:gd name="connsiteX133" fmla="*/ 1473335 w 2350757"/>
                <a:gd name="connsiteY133" fmla="*/ 877405 h 2350722"/>
                <a:gd name="connsiteX134" fmla="*/ 1473266 w 2350757"/>
                <a:gd name="connsiteY134" fmla="*/ 867592 h 2350722"/>
                <a:gd name="connsiteX135" fmla="*/ 1473388 w 2350757"/>
                <a:gd name="connsiteY135" fmla="*/ 867470 h 2350722"/>
                <a:gd name="connsiteX136" fmla="*/ 1483270 w 2350757"/>
                <a:gd name="connsiteY136" fmla="*/ 867470 h 2350722"/>
                <a:gd name="connsiteX137" fmla="*/ 1483270 w 2350757"/>
                <a:gd name="connsiteY137" fmla="*/ 877352 h 2350722"/>
                <a:gd name="connsiteX138" fmla="*/ 1478242 w 2350757"/>
                <a:gd name="connsiteY138" fmla="*/ 879430 h 2350722"/>
                <a:gd name="connsiteX139" fmla="*/ 1564752 w 2350757"/>
                <a:gd name="connsiteY139" fmla="*/ 792954 h 2350722"/>
                <a:gd name="connsiteX140" fmla="*/ 1559776 w 2350757"/>
                <a:gd name="connsiteY140" fmla="*/ 790876 h 2350722"/>
                <a:gd name="connsiteX141" fmla="*/ 1559846 w 2350757"/>
                <a:gd name="connsiteY141" fmla="*/ 780995 h 2350722"/>
                <a:gd name="connsiteX142" fmla="*/ 1559969 w 2350757"/>
                <a:gd name="connsiteY142" fmla="*/ 780872 h 2350722"/>
                <a:gd name="connsiteX143" fmla="*/ 1569850 w 2350757"/>
                <a:gd name="connsiteY143" fmla="*/ 780942 h 2350722"/>
                <a:gd name="connsiteX144" fmla="*/ 1569780 w 2350757"/>
                <a:gd name="connsiteY144" fmla="*/ 790824 h 2350722"/>
                <a:gd name="connsiteX145" fmla="*/ 1569658 w 2350757"/>
                <a:gd name="connsiteY145" fmla="*/ 790946 h 2350722"/>
                <a:gd name="connsiteX146" fmla="*/ 1564752 w 2350757"/>
                <a:gd name="connsiteY146" fmla="*/ 792954 h 2350722"/>
                <a:gd name="connsiteX147" fmla="*/ 1651298 w 2350757"/>
                <a:gd name="connsiteY147" fmla="*/ 706409 h 2350722"/>
                <a:gd name="connsiteX148" fmla="*/ 1646322 w 2350757"/>
                <a:gd name="connsiteY148" fmla="*/ 704331 h 2350722"/>
                <a:gd name="connsiteX149" fmla="*/ 1646392 w 2350757"/>
                <a:gd name="connsiteY149" fmla="*/ 694449 h 2350722"/>
                <a:gd name="connsiteX150" fmla="*/ 1646514 w 2350757"/>
                <a:gd name="connsiteY150" fmla="*/ 694327 h 2350722"/>
                <a:gd name="connsiteX151" fmla="*/ 1656396 w 2350757"/>
                <a:gd name="connsiteY151" fmla="*/ 694397 h 2350722"/>
                <a:gd name="connsiteX152" fmla="*/ 1656326 w 2350757"/>
                <a:gd name="connsiteY152" fmla="*/ 704279 h 2350722"/>
                <a:gd name="connsiteX153" fmla="*/ 1656204 w 2350757"/>
                <a:gd name="connsiteY153" fmla="*/ 704401 h 2350722"/>
                <a:gd name="connsiteX154" fmla="*/ 1651298 w 2350757"/>
                <a:gd name="connsiteY154" fmla="*/ 706409 h 2350722"/>
                <a:gd name="connsiteX155" fmla="*/ 1737878 w 2350757"/>
                <a:gd name="connsiteY155" fmla="*/ 619776 h 2350722"/>
                <a:gd name="connsiteX156" fmla="*/ 1732972 w 2350757"/>
                <a:gd name="connsiteY156" fmla="*/ 617768 h 2350722"/>
                <a:gd name="connsiteX157" fmla="*/ 1732902 w 2350757"/>
                <a:gd name="connsiteY157" fmla="*/ 607956 h 2350722"/>
                <a:gd name="connsiteX158" fmla="*/ 1733025 w 2350757"/>
                <a:gd name="connsiteY158" fmla="*/ 607834 h 2350722"/>
                <a:gd name="connsiteX159" fmla="*/ 1742906 w 2350757"/>
                <a:gd name="connsiteY159" fmla="*/ 607834 h 2350722"/>
                <a:gd name="connsiteX160" fmla="*/ 1742906 w 2350757"/>
                <a:gd name="connsiteY160" fmla="*/ 617716 h 2350722"/>
                <a:gd name="connsiteX161" fmla="*/ 1737878 w 2350757"/>
                <a:gd name="connsiteY161" fmla="*/ 619793 h 2350722"/>
                <a:gd name="connsiteX162" fmla="*/ 1824407 w 2350757"/>
                <a:gd name="connsiteY162" fmla="*/ 533230 h 2350722"/>
                <a:gd name="connsiteX163" fmla="*/ 1819500 w 2350757"/>
                <a:gd name="connsiteY163" fmla="*/ 531222 h 2350722"/>
                <a:gd name="connsiteX164" fmla="*/ 1819430 w 2350757"/>
                <a:gd name="connsiteY164" fmla="*/ 521410 h 2350722"/>
                <a:gd name="connsiteX165" fmla="*/ 1819552 w 2350757"/>
                <a:gd name="connsiteY165" fmla="*/ 521288 h 2350722"/>
                <a:gd name="connsiteX166" fmla="*/ 1829435 w 2350757"/>
                <a:gd name="connsiteY166" fmla="*/ 521288 h 2350722"/>
                <a:gd name="connsiteX167" fmla="*/ 1829435 w 2350757"/>
                <a:gd name="connsiteY167" fmla="*/ 531170 h 2350722"/>
                <a:gd name="connsiteX168" fmla="*/ 1824407 w 2350757"/>
                <a:gd name="connsiteY168" fmla="*/ 533248 h 2350722"/>
                <a:gd name="connsiteX169" fmla="*/ 1910917 w 2350757"/>
                <a:gd name="connsiteY169" fmla="*/ 446789 h 2350722"/>
                <a:gd name="connsiteX170" fmla="*/ 1905959 w 2350757"/>
                <a:gd name="connsiteY170" fmla="*/ 444729 h 2350722"/>
                <a:gd name="connsiteX171" fmla="*/ 1905994 w 2350757"/>
                <a:gd name="connsiteY171" fmla="*/ 434847 h 2350722"/>
                <a:gd name="connsiteX172" fmla="*/ 1906116 w 2350757"/>
                <a:gd name="connsiteY172" fmla="*/ 434725 h 2350722"/>
                <a:gd name="connsiteX173" fmla="*/ 1915998 w 2350757"/>
                <a:gd name="connsiteY173" fmla="*/ 434760 h 2350722"/>
                <a:gd name="connsiteX174" fmla="*/ 1915963 w 2350757"/>
                <a:gd name="connsiteY174" fmla="*/ 444642 h 2350722"/>
                <a:gd name="connsiteX175" fmla="*/ 1915841 w 2350757"/>
                <a:gd name="connsiteY175" fmla="*/ 444764 h 2350722"/>
                <a:gd name="connsiteX176" fmla="*/ 1910917 w 2350757"/>
                <a:gd name="connsiteY176" fmla="*/ 446789 h 2350722"/>
                <a:gd name="connsiteX177" fmla="*/ 1997463 w 2350757"/>
                <a:gd name="connsiteY177" fmla="*/ 360244 h 2350722"/>
                <a:gd name="connsiteX178" fmla="*/ 1992504 w 2350757"/>
                <a:gd name="connsiteY178" fmla="*/ 358184 h 2350722"/>
                <a:gd name="connsiteX179" fmla="*/ 1992539 w 2350757"/>
                <a:gd name="connsiteY179" fmla="*/ 348302 h 2350722"/>
                <a:gd name="connsiteX180" fmla="*/ 1992662 w 2350757"/>
                <a:gd name="connsiteY180" fmla="*/ 348179 h 2350722"/>
                <a:gd name="connsiteX181" fmla="*/ 2002543 w 2350757"/>
                <a:gd name="connsiteY181" fmla="*/ 348214 h 2350722"/>
                <a:gd name="connsiteX182" fmla="*/ 2002508 w 2350757"/>
                <a:gd name="connsiteY182" fmla="*/ 358096 h 2350722"/>
                <a:gd name="connsiteX183" fmla="*/ 2002386 w 2350757"/>
                <a:gd name="connsiteY183" fmla="*/ 358218 h 2350722"/>
                <a:gd name="connsiteX184" fmla="*/ 1997463 w 2350757"/>
                <a:gd name="connsiteY184" fmla="*/ 360244 h 2350722"/>
                <a:gd name="connsiteX185" fmla="*/ 2084043 w 2350757"/>
                <a:gd name="connsiteY185" fmla="*/ 273611 h 2350722"/>
                <a:gd name="connsiteX186" fmla="*/ 2079137 w 2350757"/>
                <a:gd name="connsiteY186" fmla="*/ 271603 h 2350722"/>
                <a:gd name="connsiteX187" fmla="*/ 2079067 w 2350757"/>
                <a:gd name="connsiteY187" fmla="*/ 261791 h 2350722"/>
                <a:gd name="connsiteX188" fmla="*/ 2079189 w 2350757"/>
                <a:gd name="connsiteY188" fmla="*/ 261669 h 2350722"/>
                <a:gd name="connsiteX189" fmla="*/ 2089071 w 2350757"/>
                <a:gd name="connsiteY189" fmla="*/ 261669 h 2350722"/>
                <a:gd name="connsiteX190" fmla="*/ 2089071 w 2350757"/>
                <a:gd name="connsiteY190" fmla="*/ 271551 h 2350722"/>
                <a:gd name="connsiteX191" fmla="*/ 2084043 w 2350757"/>
                <a:gd name="connsiteY191" fmla="*/ 273628 h 2350722"/>
                <a:gd name="connsiteX192" fmla="*/ 2170589 w 2350757"/>
                <a:gd name="connsiteY192" fmla="*/ 187065 h 2350722"/>
                <a:gd name="connsiteX193" fmla="*/ 2165682 w 2350757"/>
                <a:gd name="connsiteY193" fmla="*/ 185057 h 2350722"/>
                <a:gd name="connsiteX194" fmla="*/ 2165612 w 2350757"/>
                <a:gd name="connsiteY194" fmla="*/ 175245 h 2350722"/>
                <a:gd name="connsiteX195" fmla="*/ 2165735 w 2350757"/>
                <a:gd name="connsiteY195" fmla="*/ 175123 h 2350722"/>
                <a:gd name="connsiteX196" fmla="*/ 2175617 w 2350757"/>
                <a:gd name="connsiteY196" fmla="*/ 175123 h 2350722"/>
                <a:gd name="connsiteX197" fmla="*/ 2175617 w 2350757"/>
                <a:gd name="connsiteY197" fmla="*/ 185005 h 2350722"/>
                <a:gd name="connsiteX198" fmla="*/ 2170589 w 2350757"/>
                <a:gd name="connsiteY198" fmla="*/ 187083 h 2350722"/>
                <a:gd name="connsiteX199" fmla="*/ 2257117 w 2350757"/>
                <a:gd name="connsiteY199" fmla="*/ 100520 h 2350722"/>
                <a:gd name="connsiteX200" fmla="*/ 2252229 w 2350757"/>
                <a:gd name="connsiteY200" fmla="*/ 98529 h 2350722"/>
                <a:gd name="connsiteX201" fmla="*/ 2252141 w 2350757"/>
                <a:gd name="connsiteY201" fmla="*/ 88717 h 2350722"/>
                <a:gd name="connsiteX202" fmla="*/ 2252263 w 2350757"/>
                <a:gd name="connsiteY202" fmla="*/ 88595 h 2350722"/>
                <a:gd name="connsiteX203" fmla="*/ 2262145 w 2350757"/>
                <a:gd name="connsiteY203" fmla="*/ 88560 h 2350722"/>
                <a:gd name="connsiteX204" fmla="*/ 2262180 w 2350757"/>
                <a:gd name="connsiteY204" fmla="*/ 98442 h 2350722"/>
                <a:gd name="connsiteX205" fmla="*/ 2257135 w 2350757"/>
                <a:gd name="connsiteY205" fmla="*/ 100537 h 2350722"/>
                <a:gd name="connsiteX206" fmla="*/ 2343663 w 2350757"/>
                <a:gd name="connsiteY206" fmla="*/ 13991 h 2350722"/>
                <a:gd name="connsiteX207" fmla="*/ 2338774 w 2350757"/>
                <a:gd name="connsiteY207" fmla="*/ 12001 h 2350722"/>
                <a:gd name="connsiteX208" fmla="*/ 2338687 w 2350757"/>
                <a:gd name="connsiteY208" fmla="*/ 2189 h 2350722"/>
                <a:gd name="connsiteX209" fmla="*/ 2338809 w 2350757"/>
                <a:gd name="connsiteY209" fmla="*/ 2067 h 2350722"/>
                <a:gd name="connsiteX210" fmla="*/ 2348691 w 2350757"/>
                <a:gd name="connsiteY210" fmla="*/ 2032 h 2350722"/>
                <a:gd name="connsiteX211" fmla="*/ 2348726 w 2350757"/>
                <a:gd name="connsiteY211" fmla="*/ 11914 h 2350722"/>
                <a:gd name="connsiteX212" fmla="*/ 2343680 w 2350757"/>
                <a:gd name="connsiteY212" fmla="*/ 14009 h 235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2350757" h="2350722">
                  <a:moveTo>
                    <a:pt x="6984" y="2350722"/>
                  </a:moveTo>
                  <a:cubicBezTo>
                    <a:pt x="5221" y="2350722"/>
                    <a:pt x="3440" y="2350059"/>
                    <a:pt x="2078" y="2348715"/>
                  </a:cubicBezTo>
                  <a:cubicBezTo>
                    <a:pt x="-663" y="2346008"/>
                    <a:pt x="-698" y="2341591"/>
                    <a:pt x="2008" y="2338833"/>
                  </a:cubicBezTo>
                  <a:lnTo>
                    <a:pt x="2130" y="2338710"/>
                  </a:lnTo>
                  <a:cubicBezTo>
                    <a:pt x="4836" y="2335952"/>
                    <a:pt x="9253" y="2335934"/>
                    <a:pt x="12012" y="2338641"/>
                  </a:cubicBezTo>
                  <a:cubicBezTo>
                    <a:pt x="14753" y="2341347"/>
                    <a:pt x="14788" y="2345764"/>
                    <a:pt x="12082" y="2348523"/>
                  </a:cubicBezTo>
                  <a:lnTo>
                    <a:pt x="11960" y="2348645"/>
                  </a:lnTo>
                  <a:cubicBezTo>
                    <a:pt x="10598" y="2350024"/>
                    <a:pt x="8800" y="2350722"/>
                    <a:pt x="6984" y="2350722"/>
                  </a:cubicBezTo>
                  <a:close/>
                  <a:moveTo>
                    <a:pt x="93564" y="2264090"/>
                  </a:moveTo>
                  <a:cubicBezTo>
                    <a:pt x="91783" y="2264090"/>
                    <a:pt x="90003" y="2263426"/>
                    <a:pt x="88658" y="2262082"/>
                  </a:cubicBezTo>
                  <a:cubicBezTo>
                    <a:pt x="85935" y="2259358"/>
                    <a:pt x="85865" y="2254993"/>
                    <a:pt x="88589" y="2252270"/>
                  </a:cubicBezTo>
                  <a:lnTo>
                    <a:pt x="88711" y="2252147"/>
                  </a:lnTo>
                  <a:cubicBezTo>
                    <a:pt x="91434" y="2249424"/>
                    <a:pt x="95852" y="2249424"/>
                    <a:pt x="98593" y="2252147"/>
                  </a:cubicBezTo>
                  <a:cubicBezTo>
                    <a:pt x="101316" y="2254871"/>
                    <a:pt x="101316" y="2259288"/>
                    <a:pt x="98593" y="2262030"/>
                  </a:cubicBezTo>
                  <a:cubicBezTo>
                    <a:pt x="97213" y="2263409"/>
                    <a:pt x="95380" y="2264107"/>
                    <a:pt x="93564" y="2264107"/>
                  </a:cubicBezTo>
                  <a:close/>
                  <a:moveTo>
                    <a:pt x="180110" y="2177544"/>
                  </a:moveTo>
                  <a:cubicBezTo>
                    <a:pt x="178329" y="2177544"/>
                    <a:pt x="176548" y="2176881"/>
                    <a:pt x="175204" y="2175536"/>
                  </a:cubicBezTo>
                  <a:cubicBezTo>
                    <a:pt x="172480" y="2172812"/>
                    <a:pt x="172410" y="2168448"/>
                    <a:pt x="175134" y="2165724"/>
                  </a:cubicBezTo>
                  <a:lnTo>
                    <a:pt x="175256" y="2165602"/>
                  </a:lnTo>
                  <a:cubicBezTo>
                    <a:pt x="177980" y="2162878"/>
                    <a:pt x="182415" y="2162878"/>
                    <a:pt x="185138" y="2165602"/>
                  </a:cubicBezTo>
                  <a:cubicBezTo>
                    <a:pt x="187862" y="2168325"/>
                    <a:pt x="187862" y="2172743"/>
                    <a:pt x="185138" y="2175484"/>
                  </a:cubicBezTo>
                  <a:cubicBezTo>
                    <a:pt x="183759" y="2176863"/>
                    <a:pt x="181926" y="2177561"/>
                    <a:pt x="180110" y="2177561"/>
                  </a:cubicBezTo>
                  <a:close/>
                  <a:moveTo>
                    <a:pt x="266621" y="2091103"/>
                  </a:moveTo>
                  <a:cubicBezTo>
                    <a:pt x="264822" y="2091103"/>
                    <a:pt x="263007" y="2090405"/>
                    <a:pt x="261645" y="2089025"/>
                  </a:cubicBezTo>
                  <a:cubicBezTo>
                    <a:pt x="258938" y="2086284"/>
                    <a:pt x="258973" y="2081849"/>
                    <a:pt x="261715" y="2079144"/>
                  </a:cubicBezTo>
                  <a:lnTo>
                    <a:pt x="261837" y="2079021"/>
                  </a:lnTo>
                  <a:cubicBezTo>
                    <a:pt x="264578" y="2076315"/>
                    <a:pt x="269013" y="2076332"/>
                    <a:pt x="271719" y="2079091"/>
                  </a:cubicBezTo>
                  <a:cubicBezTo>
                    <a:pt x="274425" y="2081832"/>
                    <a:pt x="274390" y="2086267"/>
                    <a:pt x="271649" y="2088973"/>
                  </a:cubicBezTo>
                  <a:lnTo>
                    <a:pt x="271527" y="2089095"/>
                  </a:lnTo>
                  <a:cubicBezTo>
                    <a:pt x="270165" y="2090440"/>
                    <a:pt x="268402" y="2091103"/>
                    <a:pt x="266621" y="2091103"/>
                  </a:cubicBezTo>
                  <a:close/>
                  <a:moveTo>
                    <a:pt x="353166" y="2004558"/>
                  </a:moveTo>
                  <a:cubicBezTo>
                    <a:pt x="351368" y="2004558"/>
                    <a:pt x="349552" y="2003859"/>
                    <a:pt x="348190" y="2002480"/>
                  </a:cubicBezTo>
                  <a:cubicBezTo>
                    <a:pt x="345484" y="1999739"/>
                    <a:pt x="345519" y="1995304"/>
                    <a:pt x="348260" y="1992598"/>
                  </a:cubicBezTo>
                  <a:lnTo>
                    <a:pt x="348382" y="1992476"/>
                  </a:lnTo>
                  <a:cubicBezTo>
                    <a:pt x="351124" y="1989769"/>
                    <a:pt x="355541" y="1989787"/>
                    <a:pt x="358264" y="1992545"/>
                  </a:cubicBezTo>
                  <a:cubicBezTo>
                    <a:pt x="360970" y="1995287"/>
                    <a:pt x="360936" y="1999721"/>
                    <a:pt x="358195" y="2002427"/>
                  </a:cubicBezTo>
                  <a:lnTo>
                    <a:pt x="358072" y="2002550"/>
                  </a:lnTo>
                  <a:cubicBezTo>
                    <a:pt x="356710" y="2003894"/>
                    <a:pt x="354947" y="2004558"/>
                    <a:pt x="353166" y="2004558"/>
                  </a:cubicBezTo>
                  <a:close/>
                  <a:moveTo>
                    <a:pt x="439712" y="1918012"/>
                  </a:moveTo>
                  <a:cubicBezTo>
                    <a:pt x="437948" y="1918012"/>
                    <a:pt x="436168" y="1917348"/>
                    <a:pt x="434806" y="1916004"/>
                  </a:cubicBezTo>
                  <a:cubicBezTo>
                    <a:pt x="432065" y="1913298"/>
                    <a:pt x="432030" y="1908881"/>
                    <a:pt x="434736" y="1906122"/>
                  </a:cubicBezTo>
                  <a:lnTo>
                    <a:pt x="434858" y="1906000"/>
                  </a:lnTo>
                  <a:cubicBezTo>
                    <a:pt x="437564" y="1903242"/>
                    <a:pt x="441982" y="1903224"/>
                    <a:pt x="444740" y="1905930"/>
                  </a:cubicBezTo>
                  <a:cubicBezTo>
                    <a:pt x="447499" y="1908636"/>
                    <a:pt x="447516" y="1913053"/>
                    <a:pt x="444810" y="1915812"/>
                  </a:cubicBezTo>
                  <a:lnTo>
                    <a:pt x="444688" y="1915934"/>
                  </a:lnTo>
                  <a:cubicBezTo>
                    <a:pt x="443326" y="1917313"/>
                    <a:pt x="441510" y="1918012"/>
                    <a:pt x="439712" y="1918012"/>
                  </a:cubicBezTo>
                  <a:close/>
                  <a:moveTo>
                    <a:pt x="526240" y="1831466"/>
                  </a:moveTo>
                  <a:cubicBezTo>
                    <a:pt x="524477" y="1831466"/>
                    <a:pt x="522696" y="1830803"/>
                    <a:pt x="521334" y="1829459"/>
                  </a:cubicBezTo>
                  <a:cubicBezTo>
                    <a:pt x="518593" y="1826752"/>
                    <a:pt x="518558" y="1822335"/>
                    <a:pt x="521264" y="1819576"/>
                  </a:cubicBezTo>
                  <a:lnTo>
                    <a:pt x="521386" y="1819455"/>
                  </a:lnTo>
                  <a:cubicBezTo>
                    <a:pt x="524093" y="1816713"/>
                    <a:pt x="528510" y="1816678"/>
                    <a:pt x="531268" y="1819385"/>
                  </a:cubicBezTo>
                  <a:cubicBezTo>
                    <a:pt x="534009" y="1822091"/>
                    <a:pt x="534044" y="1826508"/>
                    <a:pt x="531338" y="1829266"/>
                  </a:cubicBezTo>
                  <a:lnTo>
                    <a:pt x="531216" y="1829389"/>
                  </a:lnTo>
                  <a:cubicBezTo>
                    <a:pt x="529854" y="1830768"/>
                    <a:pt x="528038" y="1831466"/>
                    <a:pt x="526240" y="1831466"/>
                  </a:cubicBezTo>
                  <a:close/>
                  <a:moveTo>
                    <a:pt x="612820" y="1744834"/>
                  </a:moveTo>
                  <a:cubicBezTo>
                    <a:pt x="611040" y="1744834"/>
                    <a:pt x="609259" y="1744170"/>
                    <a:pt x="607915" y="1742826"/>
                  </a:cubicBezTo>
                  <a:cubicBezTo>
                    <a:pt x="605191" y="1740102"/>
                    <a:pt x="605121" y="1735737"/>
                    <a:pt x="607845" y="1733014"/>
                  </a:cubicBezTo>
                  <a:lnTo>
                    <a:pt x="607967" y="1732891"/>
                  </a:lnTo>
                  <a:cubicBezTo>
                    <a:pt x="610690" y="1730168"/>
                    <a:pt x="615125" y="1730168"/>
                    <a:pt x="617849" y="1732891"/>
                  </a:cubicBezTo>
                  <a:cubicBezTo>
                    <a:pt x="620573" y="1735615"/>
                    <a:pt x="620573" y="1740032"/>
                    <a:pt x="617849" y="1742773"/>
                  </a:cubicBezTo>
                  <a:cubicBezTo>
                    <a:pt x="616469" y="1744152"/>
                    <a:pt x="614636" y="1744851"/>
                    <a:pt x="612820" y="1744851"/>
                  </a:cubicBezTo>
                  <a:close/>
                  <a:moveTo>
                    <a:pt x="699331" y="1658375"/>
                  </a:moveTo>
                  <a:cubicBezTo>
                    <a:pt x="697533" y="1658375"/>
                    <a:pt x="695717" y="1657677"/>
                    <a:pt x="694355" y="1656297"/>
                  </a:cubicBezTo>
                  <a:cubicBezTo>
                    <a:pt x="691649" y="1653557"/>
                    <a:pt x="691684" y="1649122"/>
                    <a:pt x="694425" y="1646416"/>
                  </a:cubicBezTo>
                  <a:lnTo>
                    <a:pt x="694547" y="1646293"/>
                  </a:lnTo>
                  <a:cubicBezTo>
                    <a:pt x="697288" y="1643587"/>
                    <a:pt x="701723" y="1643605"/>
                    <a:pt x="704429" y="1646363"/>
                  </a:cubicBezTo>
                  <a:cubicBezTo>
                    <a:pt x="707135" y="1649104"/>
                    <a:pt x="707100" y="1653539"/>
                    <a:pt x="704360" y="1656245"/>
                  </a:cubicBezTo>
                  <a:lnTo>
                    <a:pt x="704237" y="1656367"/>
                  </a:lnTo>
                  <a:cubicBezTo>
                    <a:pt x="702875" y="1657712"/>
                    <a:pt x="701112" y="1658375"/>
                    <a:pt x="699331" y="1658375"/>
                  </a:cubicBezTo>
                  <a:close/>
                  <a:moveTo>
                    <a:pt x="785877" y="1571847"/>
                  </a:moveTo>
                  <a:cubicBezTo>
                    <a:pt x="784078" y="1571847"/>
                    <a:pt x="782263" y="1571149"/>
                    <a:pt x="780901" y="1569770"/>
                  </a:cubicBezTo>
                  <a:cubicBezTo>
                    <a:pt x="778195" y="1567028"/>
                    <a:pt x="778230" y="1562594"/>
                    <a:pt x="780971" y="1559887"/>
                  </a:cubicBezTo>
                  <a:lnTo>
                    <a:pt x="781093" y="1559765"/>
                  </a:lnTo>
                  <a:cubicBezTo>
                    <a:pt x="783834" y="1557059"/>
                    <a:pt x="788269" y="1557077"/>
                    <a:pt x="790975" y="1559835"/>
                  </a:cubicBezTo>
                  <a:cubicBezTo>
                    <a:pt x="793681" y="1562576"/>
                    <a:pt x="793646" y="1567011"/>
                    <a:pt x="790905" y="1569717"/>
                  </a:cubicBezTo>
                  <a:lnTo>
                    <a:pt x="790783" y="1569839"/>
                  </a:lnTo>
                  <a:cubicBezTo>
                    <a:pt x="789421" y="1571183"/>
                    <a:pt x="787658" y="1571847"/>
                    <a:pt x="785877" y="1571847"/>
                  </a:cubicBezTo>
                  <a:close/>
                  <a:moveTo>
                    <a:pt x="872440" y="1485196"/>
                  </a:moveTo>
                  <a:cubicBezTo>
                    <a:pt x="870659" y="1485196"/>
                    <a:pt x="868878" y="1484533"/>
                    <a:pt x="867534" y="1483189"/>
                  </a:cubicBezTo>
                  <a:cubicBezTo>
                    <a:pt x="864810" y="1480465"/>
                    <a:pt x="864740" y="1476100"/>
                    <a:pt x="867464" y="1473377"/>
                  </a:cubicBezTo>
                  <a:lnTo>
                    <a:pt x="867586" y="1473255"/>
                  </a:lnTo>
                  <a:cubicBezTo>
                    <a:pt x="870310" y="1470531"/>
                    <a:pt x="874744" y="1470531"/>
                    <a:pt x="877468" y="1473255"/>
                  </a:cubicBezTo>
                  <a:cubicBezTo>
                    <a:pt x="880192" y="1475978"/>
                    <a:pt x="880192" y="1480395"/>
                    <a:pt x="877468" y="1483136"/>
                  </a:cubicBezTo>
                  <a:cubicBezTo>
                    <a:pt x="876089" y="1484516"/>
                    <a:pt x="874256" y="1485214"/>
                    <a:pt x="872440" y="1485214"/>
                  </a:cubicBezTo>
                  <a:close/>
                  <a:moveTo>
                    <a:pt x="958950" y="1398756"/>
                  </a:moveTo>
                  <a:cubicBezTo>
                    <a:pt x="957187" y="1398756"/>
                    <a:pt x="955406" y="1398092"/>
                    <a:pt x="954045" y="1396748"/>
                  </a:cubicBezTo>
                  <a:cubicBezTo>
                    <a:pt x="951303" y="1394042"/>
                    <a:pt x="951268" y="1389624"/>
                    <a:pt x="953975" y="1386866"/>
                  </a:cubicBezTo>
                  <a:lnTo>
                    <a:pt x="954097" y="1386744"/>
                  </a:lnTo>
                  <a:cubicBezTo>
                    <a:pt x="956803" y="1383985"/>
                    <a:pt x="961220" y="1383968"/>
                    <a:pt x="963979" y="1386674"/>
                  </a:cubicBezTo>
                  <a:cubicBezTo>
                    <a:pt x="966720" y="1389380"/>
                    <a:pt x="966755" y="1393797"/>
                    <a:pt x="964049" y="1396556"/>
                  </a:cubicBezTo>
                  <a:lnTo>
                    <a:pt x="963926" y="1396678"/>
                  </a:lnTo>
                  <a:cubicBezTo>
                    <a:pt x="962564" y="1398057"/>
                    <a:pt x="960766" y="1398756"/>
                    <a:pt x="958950" y="1398756"/>
                  </a:cubicBezTo>
                  <a:close/>
                  <a:moveTo>
                    <a:pt x="1045496" y="1312210"/>
                  </a:moveTo>
                  <a:cubicBezTo>
                    <a:pt x="1043733" y="1312210"/>
                    <a:pt x="1041952" y="1311547"/>
                    <a:pt x="1040590" y="1310202"/>
                  </a:cubicBezTo>
                  <a:cubicBezTo>
                    <a:pt x="1037849" y="1307496"/>
                    <a:pt x="1037814" y="1303079"/>
                    <a:pt x="1040520" y="1300321"/>
                  </a:cubicBezTo>
                  <a:lnTo>
                    <a:pt x="1040642" y="1300198"/>
                  </a:lnTo>
                  <a:cubicBezTo>
                    <a:pt x="1043349" y="1297457"/>
                    <a:pt x="1047766" y="1297422"/>
                    <a:pt x="1050524" y="1300128"/>
                  </a:cubicBezTo>
                  <a:cubicBezTo>
                    <a:pt x="1053265" y="1302835"/>
                    <a:pt x="1053300" y="1307252"/>
                    <a:pt x="1050594" y="1310010"/>
                  </a:cubicBezTo>
                  <a:lnTo>
                    <a:pt x="1050472" y="1310133"/>
                  </a:lnTo>
                  <a:cubicBezTo>
                    <a:pt x="1049110" y="1311512"/>
                    <a:pt x="1047312" y="1312210"/>
                    <a:pt x="1045496" y="1312210"/>
                  </a:cubicBezTo>
                  <a:close/>
                  <a:moveTo>
                    <a:pt x="1132042" y="1225665"/>
                  </a:moveTo>
                  <a:cubicBezTo>
                    <a:pt x="1130243" y="1225665"/>
                    <a:pt x="1128428" y="1224966"/>
                    <a:pt x="1127066" y="1223587"/>
                  </a:cubicBezTo>
                  <a:cubicBezTo>
                    <a:pt x="1124360" y="1220846"/>
                    <a:pt x="1124394" y="1216411"/>
                    <a:pt x="1127136" y="1213705"/>
                  </a:cubicBezTo>
                  <a:lnTo>
                    <a:pt x="1127258" y="1213583"/>
                  </a:lnTo>
                  <a:cubicBezTo>
                    <a:pt x="1129999" y="1210877"/>
                    <a:pt x="1134416" y="1210894"/>
                    <a:pt x="1137140" y="1213653"/>
                  </a:cubicBezTo>
                  <a:cubicBezTo>
                    <a:pt x="1139846" y="1216394"/>
                    <a:pt x="1139811" y="1220828"/>
                    <a:pt x="1137070" y="1223535"/>
                  </a:cubicBezTo>
                  <a:lnTo>
                    <a:pt x="1136948" y="1223657"/>
                  </a:lnTo>
                  <a:cubicBezTo>
                    <a:pt x="1135586" y="1225001"/>
                    <a:pt x="1133823" y="1225665"/>
                    <a:pt x="1132042" y="1225665"/>
                  </a:cubicBezTo>
                  <a:close/>
                  <a:moveTo>
                    <a:pt x="1218587" y="1139136"/>
                  </a:moveTo>
                  <a:cubicBezTo>
                    <a:pt x="1216789" y="1139136"/>
                    <a:pt x="1214973" y="1138438"/>
                    <a:pt x="1213611" y="1137059"/>
                  </a:cubicBezTo>
                  <a:cubicBezTo>
                    <a:pt x="1210905" y="1134318"/>
                    <a:pt x="1210940" y="1129883"/>
                    <a:pt x="1213681" y="1127177"/>
                  </a:cubicBezTo>
                  <a:lnTo>
                    <a:pt x="1213804" y="1127055"/>
                  </a:lnTo>
                  <a:cubicBezTo>
                    <a:pt x="1216544" y="1124348"/>
                    <a:pt x="1220962" y="1124366"/>
                    <a:pt x="1223685" y="1127125"/>
                  </a:cubicBezTo>
                  <a:cubicBezTo>
                    <a:pt x="1226392" y="1129866"/>
                    <a:pt x="1226357" y="1134300"/>
                    <a:pt x="1223615" y="1137006"/>
                  </a:cubicBezTo>
                  <a:lnTo>
                    <a:pt x="1223493" y="1137129"/>
                  </a:lnTo>
                  <a:cubicBezTo>
                    <a:pt x="1222132" y="1138473"/>
                    <a:pt x="1220368" y="1139136"/>
                    <a:pt x="1218587" y="1139136"/>
                  </a:cubicBezTo>
                  <a:close/>
                  <a:moveTo>
                    <a:pt x="1305133" y="1052591"/>
                  </a:moveTo>
                  <a:cubicBezTo>
                    <a:pt x="1303369" y="1052591"/>
                    <a:pt x="1301588" y="1051927"/>
                    <a:pt x="1300227" y="1050583"/>
                  </a:cubicBezTo>
                  <a:cubicBezTo>
                    <a:pt x="1297486" y="1047877"/>
                    <a:pt x="1297451" y="1043460"/>
                    <a:pt x="1300157" y="1040701"/>
                  </a:cubicBezTo>
                  <a:lnTo>
                    <a:pt x="1300279" y="1040579"/>
                  </a:lnTo>
                  <a:cubicBezTo>
                    <a:pt x="1302985" y="1037838"/>
                    <a:pt x="1307402" y="1037803"/>
                    <a:pt x="1310161" y="1040509"/>
                  </a:cubicBezTo>
                  <a:cubicBezTo>
                    <a:pt x="1312902" y="1043215"/>
                    <a:pt x="1312937" y="1047633"/>
                    <a:pt x="1310231" y="1050391"/>
                  </a:cubicBezTo>
                  <a:lnTo>
                    <a:pt x="1310109" y="1050513"/>
                  </a:lnTo>
                  <a:cubicBezTo>
                    <a:pt x="1308747" y="1051893"/>
                    <a:pt x="1306949" y="1052591"/>
                    <a:pt x="1305133" y="1052591"/>
                  </a:cubicBezTo>
                  <a:close/>
                  <a:moveTo>
                    <a:pt x="1391678" y="966045"/>
                  </a:moveTo>
                  <a:cubicBezTo>
                    <a:pt x="1389915" y="966045"/>
                    <a:pt x="1388134" y="965382"/>
                    <a:pt x="1386772" y="964037"/>
                  </a:cubicBezTo>
                  <a:cubicBezTo>
                    <a:pt x="1384031" y="961332"/>
                    <a:pt x="1383996" y="956914"/>
                    <a:pt x="1386702" y="954156"/>
                  </a:cubicBezTo>
                  <a:lnTo>
                    <a:pt x="1386825" y="954033"/>
                  </a:lnTo>
                  <a:cubicBezTo>
                    <a:pt x="1389531" y="951275"/>
                    <a:pt x="1393948" y="951257"/>
                    <a:pt x="1396707" y="953964"/>
                  </a:cubicBezTo>
                  <a:cubicBezTo>
                    <a:pt x="1399448" y="956670"/>
                    <a:pt x="1399483" y="961087"/>
                    <a:pt x="1396776" y="963846"/>
                  </a:cubicBezTo>
                  <a:lnTo>
                    <a:pt x="1396654" y="963968"/>
                  </a:lnTo>
                  <a:cubicBezTo>
                    <a:pt x="1395293" y="965347"/>
                    <a:pt x="1393477" y="966045"/>
                    <a:pt x="1391678" y="966045"/>
                  </a:cubicBezTo>
                  <a:close/>
                  <a:moveTo>
                    <a:pt x="1478242" y="879412"/>
                  </a:moveTo>
                  <a:cubicBezTo>
                    <a:pt x="1476461" y="879412"/>
                    <a:pt x="1474680" y="878749"/>
                    <a:pt x="1473335" y="877405"/>
                  </a:cubicBezTo>
                  <a:cubicBezTo>
                    <a:pt x="1470612" y="874681"/>
                    <a:pt x="1470542" y="870316"/>
                    <a:pt x="1473266" y="867592"/>
                  </a:cubicBezTo>
                  <a:lnTo>
                    <a:pt x="1473388" y="867470"/>
                  </a:lnTo>
                  <a:cubicBezTo>
                    <a:pt x="1476112" y="864747"/>
                    <a:pt x="1480546" y="864747"/>
                    <a:pt x="1483270" y="867470"/>
                  </a:cubicBezTo>
                  <a:cubicBezTo>
                    <a:pt x="1485993" y="870194"/>
                    <a:pt x="1485993" y="874611"/>
                    <a:pt x="1483270" y="877352"/>
                  </a:cubicBezTo>
                  <a:cubicBezTo>
                    <a:pt x="1481890" y="878732"/>
                    <a:pt x="1480057" y="879430"/>
                    <a:pt x="1478242" y="879430"/>
                  </a:cubicBezTo>
                  <a:close/>
                  <a:moveTo>
                    <a:pt x="1564752" y="792954"/>
                  </a:moveTo>
                  <a:cubicBezTo>
                    <a:pt x="1562954" y="792954"/>
                    <a:pt x="1561138" y="792256"/>
                    <a:pt x="1559776" y="790876"/>
                  </a:cubicBezTo>
                  <a:cubicBezTo>
                    <a:pt x="1557070" y="788135"/>
                    <a:pt x="1557105" y="783701"/>
                    <a:pt x="1559846" y="780995"/>
                  </a:cubicBezTo>
                  <a:lnTo>
                    <a:pt x="1559969" y="780872"/>
                  </a:lnTo>
                  <a:cubicBezTo>
                    <a:pt x="1562709" y="778166"/>
                    <a:pt x="1567144" y="778184"/>
                    <a:pt x="1569850" y="780942"/>
                  </a:cubicBezTo>
                  <a:cubicBezTo>
                    <a:pt x="1572557" y="783683"/>
                    <a:pt x="1572522" y="788118"/>
                    <a:pt x="1569780" y="790824"/>
                  </a:cubicBezTo>
                  <a:lnTo>
                    <a:pt x="1569658" y="790946"/>
                  </a:lnTo>
                  <a:cubicBezTo>
                    <a:pt x="1568296" y="792291"/>
                    <a:pt x="1566533" y="792954"/>
                    <a:pt x="1564752" y="792954"/>
                  </a:cubicBezTo>
                  <a:close/>
                  <a:moveTo>
                    <a:pt x="1651298" y="706409"/>
                  </a:moveTo>
                  <a:cubicBezTo>
                    <a:pt x="1649499" y="706409"/>
                    <a:pt x="1647684" y="705710"/>
                    <a:pt x="1646322" y="704331"/>
                  </a:cubicBezTo>
                  <a:cubicBezTo>
                    <a:pt x="1643616" y="701590"/>
                    <a:pt x="1643651" y="697155"/>
                    <a:pt x="1646392" y="694449"/>
                  </a:cubicBezTo>
                  <a:lnTo>
                    <a:pt x="1646514" y="694327"/>
                  </a:lnTo>
                  <a:cubicBezTo>
                    <a:pt x="1649255" y="691621"/>
                    <a:pt x="1653690" y="691638"/>
                    <a:pt x="1656396" y="694397"/>
                  </a:cubicBezTo>
                  <a:cubicBezTo>
                    <a:pt x="1659102" y="697138"/>
                    <a:pt x="1659067" y="701572"/>
                    <a:pt x="1656326" y="704279"/>
                  </a:cubicBezTo>
                  <a:lnTo>
                    <a:pt x="1656204" y="704401"/>
                  </a:lnTo>
                  <a:cubicBezTo>
                    <a:pt x="1654842" y="705745"/>
                    <a:pt x="1653078" y="706409"/>
                    <a:pt x="1651298" y="706409"/>
                  </a:cubicBezTo>
                  <a:close/>
                  <a:moveTo>
                    <a:pt x="1737878" y="619776"/>
                  </a:moveTo>
                  <a:cubicBezTo>
                    <a:pt x="1736097" y="619776"/>
                    <a:pt x="1734317" y="619112"/>
                    <a:pt x="1732972" y="617768"/>
                  </a:cubicBezTo>
                  <a:cubicBezTo>
                    <a:pt x="1730248" y="615044"/>
                    <a:pt x="1730179" y="610679"/>
                    <a:pt x="1732902" y="607956"/>
                  </a:cubicBezTo>
                  <a:lnTo>
                    <a:pt x="1733025" y="607834"/>
                  </a:lnTo>
                  <a:cubicBezTo>
                    <a:pt x="1735748" y="605110"/>
                    <a:pt x="1740183" y="605110"/>
                    <a:pt x="1742906" y="607834"/>
                  </a:cubicBezTo>
                  <a:cubicBezTo>
                    <a:pt x="1745630" y="610557"/>
                    <a:pt x="1745630" y="614974"/>
                    <a:pt x="1742906" y="617716"/>
                  </a:cubicBezTo>
                  <a:cubicBezTo>
                    <a:pt x="1741527" y="619095"/>
                    <a:pt x="1739694" y="619793"/>
                    <a:pt x="1737878" y="619793"/>
                  </a:cubicBezTo>
                  <a:close/>
                  <a:moveTo>
                    <a:pt x="1824407" y="533230"/>
                  </a:moveTo>
                  <a:cubicBezTo>
                    <a:pt x="1822626" y="533230"/>
                    <a:pt x="1820845" y="532567"/>
                    <a:pt x="1819500" y="531222"/>
                  </a:cubicBezTo>
                  <a:cubicBezTo>
                    <a:pt x="1816777" y="528499"/>
                    <a:pt x="1816707" y="524134"/>
                    <a:pt x="1819430" y="521410"/>
                  </a:cubicBezTo>
                  <a:lnTo>
                    <a:pt x="1819552" y="521288"/>
                  </a:lnTo>
                  <a:cubicBezTo>
                    <a:pt x="1822276" y="518564"/>
                    <a:pt x="1826711" y="518564"/>
                    <a:pt x="1829435" y="521288"/>
                  </a:cubicBezTo>
                  <a:cubicBezTo>
                    <a:pt x="1832158" y="524012"/>
                    <a:pt x="1832158" y="528429"/>
                    <a:pt x="1829435" y="531170"/>
                  </a:cubicBezTo>
                  <a:cubicBezTo>
                    <a:pt x="1828055" y="532549"/>
                    <a:pt x="1826222" y="533248"/>
                    <a:pt x="1824407" y="533248"/>
                  </a:cubicBezTo>
                  <a:close/>
                  <a:moveTo>
                    <a:pt x="1910917" y="446789"/>
                  </a:moveTo>
                  <a:cubicBezTo>
                    <a:pt x="1909119" y="446789"/>
                    <a:pt x="1907320" y="446108"/>
                    <a:pt x="1905959" y="444729"/>
                  </a:cubicBezTo>
                  <a:cubicBezTo>
                    <a:pt x="1903235" y="441988"/>
                    <a:pt x="1903253" y="437571"/>
                    <a:pt x="1905994" y="434847"/>
                  </a:cubicBezTo>
                  <a:lnTo>
                    <a:pt x="1906116" y="434725"/>
                  </a:lnTo>
                  <a:cubicBezTo>
                    <a:pt x="1908857" y="432001"/>
                    <a:pt x="1913274" y="432019"/>
                    <a:pt x="1915998" y="434760"/>
                  </a:cubicBezTo>
                  <a:cubicBezTo>
                    <a:pt x="1918721" y="437501"/>
                    <a:pt x="1918704" y="441918"/>
                    <a:pt x="1915963" y="444642"/>
                  </a:cubicBezTo>
                  <a:lnTo>
                    <a:pt x="1915841" y="444764"/>
                  </a:lnTo>
                  <a:cubicBezTo>
                    <a:pt x="1914479" y="446126"/>
                    <a:pt x="1912698" y="446789"/>
                    <a:pt x="1910917" y="446789"/>
                  </a:cubicBezTo>
                  <a:close/>
                  <a:moveTo>
                    <a:pt x="1997463" y="360244"/>
                  </a:moveTo>
                  <a:cubicBezTo>
                    <a:pt x="1995664" y="360244"/>
                    <a:pt x="1993866" y="359563"/>
                    <a:pt x="1992504" y="358184"/>
                  </a:cubicBezTo>
                  <a:cubicBezTo>
                    <a:pt x="1989780" y="355443"/>
                    <a:pt x="1989798" y="351025"/>
                    <a:pt x="1992539" y="348302"/>
                  </a:cubicBezTo>
                  <a:lnTo>
                    <a:pt x="1992662" y="348179"/>
                  </a:lnTo>
                  <a:cubicBezTo>
                    <a:pt x="1995402" y="345456"/>
                    <a:pt x="1999819" y="345473"/>
                    <a:pt x="2002543" y="348214"/>
                  </a:cubicBezTo>
                  <a:cubicBezTo>
                    <a:pt x="2005267" y="350955"/>
                    <a:pt x="2005250" y="355373"/>
                    <a:pt x="2002508" y="358096"/>
                  </a:cubicBezTo>
                  <a:lnTo>
                    <a:pt x="2002386" y="358218"/>
                  </a:lnTo>
                  <a:cubicBezTo>
                    <a:pt x="2001025" y="359563"/>
                    <a:pt x="1999244" y="360244"/>
                    <a:pt x="1997463" y="360244"/>
                  </a:cubicBezTo>
                  <a:close/>
                  <a:moveTo>
                    <a:pt x="2084043" y="273611"/>
                  </a:moveTo>
                  <a:cubicBezTo>
                    <a:pt x="2082262" y="273611"/>
                    <a:pt x="2080481" y="272947"/>
                    <a:pt x="2079137" y="271603"/>
                  </a:cubicBezTo>
                  <a:cubicBezTo>
                    <a:pt x="2076413" y="268879"/>
                    <a:pt x="2076343" y="264515"/>
                    <a:pt x="2079067" y="261791"/>
                  </a:cubicBezTo>
                  <a:lnTo>
                    <a:pt x="2079189" y="261669"/>
                  </a:lnTo>
                  <a:cubicBezTo>
                    <a:pt x="2081913" y="258945"/>
                    <a:pt x="2086348" y="258945"/>
                    <a:pt x="2089071" y="261669"/>
                  </a:cubicBezTo>
                  <a:cubicBezTo>
                    <a:pt x="2091795" y="264392"/>
                    <a:pt x="2091795" y="268827"/>
                    <a:pt x="2089071" y="271551"/>
                  </a:cubicBezTo>
                  <a:cubicBezTo>
                    <a:pt x="2087692" y="272930"/>
                    <a:pt x="2085859" y="273628"/>
                    <a:pt x="2084043" y="273628"/>
                  </a:cubicBezTo>
                  <a:close/>
                  <a:moveTo>
                    <a:pt x="2170589" y="187065"/>
                  </a:moveTo>
                  <a:cubicBezTo>
                    <a:pt x="2168808" y="187065"/>
                    <a:pt x="2167027" y="186402"/>
                    <a:pt x="2165682" y="185057"/>
                  </a:cubicBezTo>
                  <a:cubicBezTo>
                    <a:pt x="2162959" y="182334"/>
                    <a:pt x="2162890" y="177969"/>
                    <a:pt x="2165612" y="175245"/>
                  </a:cubicBezTo>
                  <a:lnTo>
                    <a:pt x="2165735" y="175123"/>
                  </a:lnTo>
                  <a:cubicBezTo>
                    <a:pt x="2168459" y="172399"/>
                    <a:pt x="2172894" y="172399"/>
                    <a:pt x="2175617" y="175123"/>
                  </a:cubicBezTo>
                  <a:cubicBezTo>
                    <a:pt x="2178340" y="177847"/>
                    <a:pt x="2178340" y="182264"/>
                    <a:pt x="2175617" y="185005"/>
                  </a:cubicBezTo>
                  <a:cubicBezTo>
                    <a:pt x="2174238" y="186384"/>
                    <a:pt x="2172404" y="187083"/>
                    <a:pt x="2170589" y="187083"/>
                  </a:cubicBezTo>
                  <a:close/>
                  <a:moveTo>
                    <a:pt x="2257117" y="100520"/>
                  </a:moveTo>
                  <a:cubicBezTo>
                    <a:pt x="2255336" y="100520"/>
                    <a:pt x="2253573" y="99856"/>
                    <a:pt x="2252229" y="98529"/>
                  </a:cubicBezTo>
                  <a:cubicBezTo>
                    <a:pt x="2249487" y="95806"/>
                    <a:pt x="2249417" y="91458"/>
                    <a:pt x="2252141" y="88717"/>
                  </a:cubicBezTo>
                  <a:lnTo>
                    <a:pt x="2252263" y="88595"/>
                  </a:lnTo>
                  <a:cubicBezTo>
                    <a:pt x="2254969" y="85854"/>
                    <a:pt x="2259404" y="85836"/>
                    <a:pt x="2262145" y="88560"/>
                  </a:cubicBezTo>
                  <a:cubicBezTo>
                    <a:pt x="2264886" y="91284"/>
                    <a:pt x="2264904" y="95701"/>
                    <a:pt x="2262180" y="98442"/>
                  </a:cubicBezTo>
                  <a:cubicBezTo>
                    <a:pt x="2260800" y="99839"/>
                    <a:pt x="2258968" y="100537"/>
                    <a:pt x="2257135" y="100537"/>
                  </a:cubicBezTo>
                  <a:close/>
                  <a:moveTo>
                    <a:pt x="2343663" y="13991"/>
                  </a:moveTo>
                  <a:cubicBezTo>
                    <a:pt x="2341882" y="13991"/>
                    <a:pt x="2340118" y="13328"/>
                    <a:pt x="2338774" y="12001"/>
                  </a:cubicBezTo>
                  <a:cubicBezTo>
                    <a:pt x="2336033" y="9278"/>
                    <a:pt x="2335963" y="4930"/>
                    <a:pt x="2338687" y="2189"/>
                  </a:cubicBezTo>
                  <a:lnTo>
                    <a:pt x="2338809" y="2067"/>
                  </a:lnTo>
                  <a:cubicBezTo>
                    <a:pt x="2341515" y="-674"/>
                    <a:pt x="2345949" y="-692"/>
                    <a:pt x="2348691" y="2032"/>
                  </a:cubicBezTo>
                  <a:cubicBezTo>
                    <a:pt x="2351432" y="4755"/>
                    <a:pt x="2351450" y="9173"/>
                    <a:pt x="2348726" y="11914"/>
                  </a:cubicBezTo>
                  <a:cubicBezTo>
                    <a:pt x="2347347" y="13311"/>
                    <a:pt x="2345513" y="14009"/>
                    <a:pt x="2343680" y="14009"/>
                  </a:cubicBezTo>
                  <a:close/>
                </a:path>
              </a:pathLst>
            </a:custGeom>
            <a:grpFill/>
            <a:ln w="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9261A73-6726-4E7E-686A-B87C0AA60A6A}"/>
                </a:ext>
              </a:extLst>
            </p:cNvPr>
            <p:cNvSpPr/>
            <p:nvPr/>
          </p:nvSpPr>
          <p:spPr>
            <a:xfrm>
              <a:off x="6750638" y="2991974"/>
              <a:ext cx="2178792" cy="2178744"/>
            </a:xfrm>
            <a:custGeom>
              <a:avLst/>
              <a:gdLst>
                <a:gd name="connsiteX0" fmla="*/ 7573 w 2178792"/>
                <a:gd name="connsiteY0" fmla="*/ 2178727 h 2178744"/>
                <a:gd name="connsiteX1" fmla="*/ 2248 w 2178792"/>
                <a:gd name="connsiteY1" fmla="*/ 2176545 h 2178744"/>
                <a:gd name="connsiteX2" fmla="*/ 2178 w 2178792"/>
                <a:gd name="connsiteY2" fmla="*/ 2165912 h 2178744"/>
                <a:gd name="connsiteX3" fmla="*/ 2301 w 2178792"/>
                <a:gd name="connsiteY3" fmla="*/ 2165789 h 2178744"/>
                <a:gd name="connsiteX4" fmla="*/ 13003 w 2178792"/>
                <a:gd name="connsiteY4" fmla="*/ 2165789 h 2178744"/>
                <a:gd name="connsiteX5" fmla="*/ 13003 w 2178792"/>
                <a:gd name="connsiteY5" fmla="*/ 2176492 h 2178744"/>
                <a:gd name="connsiteX6" fmla="*/ 7556 w 2178792"/>
                <a:gd name="connsiteY6" fmla="*/ 2178744 h 2178744"/>
                <a:gd name="connsiteX7" fmla="*/ 94119 w 2178792"/>
                <a:gd name="connsiteY7" fmla="*/ 2092181 h 2178744"/>
                <a:gd name="connsiteX8" fmla="*/ 88794 w 2178792"/>
                <a:gd name="connsiteY8" fmla="*/ 2089999 h 2178744"/>
                <a:gd name="connsiteX9" fmla="*/ 88724 w 2178792"/>
                <a:gd name="connsiteY9" fmla="*/ 2079366 h 2178744"/>
                <a:gd name="connsiteX10" fmla="*/ 88846 w 2178792"/>
                <a:gd name="connsiteY10" fmla="*/ 2079244 h 2178744"/>
                <a:gd name="connsiteX11" fmla="*/ 99549 w 2178792"/>
                <a:gd name="connsiteY11" fmla="*/ 2079244 h 2178744"/>
                <a:gd name="connsiteX12" fmla="*/ 99549 w 2178792"/>
                <a:gd name="connsiteY12" fmla="*/ 2089946 h 2178744"/>
                <a:gd name="connsiteX13" fmla="*/ 94102 w 2178792"/>
                <a:gd name="connsiteY13" fmla="*/ 2092199 h 2178744"/>
                <a:gd name="connsiteX14" fmla="*/ 180664 w 2178792"/>
                <a:gd name="connsiteY14" fmla="*/ 2005635 h 2178744"/>
                <a:gd name="connsiteX15" fmla="*/ 175339 w 2178792"/>
                <a:gd name="connsiteY15" fmla="*/ 2003453 h 2178744"/>
                <a:gd name="connsiteX16" fmla="*/ 175270 w 2178792"/>
                <a:gd name="connsiteY16" fmla="*/ 1992821 h 2178744"/>
                <a:gd name="connsiteX17" fmla="*/ 175392 w 2178792"/>
                <a:gd name="connsiteY17" fmla="*/ 1992698 h 2178744"/>
                <a:gd name="connsiteX18" fmla="*/ 186094 w 2178792"/>
                <a:gd name="connsiteY18" fmla="*/ 1992698 h 2178744"/>
                <a:gd name="connsiteX19" fmla="*/ 186094 w 2178792"/>
                <a:gd name="connsiteY19" fmla="*/ 2003401 h 2178744"/>
                <a:gd name="connsiteX20" fmla="*/ 180647 w 2178792"/>
                <a:gd name="connsiteY20" fmla="*/ 2005653 h 2178744"/>
                <a:gd name="connsiteX21" fmla="*/ 267175 w 2178792"/>
                <a:gd name="connsiteY21" fmla="*/ 1919177 h 2178744"/>
                <a:gd name="connsiteX22" fmla="*/ 261832 w 2178792"/>
                <a:gd name="connsiteY22" fmla="*/ 1916960 h 2178744"/>
                <a:gd name="connsiteX23" fmla="*/ 261832 w 2178792"/>
                <a:gd name="connsiteY23" fmla="*/ 1906257 h 2178744"/>
                <a:gd name="connsiteX24" fmla="*/ 261955 w 2178792"/>
                <a:gd name="connsiteY24" fmla="*/ 1906135 h 2178744"/>
                <a:gd name="connsiteX25" fmla="*/ 272658 w 2178792"/>
                <a:gd name="connsiteY25" fmla="*/ 1906135 h 2178744"/>
                <a:gd name="connsiteX26" fmla="*/ 272658 w 2178792"/>
                <a:gd name="connsiteY26" fmla="*/ 1916838 h 2178744"/>
                <a:gd name="connsiteX27" fmla="*/ 272535 w 2178792"/>
                <a:gd name="connsiteY27" fmla="*/ 1916960 h 2178744"/>
                <a:gd name="connsiteX28" fmla="*/ 267193 w 2178792"/>
                <a:gd name="connsiteY28" fmla="*/ 1919177 h 2178744"/>
                <a:gd name="connsiteX29" fmla="*/ 353721 w 2178792"/>
                <a:gd name="connsiteY29" fmla="*/ 1832632 h 2178744"/>
                <a:gd name="connsiteX30" fmla="*/ 348378 w 2178792"/>
                <a:gd name="connsiteY30" fmla="*/ 1830414 h 2178744"/>
                <a:gd name="connsiteX31" fmla="*/ 348378 w 2178792"/>
                <a:gd name="connsiteY31" fmla="*/ 1819712 h 2178744"/>
                <a:gd name="connsiteX32" fmla="*/ 348500 w 2178792"/>
                <a:gd name="connsiteY32" fmla="*/ 1819589 h 2178744"/>
                <a:gd name="connsiteX33" fmla="*/ 359203 w 2178792"/>
                <a:gd name="connsiteY33" fmla="*/ 1819589 h 2178744"/>
                <a:gd name="connsiteX34" fmla="*/ 359203 w 2178792"/>
                <a:gd name="connsiteY34" fmla="*/ 1830292 h 2178744"/>
                <a:gd name="connsiteX35" fmla="*/ 359081 w 2178792"/>
                <a:gd name="connsiteY35" fmla="*/ 1830414 h 2178744"/>
                <a:gd name="connsiteX36" fmla="*/ 353738 w 2178792"/>
                <a:gd name="connsiteY36" fmla="*/ 1832632 h 2178744"/>
                <a:gd name="connsiteX37" fmla="*/ 440284 w 2178792"/>
                <a:gd name="connsiteY37" fmla="*/ 1745999 h 2178744"/>
                <a:gd name="connsiteX38" fmla="*/ 434959 w 2178792"/>
                <a:gd name="connsiteY38" fmla="*/ 1743816 h 2178744"/>
                <a:gd name="connsiteX39" fmla="*/ 434889 w 2178792"/>
                <a:gd name="connsiteY39" fmla="*/ 1733184 h 2178744"/>
                <a:gd name="connsiteX40" fmla="*/ 435011 w 2178792"/>
                <a:gd name="connsiteY40" fmla="*/ 1733062 h 2178744"/>
                <a:gd name="connsiteX41" fmla="*/ 445714 w 2178792"/>
                <a:gd name="connsiteY41" fmla="*/ 1733062 h 2178744"/>
                <a:gd name="connsiteX42" fmla="*/ 445714 w 2178792"/>
                <a:gd name="connsiteY42" fmla="*/ 1743764 h 2178744"/>
                <a:gd name="connsiteX43" fmla="*/ 440266 w 2178792"/>
                <a:gd name="connsiteY43" fmla="*/ 1746016 h 2178744"/>
                <a:gd name="connsiteX44" fmla="*/ 526829 w 2178792"/>
                <a:gd name="connsiteY44" fmla="*/ 1659471 h 2178744"/>
                <a:gd name="connsiteX45" fmla="*/ 521504 w 2178792"/>
                <a:gd name="connsiteY45" fmla="*/ 1657288 h 2178744"/>
                <a:gd name="connsiteX46" fmla="*/ 521435 w 2178792"/>
                <a:gd name="connsiteY46" fmla="*/ 1646656 h 2178744"/>
                <a:gd name="connsiteX47" fmla="*/ 521557 w 2178792"/>
                <a:gd name="connsiteY47" fmla="*/ 1646533 h 2178744"/>
                <a:gd name="connsiteX48" fmla="*/ 532259 w 2178792"/>
                <a:gd name="connsiteY48" fmla="*/ 1646533 h 2178744"/>
                <a:gd name="connsiteX49" fmla="*/ 532259 w 2178792"/>
                <a:gd name="connsiteY49" fmla="*/ 1657236 h 2178744"/>
                <a:gd name="connsiteX50" fmla="*/ 526812 w 2178792"/>
                <a:gd name="connsiteY50" fmla="*/ 1659488 h 2178744"/>
                <a:gd name="connsiteX51" fmla="*/ 613375 w 2178792"/>
                <a:gd name="connsiteY51" fmla="*/ 1572925 h 2178744"/>
                <a:gd name="connsiteX52" fmla="*/ 608050 w 2178792"/>
                <a:gd name="connsiteY52" fmla="*/ 1570743 h 2178744"/>
                <a:gd name="connsiteX53" fmla="*/ 607980 w 2178792"/>
                <a:gd name="connsiteY53" fmla="*/ 1560110 h 2178744"/>
                <a:gd name="connsiteX54" fmla="*/ 608102 w 2178792"/>
                <a:gd name="connsiteY54" fmla="*/ 1559988 h 2178744"/>
                <a:gd name="connsiteX55" fmla="*/ 618805 w 2178792"/>
                <a:gd name="connsiteY55" fmla="*/ 1559988 h 2178744"/>
                <a:gd name="connsiteX56" fmla="*/ 618805 w 2178792"/>
                <a:gd name="connsiteY56" fmla="*/ 1570690 h 2178744"/>
                <a:gd name="connsiteX57" fmla="*/ 613357 w 2178792"/>
                <a:gd name="connsiteY57" fmla="*/ 1572943 h 2178744"/>
                <a:gd name="connsiteX58" fmla="*/ 699886 w 2178792"/>
                <a:gd name="connsiteY58" fmla="*/ 1486467 h 2178744"/>
                <a:gd name="connsiteX59" fmla="*/ 694508 w 2178792"/>
                <a:gd name="connsiteY59" fmla="*/ 1484215 h 2178744"/>
                <a:gd name="connsiteX60" fmla="*/ 694578 w 2178792"/>
                <a:gd name="connsiteY60" fmla="*/ 1473512 h 2178744"/>
                <a:gd name="connsiteX61" fmla="*/ 694700 w 2178792"/>
                <a:gd name="connsiteY61" fmla="*/ 1473390 h 2178744"/>
                <a:gd name="connsiteX62" fmla="*/ 705403 w 2178792"/>
                <a:gd name="connsiteY62" fmla="*/ 1473459 h 2178744"/>
                <a:gd name="connsiteX63" fmla="*/ 705333 w 2178792"/>
                <a:gd name="connsiteY63" fmla="*/ 1484162 h 2178744"/>
                <a:gd name="connsiteX64" fmla="*/ 705211 w 2178792"/>
                <a:gd name="connsiteY64" fmla="*/ 1484285 h 2178744"/>
                <a:gd name="connsiteX65" fmla="*/ 699903 w 2178792"/>
                <a:gd name="connsiteY65" fmla="*/ 1486467 h 2178744"/>
                <a:gd name="connsiteX66" fmla="*/ 786431 w 2178792"/>
                <a:gd name="connsiteY66" fmla="*/ 1399921 h 2178744"/>
                <a:gd name="connsiteX67" fmla="*/ 781089 w 2178792"/>
                <a:gd name="connsiteY67" fmla="*/ 1397704 h 2178744"/>
                <a:gd name="connsiteX68" fmla="*/ 781089 w 2178792"/>
                <a:gd name="connsiteY68" fmla="*/ 1387002 h 2178744"/>
                <a:gd name="connsiteX69" fmla="*/ 781211 w 2178792"/>
                <a:gd name="connsiteY69" fmla="*/ 1386879 h 2178744"/>
                <a:gd name="connsiteX70" fmla="*/ 791913 w 2178792"/>
                <a:gd name="connsiteY70" fmla="*/ 1386879 h 2178744"/>
                <a:gd name="connsiteX71" fmla="*/ 791913 w 2178792"/>
                <a:gd name="connsiteY71" fmla="*/ 1397582 h 2178744"/>
                <a:gd name="connsiteX72" fmla="*/ 791791 w 2178792"/>
                <a:gd name="connsiteY72" fmla="*/ 1397704 h 2178744"/>
                <a:gd name="connsiteX73" fmla="*/ 786448 w 2178792"/>
                <a:gd name="connsiteY73" fmla="*/ 1399921 h 2178744"/>
                <a:gd name="connsiteX74" fmla="*/ 872977 w 2178792"/>
                <a:gd name="connsiteY74" fmla="*/ 1313393 h 2178744"/>
                <a:gd name="connsiteX75" fmla="*/ 867669 w 2178792"/>
                <a:gd name="connsiteY75" fmla="*/ 1311211 h 2178744"/>
                <a:gd name="connsiteX76" fmla="*/ 867599 w 2178792"/>
                <a:gd name="connsiteY76" fmla="*/ 1300508 h 2178744"/>
                <a:gd name="connsiteX77" fmla="*/ 867721 w 2178792"/>
                <a:gd name="connsiteY77" fmla="*/ 1300386 h 2178744"/>
                <a:gd name="connsiteX78" fmla="*/ 878424 w 2178792"/>
                <a:gd name="connsiteY78" fmla="*/ 1300316 h 2178744"/>
                <a:gd name="connsiteX79" fmla="*/ 878494 w 2178792"/>
                <a:gd name="connsiteY79" fmla="*/ 1311019 h 2178744"/>
                <a:gd name="connsiteX80" fmla="*/ 878372 w 2178792"/>
                <a:gd name="connsiteY80" fmla="*/ 1311141 h 2178744"/>
                <a:gd name="connsiteX81" fmla="*/ 872994 w 2178792"/>
                <a:gd name="connsiteY81" fmla="*/ 1313393 h 2178744"/>
                <a:gd name="connsiteX82" fmla="*/ 959540 w 2178792"/>
                <a:gd name="connsiteY82" fmla="*/ 1226760 h 2178744"/>
                <a:gd name="connsiteX83" fmla="*/ 954215 w 2178792"/>
                <a:gd name="connsiteY83" fmla="*/ 1224578 h 2178744"/>
                <a:gd name="connsiteX84" fmla="*/ 954145 w 2178792"/>
                <a:gd name="connsiteY84" fmla="*/ 1213945 h 2178744"/>
                <a:gd name="connsiteX85" fmla="*/ 954267 w 2178792"/>
                <a:gd name="connsiteY85" fmla="*/ 1213823 h 2178744"/>
                <a:gd name="connsiteX86" fmla="*/ 964969 w 2178792"/>
                <a:gd name="connsiteY86" fmla="*/ 1213823 h 2178744"/>
                <a:gd name="connsiteX87" fmla="*/ 964969 w 2178792"/>
                <a:gd name="connsiteY87" fmla="*/ 1224526 h 2178744"/>
                <a:gd name="connsiteX88" fmla="*/ 959522 w 2178792"/>
                <a:gd name="connsiteY88" fmla="*/ 1226778 h 2178744"/>
                <a:gd name="connsiteX89" fmla="*/ 1046051 w 2178792"/>
                <a:gd name="connsiteY89" fmla="*/ 1140302 h 2178744"/>
                <a:gd name="connsiteX90" fmla="*/ 1040656 w 2178792"/>
                <a:gd name="connsiteY90" fmla="*/ 1138050 h 2178744"/>
                <a:gd name="connsiteX91" fmla="*/ 1040725 w 2178792"/>
                <a:gd name="connsiteY91" fmla="*/ 1127347 h 2178744"/>
                <a:gd name="connsiteX92" fmla="*/ 1040848 w 2178792"/>
                <a:gd name="connsiteY92" fmla="*/ 1127225 h 2178744"/>
                <a:gd name="connsiteX93" fmla="*/ 1051550 w 2178792"/>
                <a:gd name="connsiteY93" fmla="*/ 1127295 h 2178744"/>
                <a:gd name="connsiteX94" fmla="*/ 1051480 w 2178792"/>
                <a:gd name="connsiteY94" fmla="*/ 1137997 h 2178744"/>
                <a:gd name="connsiteX95" fmla="*/ 1051358 w 2178792"/>
                <a:gd name="connsiteY95" fmla="*/ 1138120 h 2178744"/>
                <a:gd name="connsiteX96" fmla="*/ 1046051 w 2178792"/>
                <a:gd name="connsiteY96" fmla="*/ 1140302 h 2178744"/>
                <a:gd name="connsiteX97" fmla="*/ 1132596 w 2178792"/>
                <a:gd name="connsiteY97" fmla="*/ 1053756 h 2178744"/>
                <a:gd name="connsiteX98" fmla="*/ 1127254 w 2178792"/>
                <a:gd name="connsiteY98" fmla="*/ 1051539 h 2178744"/>
                <a:gd name="connsiteX99" fmla="*/ 1127254 w 2178792"/>
                <a:gd name="connsiteY99" fmla="*/ 1040837 h 2178744"/>
                <a:gd name="connsiteX100" fmla="*/ 1127376 w 2178792"/>
                <a:gd name="connsiteY100" fmla="*/ 1040714 h 2178744"/>
                <a:gd name="connsiteX101" fmla="*/ 1138078 w 2178792"/>
                <a:gd name="connsiteY101" fmla="*/ 1040714 h 2178744"/>
                <a:gd name="connsiteX102" fmla="*/ 1138078 w 2178792"/>
                <a:gd name="connsiteY102" fmla="*/ 1051417 h 2178744"/>
                <a:gd name="connsiteX103" fmla="*/ 1137956 w 2178792"/>
                <a:gd name="connsiteY103" fmla="*/ 1051539 h 2178744"/>
                <a:gd name="connsiteX104" fmla="*/ 1132613 w 2178792"/>
                <a:gd name="connsiteY104" fmla="*/ 1053756 h 2178744"/>
                <a:gd name="connsiteX105" fmla="*/ 1219142 w 2178792"/>
                <a:gd name="connsiteY105" fmla="*/ 967211 h 2178744"/>
                <a:gd name="connsiteX106" fmla="*/ 1213834 w 2178792"/>
                <a:gd name="connsiteY106" fmla="*/ 965028 h 2178744"/>
                <a:gd name="connsiteX107" fmla="*/ 1213764 w 2178792"/>
                <a:gd name="connsiteY107" fmla="*/ 954326 h 2178744"/>
                <a:gd name="connsiteX108" fmla="*/ 1213886 w 2178792"/>
                <a:gd name="connsiteY108" fmla="*/ 954204 h 2178744"/>
                <a:gd name="connsiteX109" fmla="*/ 1224589 w 2178792"/>
                <a:gd name="connsiteY109" fmla="*/ 954134 h 2178744"/>
                <a:gd name="connsiteX110" fmla="*/ 1224659 w 2178792"/>
                <a:gd name="connsiteY110" fmla="*/ 964836 h 2178744"/>
                <a:gd name="connsiteX111" fmla="*/ 1224537 w 2178792"/>
                <a:gd name="connsiteY111" fmla="*/ 964958 h 2178744"/>
                <a:gd name="connsiteX112" fmla="*/ 1219142 w 2178792"/>
                <a:gd name="connsiteY112" fmla="*/ 967211 h 2178744"/>
                <a:gd name="connsiteX113" fmla="*/ 1305687 w 2178792"/>
                <a:gd name="connsiteY113" fmla="*/ 880665 h 2178744"/>
                <a:gd name="connsiteX114" fmla="*/ 1300380 w 2178792"/>
                <a:gd name="connsiteY114" fmla="*/ 878483 h 2178744"/>
                <a:gd name="connsiteX115" fmla="*/ 1300310 w 2178792"/>
                <a:gd name="connsiteY115" fmla="*/ 867780 h 2178744"/>
                <a:gd name="connsiteX116" fmla="*/ 1300432 w 2178792"/>
                <a:gd name="connsiteY116" fmla="*/ 867658 h 2178744"/>
                <a:gd name="connsiteX117" fmla="*/ 1311134 w 2178792"/>
                <a:gd name="connsiteY117" fmla="*/ 867588 h 2178744"/>
                <a:gd name="connsiteX118" fmla="*/ 1311204 w 2178792"/>
                <a:gd name="connsiteY118" fmla="*/ 878291 h 2178744"/>
                <a:gd name="connsiteX119" fmla="*/ 1311082 w 2178792"/>
                <a:gd name="connsiteY119" fmla="*/ 878413 h 2178744"/>
                <a:gd name="connsiteX120" fmla="*/ 1305705 w 2178792"/>
                <a:gd name="connsiteY120" fmla="*/ 880665 h 2178744"/>
                <a:gd name="connsiteX121" fmla="*/ 1392250 w 2178792"/>
                <a:gd name="connsiteY121" fmla="*/ 794032 h 2178744"/>
                <a:gd name="connsiteX122" fmla="*/ 1386925 w 2178792"/>
                <a:gd name="connsiteY122" fmla="*/ 791850 h 2178744"/>
                <a:gd name="connsiteX123" fmla="*/ 1386855 w 2178792"/>
                <a:gd name="connsiteY123" fmla="*/ 781217 h 2178744"/>
                <a:gd name="connsiteX124" fmla="*/ 1386978 w 2178792"/>
                <a:gd name="connsiteY124" fmla="*/ 781095 h 2178744"/>
                <a:gd name="connsiteX125" fmla="*/ 1397680 w 2178792"/>
                <a:gd name="connsiteY125" fmla="*/ 781095 h 2178744"/>
                <a:gd name="connsiteX126" fmla="*/ 1397680 w 2178792"/>
                <a:gd name="connsiteY126" fmla="*/ 791797 h 2178744"/>
                <a:gd name="connsiteX127" fmla="*/ 1392233 w 2178792"/>
                <a:gd name="connsiteY127" fmla="*/ 794050 h 2178744"/>
                <a:gd name="connsiteX128" fmla="*/ 1478796 w 2178792"/>
                <a:gd name="connsiteY128" fmla="*/ 707504 h 2178744"/>
                <a:gd name="connsiteX129" fmla="*/ 1473471 w 2178792"/>
                <a:gd name="connsiteY129" fmla="*/ 705322 h 2178744"/>
                <a:gd name="connsiteX130" fmla="*/ 1473401 w 2178792"/>
                <a:gd name="connsiteY130" fmla="*/ 694689 h 2178744"/>
                <a:gd name="connsiteX131" fmla="*/ 1473523 w 2178792"/>
                <a:gd name="connsiteY131" fmla="*/ 694567 h 2178744"/>
                <a:gd name="connsiteX132" fmla="*/ 1484226 w 2178792"/>
                <a:gd name="connsiteY132" fmla="*/ 694567 h 2178744"/>
                <a:gd name="connsiteX133" fmla="*/ 1484226 w 2178792"/>
                <a:gd name="connsiteY133" fmla="*/ 705269 h 2178744"/>
                <a:gd name="connsiteX134" fmla="*/ 1478778 w 2178792"/>
                <a:gd name="connsiteY134" fmla="*/ 707521 h 2178744"/>
                <a:gd name="connsiteX135" fmla="*/ 1565307 w 2178792"/>
                <a:gd name="connsiteY135" fmla="*/ 621046 h 2178744"/>
                <a:gd name="connsiteX136" fmla="*/ 1559912 w 2178792"/>
                <a:gd name="connsiteY136" fmla="*/ 618794 h 2178744"/>
                <a:gd name="connsiteX137" fmla="*/ 1559981 w 2178792"/>
                <a:gd name="connsiteY137" fmla="*/ 608091 h 2178744"/>
                <a:gd name="connsiteX138" fmla="*/ 1560104 w 2178792"/>
                <a:gd name="connsiteY138" fmla="*/ 607969 h 2178744"/>
                <a:gd name="connsiteX139" fmla="*/ 1570806 w 2178792"/>
                <a:gd name="connsiteY139" fmla="*/ 608039 h 2178744"/>
                <a:gd name="connsiteX140" fmla="*/ 1570737 w 2178792"/>
                <a:gd name="connsiteY140" fmla="*/ 618741 h 2178744"/>
                <a:gd name="connsiteX141" fmla="*/ 1570614 w 2178792"/>
                <a:gd name="connsiteY141" fmla="*/ 618863 h 2178744"/>
                <a:gd name="connsiteX142" fmla="*/ 1565307 w 2178792"/>
                <a:gd name="connsiteY142" fmla="*/ 621046 h 2178744"/>
                <a:gd name="connsiteX143" fmla="*/ 1651852 w 2178792"/>
                <a:gd name="connsiteY143" fmla="*/ 534500 h 2178744"/>
                <a:gd name="connsiteX144" fmla="*/ 1646509 w 2178792"/>
                <a:gd name="connsiteY144" fmla="*/ 532283 h 2178744"/>
                <a:gd name="connsiteX145" fmla="*/ 1646509 w 2178792"/>
                <a:gd name="connsiteY145" fmla="*/ 521580 h 2178744"/>
                <a:gd name="connsiteX146" fmla="*/ 1646632 w 2178792"/>
                <a:gd name="connsiteY146" fmla="*/ 521458 h 2178744"/>
                <a:gd name="connsiteX147" fmla="*/ 1657334 w 2178792"/>
                <a:gd name="connsiteY147" fmla="*/ 521458 h 2178744"/>
                <a:gd name="connsiteX148" fmla="*/ 1657334 w 2178792"/>
                <a:gd name="connsiteY148" fmla="*/ 532161 h 2178744"/>
                <a:gd name="connsiteX149" fmla="*/ 1657212 w 2178792"/>
                <a:gd name="connsiteY149" fmla="*/ 532283 h 2178744"/>
                <a:gd name="connsiteX150" fmla="*/ 1651870 w 2178792"/>
                <a:gd name="connsiteY150" fmla="*/ 534500 h 2178744"/>
                <a:gd name="connsiteX151" fmla="*/ 1738398 w 2178792"/>
                <a:gd name="connsiteY151" fmla="*/ 447955 h 2178744"/>
                <a:gd name="connsiteX152" fmla="*/ 1733090 w 2178792"/>
                <a:gd name="connsiteY152" fmla="*/ 445772 h 2178744"/>
                <a:gd name="connsiteX153" fmla="*/ 1733020 w 2178792"/>
                <a:gd name="connsiteY153" fmla="*/ 435070 h 2178744"/>
                <a:gd name="connsiteX154" fmla="*/ 1733142 w 2178792"/>
                <a:gd name="connsiteY154" fmla="*/ 434948 h 2178744"/>
                <a:gd name="connsiteX155" fmla="*/ 1743845 w 2178792"/>
                <a:gd name="connsiteY155" fmla="*/ 434878 h 2178744"/>
                <a:gd name="connsiteX156" fmla="*/ 1743915 w 2178792"/>
                <a:gd name="connsiteY156" fmla="*/ 445580 h 2178744"/>
                <a:gd name="connsiteX157" fmla="*/ 1743793 w 2178792"/>
                <a:gd name="connsiteY157" fmla="*/ 445702 h 2178744"/>
                <a:gd name="connsiteX158" fmla="*/ 1738415 w 2178792"/>
                <a:gd name="connsiteY158" fmla="*/ 447955 h 2178744"/>
                <a:gd name="connsiteX159" fmla="*/ 1824978 w 2178792"/>
                <a:gd name="connsiteY159" fmla="*/ 361322 h 2178744"/>
                <a:gd name="connsiteX160" fmla="*/ 1819653 w 2178792"/>
                <a:gd name="connsiteY160" fmla="*/ 359139 h 2178744"/>
                <a:gd name="connsiteX161" fmla="*/ 1819584 w 2178792"/>
                <a:gd name="connsiteY161" fmla="*/ 348507 h 2178744"/>
                <a:gd name="connsiteX162" fmla="*/ 1819705 w 2178792"/>
                <a:gd name="connsiteY162" fmla="*/ 348384 h 2178744"/>
                <a:gd name="connsiteX163" fmla="*/ 1830408 w 2178792"/>
                <a:gd name="connsiteY163" fmla="*/ 348384 h 2178744"/>
                <a:gd name="connsiteX164" fmla="*/ 1830408 w 2178792"/>
                <a:gd name="connsiteY164" fmla="*/ 359087 h 2178744"/>
                <a:gd name="connsiteX165" fmla="*/ 1824961 w 2178792"/>
                <a:gd name="connsiteY165" fmla="*/ 361339 h 2178744"/>
                <a:gd name="connsiteX166" fmla="*/ 1911472 w 2178792"/>
                <a:gd name="connsiteY166" fmla="*/ 274881 h 2178744"/>
                <a:gd name="connsiteX167" fmla="*/ 1906094 w 2178792"/>
                <a:gd name="connsiteY167" fmla="*/ 272629 h 2178744"/>
                <a:gd name="connsiteX168" fmla="*/ 1906164 w 2178792"/>
                <a:gd name="connsiteY168" fmla="*/ 261926 h 2178744"/>
                <a:gd name="connsiteX169" fmla="*/ 1906286 w 2178792"/>
                <a:gd name="connsiteY169" fmla="*/ 261804 h 2178744"/>
                <a:gd name="connsiteX170" fmla="*/ 1916989 w 2178792"/>
                <a:gd name="connsiteY170" fmla="*/ 261874 h 2178744"/>
                <a:gd name="connsiteX171" fmla="*/ 1916919 w 2178792"/>
                <a:gd name="connsiteY171" fmla="*/ 272576 h 2178744"/>
                <a:gd name="connsiteX172" fmla="*/ 1916796 w 2178792"/>
                <a:gd name="connsiteY172" fmla="*/ 272699 h 2178744"/>
                <a:gd name="connsiteX173" fmla="*/ 1911489 w 2178792"/>
                <a:gd name="connsiteY173" fmla="*/ 274881 h 2178744"/>
                <a:gd name="connsiteX174" fmla="*/ 1998017 w 2178792"/>
                <a:gd name="connsiteY174" fmla="*/ 188335 h 2178744"/>
                <a:gd name="connsiteX175" fmla="*/ 1992622 w 2178792"/>
                <a:gd name="connsiteY175" fmla="*/ 186083 h 2178744"/>
                <a:gd name="connsiteX176" fmla="*/ 1992692 w 2178792"/>
                <a:gd name="connsiteY176" fmla="*/ 175381 h 2178744"/>
                <a:gd name="connsiteX177" fmla="*/ 1992814 w 2178792"/>
                <a:gd name="connsiteY177" fmla="*/ 175258 h 2178744"/>
                <a:gd name="connsiteX178" fmla="*/ 2003517 w 2178792"/>
                <a:gd name="connsiteY178" fmla="*/ 175328 h 2178744"/>
                <a:gd name="connsiteX179" fmla="*/ 2003447 w 2178792"/>
                <a:gd name="connsiteY179" fmla="*/ 186031 h 2178744"/>
                <a:gd name="connsiteX180" fmla="*/ 2003324 w 2178792"/>
                <a:gd name="connsiteY180" fmla="*/ 186153 h 2178744"/>
                <a:gd name="connsiteX181" fmla="*/ 1998017 w 2178792"/>
                <a:gd name="connsiteY181" fmla="*/ 188335 h 2178744"/>
                <a:gd name="connsiteX182" fmla="*/ 2084598 w 2178792"/>
                <a:gd name="connsiteY182" fmla="*/ 101702 h 2178744"/>
                <a:gd name="connsiteX183" fmla="*/ 2079290 w 2178792"/>
                <a:gd name="connsiteY183" fmla="*/ 99537 h 2178744"/>
                <a:gd name="connsiteX184" fmla="*/ 2079185 w 2178792"/>
                <a:gd name="connsiteY184" fmla="*/ 88905 h 2178744"/>
                <a:gd name="connsiteX185" fmla="*/ 2079307 w 2178792"/>
                <a:gd name="connsiteY185" fmla="*/ 88783 h 2178744"/>
                <a:gd name="connsiteX186" fmla="*/ 2090010 w 2178792"/>
                <a:gd name="connsiteY186" fmla="*/ 88748 h 2178744"/>
                <a:gd name="connsiteX187" fmla="*/ 2090045 w 2178792"/>
                <a:gd name="connsiteY187" fmla="*/ 99450 h 2178744"/>
                <a:gd name="connsiteX188" fmla="*/ 2084580 w 2178792"/>
                <a:gd name="connsiteY188" fmla="*/ 101720 h 2178744"/>
                <a:gd name="connsiteX189" fmla="*/ 2171143 w 2178792"/>
                <a:gd name="connsiteY189" fmla="*/ 15157 h 2178744"/>
                <a:gd name="connsiteX190" fmla="*/ 2165836 w 2178792"/>
                <a:gd name="connsiteY190" fmla="*/ 12992 h 2178744"/>
                <a:gd name="connsiteX191" fmla="*/ 2165731 w 2178792"/>
                <a:gd name="connsiteY191" fmla="*/ 2359 h 2178744"/>
                <a:gd name="connsiteX192" fmla="*/ 2165853 w 2178792"/>
                <a:gd name="connsiteY192" fmla="*/ 2237 h 2178744"/>
                <a:gd name="connsiteX193" fmla="*/ 2176556 w 2178792"/>
                <a:gd name="connsiteY193" fmla="*/ 2202 h 2178744"/>
                <a:gd name="connsiteX194" fmla="*/ 2176591 w 2178792"/>
                <a:gd name="connsiteY194" fmla="*/ 12905 h 2178744"/>
                <a:gd name="connsiteX195" fmla="*/ 2171126 w 2178792"/>
                <a:gd name="connsiteY195" fmla="*/ 15174 h 2178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78792" h="2178744">
                  <a:moveTo>
                    <a:pt x="7573" y="2178727"/>
                  </a:moveTo>
                  <a:cubicBezTo>
                    <a:pt x="5635" y="2178727"/>
                    <a:pt x="3715" y="2177993"/>
                    <a:pt x="2248" y="2176545"/>
                  </a:cubicBezTo>
                  <a:cubicBezTo>
                    <a:pt x="-702" y="2173594"/>
                    <a:pt x="-772" y="2168862"/>
                    <a:pt x="2178" y="2165912"/>
                  </a:cubicBezTo>
                  <a:lnTo>
                    <a:pt x="2301" y="2165789"/>
                  </a:lnTo>
                  <a:cubicBezTo>
                    <a:pt x="5251" y="2162839"/>
                    <a:pt x="10052" y="2162839"/>
                    <a:pt x="13003" y="2165789"/>
                  </a:cubicBezTo>
                  <a:cubicBezTo>
                    <a:pt x="15954" y="2168740"/>
                    <a:pt x="15954" y="2173542"/>
                    <a:pt x="13003" y="2176492"/>
                  </a:cubicBezTo>
                  <a:cubicBezTo>
                    <a:pt x="11502" y="2177976"/>
                    <a:pt x="9529" y="2178744"/>
                    <a:pt x="7556" y="2178744"/>
                  </a:cubicBezTo>
                  <a:close/>
                  <a:moveTo>
                    <a:pt x="94119" y="2092181"/>
                  </a:moveTo>
                  <a:cubicBezTo>
                    <a:pt x="92181" y="2092181"/>
                    <a:pt x="90260" y="2091465"/>
                    <a:pt x="88794" y="2089999"/>
                  </a:cubicBezTo>
                  <a:cubicBezTo>
                    <a:pt x="85843" y="2087048"/>
                    <a:pt x="85773" y="2082317"/>
                    <a:pt x="88724" y="2079366"/>
                  </a:cubicBezTo>
                  <a:lnTo>
                    <a:pt x="88846" y="2079244"/>
                  </a:lnTo>
                  <a:cubicBezTo>
                    <a:pt x="91797" y="2076293"/>
                    <a:pt x="96598" y="2076293"/>
                    <a:pt x="99549" y="2079244"/>
                  </a:cubicBezTo>
                  <a:cubicBezTo>
                    <a:pt x="102499" y="2082195"/>
                    <a:pt x="102499" y="2086996"/>
                    <a:pt x="99549" y="2089946"/>
                  </a:cubicBezTo>
                  <a:cubicBezTo>
                    <a:pt x="98047" y="2091431"/>
                    <a:pt x="96074" y="2092199"/>
                    <a:pt x="94102" y="2092199"/>
                  </a:cubicBezTo>
                  <a:close/>
                  <a:moveTo>
                    <a:pt x="180664" y="2005635"/>
                  </a:moveTo>
                  <a:cubicBezTo>
                    <a:pt x="178727" y="2005635"/>
                    <a:pt x="176806" y="2004920"/>
                    <a:pt x="175339" y="2003453"/>
                  </a:cubicBezTo>
                  <a:cubicBezTo>
                    <a:pt x="172389" y="2000503"/>
                    <a:pt x="172319" y="1995771"/>
                    <a:pt x="175270" y="1992821"/>
                  </a:cubicBezTo>
                  <a:lnTo>
                    <a:pt x="175392" y="1992698"/>
                  </a:lnTo>
                  <a:cubicBezTo>
                    <a:pt x="178343" y="1989748"/>
                    <a:pt x="183144" y="1989748"/>
                    <a:pt x="186094" y="1992698"/>
                  </a:cubicBezTo>
                  <a:cubicBezTo>
                    <a:pt x="189045" y="1995649"/>
                    <a:pt x="189045" y="2000450"/>
                    <a:pt x="186094" y="2003401"/>
                  </a:cubicBezTo>
                  <a:cubicBezTo>
                    <a:pt x="184593" y="2004885"/>
                    <a:pt x="182620" y="2005653"/>
                    <a:pt x="180647" y="2005653"/>
                  </a:cubicBezTo>
                  <a:close/>
                  <a:moveTo>
                    <a:pt x="267175" y="1919177"/>
                  </a:moveTo>
                  <a:cubicBezTo>
                    <a:pt x="265237" y="1919177"/>
                    <a:pt x="263299" y="1918444"/>
                    <a:pt x="261832" y="1916960"/>
                  </a:cubicBezTo>
                  <a:cubicBezTo>
                    <a:pt x="258882" y="1914009"/>
                    <a:pt x="258882" y="1909208"/>
                    <a:pt x="261832" y="1906257"/>
                  </a:cubicBezTo>
                  <a:lnTo>
                    <a:pt x="261955" y="1906135"/>
                  </a:lnTo>
                  <a:cubicBezTo>
                    <a:pt x="264905" y="1903185"/>
                    <a:pt x="269707" y="1903185"/>
                    <a:pt x="272658" y="1906135"/>
                  </a:cubicBezTo>
                  <a:cubicBezTo>
                    <a:pt x="275608" y="1909086"/>
                    <a:pt x="275608" y="1913887"/>
                    <a:pt x="272658" y="1916838"/>
                  </a:cubicBezTo>
                  <a:lnTo>
                    <a:pt x="272535" y="1916960"/>
                  </a:lnTo>
                  <a:cubicBezTo>
                    <a:pt x="271051" y="1918444"/>
                    <a:pt x="269113" y="1919177"/>
                    <a:pt x="267193" y="1919177"/>
                  </a:cubicBezTo>
                  <a:close/>
                  <a:moveTo>
                    <a:pt x="353721" y="1832632"/>
                  </a:moveTo>
                  <a:cubicBezTo>
                    <a:pt x="351783" y="1832632"/>
                    <a:pt x="349845" y="1831898"/>
                    <a:pt x="348378" y="1830414"/>
                  </a:cubicBezTo>
                  <a:cubicBezTo>
                    <a:pt x="345428" y="1827464"/>
                    <a:pt x="345428" y="1822662"/>
                    <a:pt x="348378" y="1819712"/>
                  </a:cubicBezTo>
                  <a:lnTo>
                    <a:pt x="348500" y="1819589"/>
                  </a:lnTo>
                  <a:cubicBezTo>
                    <a:pt x="351451" y="1816639"/>
                    <a:pt x="356252" y="1816639"/>
                    <a:pt x="359203" y="1819589"/>
                  </a:cubicBezTo>
                  <a:cubicBezTo>
                    <a:pt x="362153" y="1822540"/>
                    <a:pt x="362153" y="1827342"/>
                    <a:pt x="359203" y="1830292"/>
                  </a:cubicBezTo>
                  <a:lnTo>
                    <a:pt x="359081" y="1830414"/>
                  </a:lnTo>
                  <a:cubicBezTo>
                    <a:pt x="357597" y="1831898"/>
                    <a:pt x="355659" y="1832632"/>
                    <a:pt x="353738" y="1832632"/>
                  </a:cubicBezTo>
                  <a:close/>
                  <a:moveTo>
                    <a:pt x="440284" y="1745999"/>
                  </a:moveTo>
                  <a:cubicBezTo>
                    <a:pt x="438346" y="1745999"/>
                    <a:pt x="436425" y="1745283"/>
                    <a:pt x="434959" y="1743816"/>
                  </a:cubicBezTo>
                  <a:cubicBezTo>
                    <a:pt x="432008" y="1740866"/>
                    <a:pt x="431938" y="1736134"/>
                    <a:pt x="434889" y="1733184"/>
                  </a:cubicBezTo>
                  <a:lnTo>
                    <a:pt x="435011" y="1733062"/>
                  </a:lnTo>
                  <a:cubicBezTo>
                    <a:pt x="437962" y="1730111"/>
                    <a:pt x="442763" y="1730111"/>
                    <a:pt x="445714" y="1733062"/>
                  </a:cubicBezTo>
                  <a:cubicBezTo>
                    <a:pt x="448664" y="1736012"/>
                    <a:pt x="448664" y="1740813"/>
                    <a:pt x="445714" y="1743764"/>
                  </a:cubicBezTo>
                  <a:cubicBezTo>
                    <a:pt x="444212" y="1745248"/>
                    <a:pt x="442239" y="1746016"/>
                    <a:pt x="440266" y="1746016"/>
                  </a:cubicBezTo>
                  <a:close/>
                  <a:moveTo>
                    <a:pt x="526829" y="1659471"/>
                  </a:moveTo>
                  <a:cubicBezTo>
                    <a:pt x="524892" y="1659471"/>
                    <a:pt x="522971" y="1658755"/>
                    <a:pt x="521504" y="1657288"/>
                  </a:cubicBezTo>
                  <a:cubicBezTo>
                    <a:pt x="518554" y="1654338"/>
                    <a:pt x="518484" y="1649606"/>
                    <a:pt x="521435" y="1646656"/>
                  </a:cubicBezTo>
                  <a:lnTo>
                    <a:pt x="521557" y="1646533"/>
                  </a:lnTo>
                  <a:cubicBezTo>
                    <a:pt x="524507" y="1643583"/>
                    <a:pt x="529309" y="1643583"/>
                    <a:pt x="532259" y="1646533"/>
                  </a:cubicBezTo>
                  <a:cubicBezTo>
                    <a:pt x="535210" y="1649484"/>
                    <a:pt x="535210" y="1654285"/>
                    <a:pt x="532259" y="1657236"/>
                  </a:cubicBezTo>
                  <a:cubicBezTo>
                    <a:pt x="530758" y="1658720"/>
                    <a:pt x="528785" y="1659488"/>
                    <a:pt x="526812" y="1659488"/>
                  </a:cubicBezTo>
                  <a:close/>
                  <a:moveTo>
                    <a:pt x="613375" y="1572925"/>
                  </a:moveTo>
                  <a:cubicBezTo>
                    <a:pt x="611437" y="1572925"/>
                    <a:pt x="609517" y="1572209"/>
                    <a:pt x="608050" y="1570743"/>
                  </a:cubicBezTo>
                  <a:cubicBezTo>
                    <a:pt x="605099" y="1567792"/>
                    <a:pt x="605029" y="1563061"/>
                    <a:pt x="607980" y="1560110"/>
                  </a:cubicBezTo>
                  <a:lnTo>
                    <a:pt x="608102" y="1559988"/>
                  </a:lnTo>
                  <a:cubicBezTo>
                    <a:pt x="611053" y="1557037"/>
                    <a:pt x="615854" y="1557037"/>
                    <a:pt x="618805" y="1559988"/>
                  </a:cubicBezTo>
                  <a:cubicBezTo>
                    <a:pt x="621755" y="1562938"/>
                    <a:pt x="621755" y="1567739"/>
                    <a:pt x="618805" y="1570690"/>
                  </a:cubicBezTo>
                  <a:cubicBezTo>
                    <a:pt x="617303" y="1572174"/>
                    <a:pt x="615330" y="1572943"/>
                    <a:pt x="613357" y="1572943"/>
                  </a:cubicBezTo>
                  <a:close/>
                  <a:moveTo>
                    <a:pt x="699886" y="1486467"/>
                  </a:moveTo>
                  <a:cubicBezTo>
                    <a:pt x="697930" y="1486467"/>
                    <a:pt x="695975" y="1485716"/>
                    <a:pt x="694508" y="1484215"/>
                  </a:cubicBezTo>
                  <a:cubicBezTo>
                    <a:pt x="691575" y="1481247"/>
                    <a:pt x="691610" y="1476445"/>
                    <a:pt x="694578" y="1473512"/>
                  </a:cubicBezTo>
                  <a:lnTo>
                    <a:pt x="694700" y="1473390"/>
                  </a:lnTo>
                  <a:cubicBezTo>
                    <a:pt x="697668" y="1470457"/>
                    <a:pt x="702470" y="1470491"/>
                    <a:pt x="705403" y="1473459"/>
                  </a:cubicBezTo>
                  <a:cubicBezTo>
                    <a:pt x="708336" y="1476428"/>
                    <a:pt x="708301" y="1481229"/>
                    <a:pt x="705333" y="1484162"/>
                  </a:cubicBezTo>
                  <a:lnTo>
                    <a:pt x="705211" y="1484285"/>
                  </a:lnTo>
                  <a:cubicBezTo>
                    <a:pt x="703744" y="1485733"/>
                    <a:pt x="701823" y="1486467"/>
                    <a:pt x="699903" y="1486467"/>
                  </a:cubicBezTo>
                  <a:close/>
                  <a:moveTo>
                    <a:pt x="786431" y="1399921"/>
                  </a:moveTo>
                  <a:cubicBezTo>
                    <a:pt x="784493" y="1399921"/>
                    <a:pt x="782555" y="1399188"/>
                    <a:pt x="781089" y="1397704"/>
                  </a:cubicBezTo>
                  <a:cubicBezTo>
                    <a:pt x="778138" y="1394753"/>
                    <a:pt x="778138" y="1389952"/>
                    <a:pt x="781089" y="1387002"/>
                  </a:cubicBezTo>
                  <a:lnTo>
                    <a:pt x="781211" y="1386879"/>
                  </a:lnTo>
                  <a:cubicBezTo>
                    <a:pt x="784162" y="1383929"/>
                    <a:pt x="788963" y="1383929"/>
                    <a:pt x="791913" y="1386879"/>
                  </a:cubicBezTo>
                  <a:cubicBezTo>
                    <a:pt x="794864" y="1389830"/>
                    <a:pt x="794864" y="1394631"/>
                    <a:pt x="791913" y="1397582"/>
                  </a:cubicBezTo>
                  <a:lnTo>
                    <a:pt x="791791" y="1397704"/>
                  </a:lnTo>
                  <a:cubicBezTo>
                    <a:pt x="790307" y="1399188"/>
                    <a:pt x="788387" y="1399921"/>
                    <a:pt x="786448" y="1399921"/>
                  </a:cubicBezTo>
                  <a:close/>
                  <a:moveTo>
                    <a:pt x="872977" y="1313393"/>
                  </a:moveTo>
                  <a:cubicBezTo>
                    <a:pt x="871056" y="1313393"/>
                    <a:pt x="869136" y="1312660"/>
                    <a:pt x="867669" y="1311211"/>
                  </a:cubicBezTo>
                  <a:cubicBezTo>
                    <a:pt x="864701" y="1308278"/>
                    <a:pt x="864666" y="1303494"/>
                    <a:pt x="867599" y="1300508"/>
                  </a:cubicBezTo>
                  <a:lnTo>
                    <a:pt x="867721" y="1300386"/>
                  </a:lnTo>
                  <a:cubicBezTo>
                    <a:pt x="870654" y="1297418"/>
                    <a:pt x="875439" y="1297383"/>
                    <a:pt x="878424" y="1300316"/>
                  </a:cubicBezTo>
                  <a:cubicBezTo>
                    <a:pt x="881392" y="1303249"/>
                    <a:pt x="881427" y="1308033"/>
                    <a:pt x="878494" y="1311019"/>
                  </a:cubicBezTo>
                  <a:lnTo>
                    <a:pt x="878372" y="1311141"/>
                  </a:lnTo>
                  <a:cubicBezTo>
                    <a:pt x="876888" y="1312642"/>
                    <a:pt x="874932" y="1313393"/>
                    <a:pt x="872994" y="1313393"/>
                  </a:cubicBezTo>
                  <a:close/>
                  <a:moveTo>
                    <a:pt x="959540" y="1226760"/>
                  </a:moveTo>
                  <a:cubicBezTo>
                    <a:pt x="957602" y="1226760"/>
                    <a:pt x="955681" y="1226027"/>
                    <a:pt x="954215" y="1224578"/>
                  </a:cubicBezTo>
                  <a:cubicBezTo>
                    <a:pt x="951264" y="1221627"/>
                    <a:pt x="951194" y="1216896"/>
                    <a:pt x="954145" y="1213945"/>
                  </a:cubicBezTo>
                  <a:lnTo>
                    <a:pt x="954267" y="1213823"/>
                  </a:lnTo>
                  <a:cubicBezTo>
                    <a:pt x="957218" y="1210872"/>
                    <a:pt x="962019" y="1210872"/>
                    <a:pt x="964969" y="1213823"/>
                  </a:cubicBezTo>
                  <a:cubicBezTo>
                    <a:pt x="967920" y="1216774"/>
                    <a:pt x="967920" y="1221575"/>
                    <a:pt x="964969" y="1224526"/>
                  </a:cubicBezTo>
                  <a:cubicBezTo>
                    <a:pt x="963468" y="1226009"/>
                    <a:pt x="961495" y="1226778"/>
                    <a:pt x="959522" y="1226778"/>
                  </a:cubicBezTo>
                  <a:close/>
                  <a:moveTo>
                    <a:pt x="1046051" y="1140302"/>
                  </a:moveTo>
                  <a:cubicBezTo>
                    <a:pt x="1044095" y="1140302"/>
                    <a:pt x="1042140" y="1139551"/>
                    <a:pt x="1040656" y="1138050"/>
                  </a:cubicBezTo>
                  <a:cubicBezTo>
                    <a:pt x="1037723" y="1135082"/>
                    <a:pt x="1037757" y="1130280"/>
                    <a:pt x="1040725" y="1127347"/>
                  </a:cubicBezTo>
                  <a:lnTo>
                    <a:pt x="1040848" y="1127225"/>
                  </a:lnTo>
                  <a:cubicBezTo>
                    <a:pt x="1043816" y="1124292"/>
                    <a:pt x="1048617" y="1124327"/>
                    <a:pt x="1051550" y="1127295"/>
                  </a:cubicBezTo>
                  <a:cubicBezTo>
                    <a:pt x="1054483" y="1130263"/>
                    <a:pt x="1054448" y="1135064"/>
                    <a:pt x="1051480" y="1137997"/>
                  </a:cubicBezTo>
                  <a:lnTo>
                    <a:pt x="1051358" y="1138120"/>
                  </a:lnTo>
                  <a:cubicBezTo>
                    <a:pt x="1049892" y="1139568"/>
                    <a:pt x="1047971" y="1140302"/>
                    <a:pt x="1046051" y="1140302"/>
                  </a:cubicBezTo>
                  <a:close/>
                  <a:moveTo>
                    <a:pt x="1132596" y="1053756"/>
                  </a:moveTo>
                  <a:cubicBezTo>
                    <a:pt x="1130658" y="1053756"/>
                    <a:pt x="1128720" y="1053023"/>
                    <a:pt x="1127254" y="1051539"/>
                  </a:cubicBezTo>
                  <a:cubicBezTo>
                    <a:pt x="1124303" y="1048588"/>
                    <a:pt x="1124303" y="1043787"/>
                    <a:pt x="1127254" y="1040837"/>
                  </a:cubicBezTo>
                  <a:lnTo>
                    <a:pt x="1127376" y="1040714"/>
                  </a:lnTo>
                  <a:cubicBezTo>
                    <a:pt x="1130327" y="1037764"/>
                    <a:pt x="1135128" y="1037764"/>
                    <a:pt x="1138078" y="1040714"/>
                  </a:cubicBezTo>
                  <a:cubicBezTo>
                    <a:pt x="1141029" y="1043665"/>
                    <a:pt x="1141029" y="1048466"/>
                    <a:pt x="1138078" y="1051417"/>
                  </a:cubicBezTo>
                  <a:lnTo>
                    <a:pt x="1137956" y="1051539"/>
                  </a:lnTo>
                  <a:cubicBezTo>
                    <a:pt x="1136472" y="1053023"/>
                    <a:pt x="1134534" y="1053756"/>
                    <a:pt x="1132613" y="1053756"/>
                  </a:cubicBezTo>
                  <a:close/>
                  <a:moveTo>
                    <a:pt x="1219142" y="967211"/>
                  </a:moveTo>
                  <a:cubicBezTo>
                    <a:pt x="1217221" y="967211"/>
                    <a:pt x="1215301" y="966495"/>
                    <a:pt x="1213834" y="965028"/>
                  </a:cubicBezTo>
                  <a:cubicBezTo>
                    <a:pt x="1210866" y="962095"/>
                    <a:pt x="1210831" y="957311"/>
                    <a:pt x="1213764" y="954326"/>
                  </a:cubicBezTo>
                  <a:lnTo>
                    <a:pt x="1213886" y="954204"/>
                  </a:lnTo>
                  <a:cubicBezTo>
                    <a:pt x="1216819" y="951236"/>
                    <a:pt x="1221603" y="951201"/>
                    <a:pt x="1224589" y="954134"/>
                  </a:cubicBezTo>
                  <a:cubicBezTo>
                    <a:pt x="1227557" y="957067"/>
                    <a:pt x="1227592" y="961851"/>
                    <a:pt x="1224659" y="964836"/>
                  </a:cubicBezTo>
                  <a:lnTo>
                    <a:pt x="1224537" y="964958"/>
                  </a:lnTo>
                  <a:cubicBezTo>
                    <a:pt x="1223053" y="966460"/>
                    <a:pt x="1221097" y="967211"/>
                    <a:pt x="1219142" y="967211"/>
                  </a:cubicBezTo>
                  <a:close/>
                  <a:moveTo>
                    <a:pt x="1305687" y="880665"/>
                  </a:moveTo>
                  <a:cubicBezTo>
                    <a:pt x="1303767" y="880665"/>
                    <a:pt x="1301846" y="879932"/>
                    <a:pt x="1300380" y="878483"/>
                  </a:cubicBezTo>
                  <a:cubicBezTo>
                    <a:pt x="1297412" y="875549"/>
                    <a:pt x="1297377" y="870766"/>
                    <a:pt x="1300310" y="867780"/>
                  </a:cubicBezTo>
                  <a:lnTo>
                    <a:pt x="1300432" y="867658"/>
                  </a:lnTo>
                  <a:cubicBezTo>
                    <a:pt x="1303365" y="864690"/>
                    <a:pt x="1308149" y="864655"/>
                    <a:pt x="1311134" y="867588"/>
                  </a:cubicBezTo>
                  <a:cubicBezTo>
                    <a:pt x="1314103" y="870521"/>
                    <a:pt x="1314137" y="875305"/>
                    <a:pt x="1311204" y="878291"/>
                  </a:cubicBezTo>
                  <a:lnTo>
                    <a:pt x="1311082" y="878413"/>
                  </a:lnTo>
                  <a:cubicBezTo>
                    <a:pt x="1309598" y="879914"/>
                    <a:pt x="1307643" y="880665"/>
                    <a:pt x="1305705" y="880665"/>
                  </a:cubicBezTo>
                  <a:close/>
                  <a:moveTo>
                    <a:pt x="1392250" y="794032"/>
                  </a:moveTo>
                  <a:cubicBezTo>
                    <a:pt x="1390312" y="794032"/>
                    <a:pt x="1388392" y="793317"/>
                    <a:pt x="1386925" y="791850"/>
                  </a:cubicBezTo>
                  <a:cubicBezTo>
                    <a:pt x="1383974" y="788899"/>
                    <a:pt x="1383905" y="784168"/>
                    <a:pt x="1386855" y="781217"/>
                  </a:cubicBezTo>
                  <a:lnTo>
                    <a:pt x="1386978" y="781095"/>
                  </a:lnTo>
                  <a:cubicBezTo>
                    <a:pt x="1389928" y="778144"/>
                    <a:pt x="1394730" y="778144"/>
                    <a:pt x="1397680" y="781095"/>
                  </a:cubicBezTo>
                  <a:cubicBezTo>
                    <a:pt x="1400631" y="784046"/>
                    <a:pt x="1400631" y="788847"/>
                    <a:pt x="1397680" y="791797"/>
                  </a:cubicBezTo>
                  <a:cubicBezTo>
                    <a:pt x="1396178" y="793282"/>
                    <a:pt x="1394206" y="794050"/>
                    <a:pt x="1392233" y="794050"/>
                  </a:cubicBezTo>
                  <a:close/>
                  <a:moveTo>
                    <a:pt x="1478796" y="707504"/>
                  </a:moveTo>
                  <a:cubicBezTo>
                    <a:pt x="1476858" y="707504"/>
                    <a:pt x="1474937" y="706788"/>
                    <a:pt x="1473471" y="705322"/>
                  </a:cubicBezTo>
                  <a:cubicBezTo>
                    <a:pt x="1470520" y="702371"/>
                    <a:pt x="1470450" y="697640"/>
                    <a:pt x="1473401" y="694689"/>
                  </a:cubicBezTo>
                  <a:lnTo>
                    <a:pt x="1473523" y="694567"/>
                  </a:lnTo>
                  <a:cubicBezTo>
                    <a:pt x="1476474" y="691616"/>
                    <a:pt x="1481275" y="691616"/>
                    <a:pt x="1484226" y="694567"/>
                  </a:cubicBezTo>
                  <a:cubicBezTo>
                    <a:pt x="1487176" y="697517"/>
                    <a:pt x="1487176" y="702319"/>
                    <a:pt x="1484226" y="705269"/>
                  </a:cubicBezTo>
                  <a:cubicBezTo>
                    <a:pt x="1482724" y="706753"/>
                    <a:pt x="1480751" y="707521"/>
                    <a:pt x="1478778" y="707521"/>
                  </a:cubicBezTo>
                  <a:close/>
                  <a:moveTo>
                    <a:pt x="1565307" y="621046"/>
                  </a:moveTo>
                  <a:cubicBezTo>
                    <a:pt x="1563351" y="621046"/>
                    <a:pt x="1561396" y="620295"/>
                    <a:pt x="1559912" y="618794"/>
                  </a:cubicBezTo>
                  <a:cubicBezTo>
                    <a:pt x="1556978" y="615825"/>
                    <a:pt x="1557013" y="611024"/>
                    <a:pt x="1559981" y="608091"/>
                  </a:cubicBezTo>
                  <a:lnTo>
                    <a:pt x="1560104" y="607969"/>
                  </a:lnTo>
                  <a:cubicBezTo>
                    <a:pt x="1563072" y="605036"/>
                    <a:pt x="1567873" y="605071"/>
                    <a:pt x="1570806" y="608039"/>
                  </a:cubicBezTo>
                  <a:cubicBezTo>
                    <a:pt x="1573740" y="611007"/>
                    <a:pt x="1573705" y="615808"/>
                    <a:pt x="1570737" y="618741"/>
                  </a:cubicBezTo>
                  <a:lnTo>
                    <a:pt x="1570614" y="618863"/>
                  </a:lnTo>
                  <a:cubicBezTo>
                    <a:pt x="1569148" y="620313"/>
                    <a:pt x="1567227" y="621046"/>
                    <a:pt x="1565307" y="621046"/>
                  </a:cubicBezTo>
                  <a:close/>
                  <a:moveTo>
                    <a:pt x="1651852" y="534500"/>
                  </a:moveTo>
                  <a:cubicBezTo>
                    <a:pt x="1649914" y="534500"/>
                    <a:pt x="1647976" y="533767"/>
                    <a:pt x="1646509" y="532283"/>
                  </a:cubicBezTo>
                  <a:cubicBezTo>
                    <a:pt x="1643559" y="529332"/>
                    <a:pt x="1643559" y="524531"/>
                    <a:pt x="1646509" y="521580"/>
                  </a:cubicBezTo>
                  <a:lnTo>
                    <a:pt x="1646632" y="521458"/>
                  </a:lnTo>
                  <a:cubicBezTo>
                    <a:pt x="1649582" y="518508"/>
                    <a:pt x="1654384" y="518508"/>
                    <a:pt x="1657334" y="521458"/>
                  </a:cubicBezTo>
                  <a:cubicBezTo>
                    <a:pt x="1660285" y="524409"/>
                    <a:pt x="1660285" y="529210"/>
                    <a:pt x="1657334" y="532161"/>
                  </a:cubicBezTo>
                  <a:lnTo>
                    <a:pt x="1657212" y="532283"/>
                  </a:lnTo>
                  <a:cubicBezTo>
                    <a:pt x="1655728" y="533767"/>
                    <a:pt x="1653790" y="534500"/>
                    <a:pt x="1651870" y="534500"/>
                  </a:cubicBezTo>
                  <a:close/>
                  <a:moveTo>
                    <a:pt x="1738398" y="447955"/>
                  </a:moveTo>
                  <a:cubicBezTo>
                    <a:pt x="1736477" y="447955"/>
                    <a:pt x="1734557" y="447239"/>
                    <a:pt x="1733090" y="445772"/>
                  </a:cubicBezTo>
                  <a:cubicBezTo>
                    <a:pt x="1730122" y="442839"/>
                    <a:pt x="1730087" y="438055"/>
                    <a:pt x="1733020" y="435070"/>
                  </a:cubicBezTo>
                  <a:lnTo>
                    <a:pt x="1733142" y="434948"/>
                  </a:lnTo>
                  <a:cubicBezTo>
                    <a:pt x="1736076" y="431979"/>
                    <a:pt x="1740859" y="431944"/>
                    <a:pt x="1743845" y="434878"/>
                  </a:cubicBezTo>
                  <a:cubicBezTo>
                    <a:pt x="1746813" y="437811"/>
                    <a:pt x="1746848" y="442595"/>
                    <a:pt x="1743915" y="445580"/>
                  </a:cubicBezTo>
                  <a:lnTo>
                    <a:pt x="1743793" y="445702"/>
                  </a:lnTo>
                  <a:cubicBezTo>
                    <a:pt x="1742308" y="447204"/>
                    <a:pt x="1740353" y="447955"/>
                    <a:pt x="1738415" y="447955"/>
                  </a:cubicBezTo>
                  <a:close/>
                  <a:moveTo>
                    <a:pt x="1824978" y="361322"/>
                  </a:moveTo>
                  <a:cubicBezTo>
                    <a:pt x="1823040" y="361322"/>
                    <a:pt x="1821120" y="360606"/>
                    <a:pt x="1819653" y="359139"/>
                  </a:cubicBezTo>
                  <a:cubicBezTo>
                    <a:pt x="1816703" y="356189"/>
                    <a:pt x="1816633" y="351457"/>
                    <a:pt x="1819584" y="348507"/>
                  </a:cubicBezTo>
                  <a:lnTo>
                    <a:pt x="1819705" y="348384"/>
                  </a:lnTo>
                  <a:cubicBezTo>
                    <a:pt x="1822656" y="345434"/>
                    <a:pt x="1827457" y="345434"/>
                    <a:pt x="1830408" y="348384"/>
                  </a:cubicBezTo>
                  <a:cubicBezTo>
                    <a:pt x="1833358" y="351335"/>
                    <a:pt x="1833358" y="356136"/>
                    <a:pt x="1830408" y="359087"/>
                  </a:cubicBezTo>
                  <a:cubicBezTo>
                    <a:pt x="1828907" y="360571"/>
                    <a:pt x="1826934" y="361339"/>
                    <a:pt x="1824961" y="361339"/>
                  </a:cubicBezTo>
                  <a:close/>
                  <a:moveTo>
                    <a:pt x="1911472" y="274881"/>
                  </a:moveTo>
                  <a:cubicBezTo>
                    <a:pt x="1909516" y="274881"/>
                    <a:pt x="1907560" y="274130"/>
                    <a:pt x="1906094" y="272629"/>
                  </a:cubicBezTo>
                  <a:cubicBezTo>
                    <a:pt x="1903160" y="269661"/>
                    <a:pt x="1903195" y="264859"/>
                    <a:pt x="1906164" y="261926"/>
                  </a:cubicBezTo>
                  <a:lnTo>
                    <a:pt x="1906286" y="261804"/>
                  </a:lnTo>
                  <a:cubicBezTo>
                    <a:pt x="1909254" y="258871"/>
                    <a:pt x="1914055" y="258906"/>
                    <a:pt x="1916989" y="261874"/>
                  </a:cubicBezTo>
                  <a:cubicBezTo>
                    <a:pt x="1919922" y="264842"/>
                    <a:pt x="1919887" y="269643"/>
                    <a:pt x="1916919" y="272576"/>
                  </a:cubicBezTo>
                  <a:lnTo>
                    <a:pt x="1916796" y="272699"/>
                  </a:lnTo>
                  <a:cubicBezTo>
                    <a:pt x="1915330" y="274148"/>
                    <a:pt x="1913409" y="274881"/>
                    <a:pt x="1911489" y="274881"/>
                  </a:cubicBezTo>
                  <a:close/>
                  <a:moveTo>
                    <a:pt x="1998017" y="188335"/>
                  </a:moveTo>
                  <a:cubicBezTo>
                    <a:pt x="1996062" y="188335"/>
                    <a:pt x="1994106" y="187585"/>
                    <a:pt x="1992622" y="186083"/>
                  </a:cubicBezTo>
                  <a:cubicBezTo>
                    <a:pt x="1989689" y="183115"/>
                    <a:pt x="1989724" y="178314"/>
                    <a:pt x="1992692" y="175381"/>
                  </a:cubicBezTo>
                  <a:lnTo>
                    <a:pt x="1992814" y="175258"/>
                  </a:lnTo>
                  <a:cubicBezTo>
                    <a:pt x="1995782" y="172325"/>
                    <a:pt x="2000584" y="172360"/>
                    <a:pt x="2003517" y="175328"/>
                  </a:cubicBezTo>
                  <a:cubicBezTo>
                    <a:pt x="2006450" y="178296"/>
                    <a:pt x="2006415" y="183098"/>
                    <a:pt x="2003447" y="186031"/>
                  </a:cubicBezTo>
                  <a:lnTo>
                    <a:pt x="2003324" y="186153"/>
                  </a:lnTo>
                  <a:cubicBezTo>
                    <a:pt x="2001858" y="187602"/>
                    <a:pt x="1999937" y="188335"/>
                    <a:pt x="1998017" y="188335"/>
                  </a:cubicBezTo>
                  <a:close/>
                  <a:moveTo>
                    <a:pt x="2084598" y="101702"/>
                  </a:moveTo>
                  <a:cubicBezTo>
                    <a:pt x="2082677" y="101702"/>
                    <a:pt x="2080756" y="100987"/>
                    <a:pt x="2079290" y="99537"/>
                  </a:cubicBezTo>
                  <a:cubicBezTo>
                    <a:pt x="2076322" y="96587"/>
                    <a:pt x="2076252" y="91856"/>
                    <a:pt x="2079185" y="88905"/>
                  </a:cubicBezTo>
                  <a:lnTo>
                    <a:pt x="2079307" y="88783"/>
                  </a:lnTo>
                  <a:cubicBezTo>
                    <a:pt x="2082241" y="85814"/>
                    <a:pt x="2087042" y="85797"/>
                    <a:pt x="2090010" y="88748"/>
                  </a:cubicBezTo>
                  <a:cubicBezTo>
                    <a:pt x="2092978" y="91698"/>
                    <a:pt x="2092996" y="96482"/>
                    <a:pt x="2090045" y="99450"/>
                  </a:cubicBezTo>
                  <a:cubicBezTo>
                    <a:pt x="2088543" y="100952"/>
                    <a:pt x="2086571" y="101720"/>
                    <a:pt x="2084580" y="101720"/>
                  </a:cubicBezTo>
                  <a:close/>
                  <a:moveTo>
                    <a:pt x="2171143" y="15157"/>
                  </a:moveTo>
                  <a:cubicBezTo>
                    <a:pt x="2169223" y="15157"/>
                    <a:pt x="2167302" y="14441"/>
                    <a:pt x="2165836" y="12992"/>
                  </a:cubicBezTo>
                  <a:cubicBezTo>
                    <a:pt x="2162867" y="10041"/>
                    <a:pt x="2162798" y="5310"/>
                    <a:pt x="2165731" y="2359"/>
                  </a:cubicBezTo>
                  <a:lnTo>
                    <a:pt x="2165853" y="2237"/>
                  </a:lnTo>
                  <a:cubicBezTo>
                    <a:pt x="2168804" y="-731"/>
                    <a:pt x="2173587" y="-749"/>
                    <a:pt x="2176556" y="2202"/>
                  </a:cubicBezTo>
                  <a:cubicBezTo>
                    <a:pt x="2179523" y="5153"/>
                    <a:pt x="2179541" y="9937"/>
                    <a:pt x="2176591" y="12905"/>
                  </a:cubicBezTo>
                  <a:cubicBezTo>
                    <a:pt x="2175089" y="14406"/>
                    <a:pt x="2173116" y="15174"/>
                    <a:pt x="2171126" y="15174"/>
                  </a:cubicBezTo>
                  <a:close/>
                </a:path>
              </a:pathLst>
            </a:custGeom>
            <a:grp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26F81E73-1B2B-A575-5F97-16FA0CC425DE}"/>
                </a:ext>
              </a:extLst>
            </p:cNvPr>
            <p:cNvSpPr/>
            <p:nvPr/>
          </p:nvSpPr>
          <p:spPr>
            <a:xfrm>
              <a:off x="6899151" y="3138130"/>
              <a:ext cx="2006862" cy="2006801"/>
            </a:xfrm>
            <a:custGeom>
              <a:avLst/>
              <a:gdLst>
                <a:gd name="connsiteX0" fmla="*/ 8145 w 2006862"/>
                <a:gd name="connsiteY0" fmla="*/ 2006801 h 2006801"/>
                <a:gd name="connsiteX1" fmla="*/ 2418 w 2006862"/>
                <a:gd name="connsiteY1" fmla="*/ 2004444 h 2006801"/>
                <a:gd name="connsiteX2" fmla="*/ 2349 w 2006862"/>
                <a:gd name="connsiteY2" fmla="*/ 1992991 h 2006801"/>
                <a:gd name="connsiteX3" fmla="*/ 2471 w 2006862"/>
                <a:gd name="connsiteY3" fmla="*/ 1992869 h 2006801"/>
                <a:gd name="connsiteX4" fmla="*/ 13994 w 2006862"/>
                <a:gd name="connsiteY4" fmla="*/ 1992869 h 2006801"/>
                <a:gd name="connsiteX5" fmla="*/ 13994 w 2006862"/>
                <a:gd name="connsiteY5" fmla="*/ 2004392 h 2006801"/>
                <a:gd name="connsiteX6" fmla="*/ 8145 w 2006862"/>
                <a:gd name="connsiteY6" fmla="*/ 2006801 h 2006801"/>
                <a:gd name="connsiteX7" fmla="*/ 94691 w 2006862"/>
                <a:gd name="connsiteY7" fmla="*/ 1920255 h 2006801"/>
                <a:gd name="connsiteX8" fmla="*/ 88964 w 2006862"/>
                <a:gd name="connsiteY8" fmla="*/ 1917898 h 2006801"/>
                <a:gd name="connsiteX9" fmla="*/ 88894 w 2006862"/>
                <a:gd name="connsiteY9" fmla="*/ 1906445 h 2006801"/>
                <a:gd name="connsiteX10" fmla="*/ 89016 w 2006862"/>
                <a:gd name="connsiteY10" fmla="*/ 1906323 h 2006801"/>
                <a:gd name="connsiteX11" fmla="*/ 100540 w 2006862"/>
                <a:gd name="connsiteY11" fmla="*/ 1906323 h 2006801"/>
                <a:gd name="connsiteX12" fmla="*/ 100540 w 2006862"/>
                <a:gd name="connsiteY12" fmla="*/ 1917846 h 2006801"/>
                <a:gd name="connsiteX13" fmla="*/ 94691 w 2006862"/>
                <a:gd name="connsiteY13" fmla="*/ 1920255 h 2006801"/>
                <a:gd name="connsiteX14" fmla="*/ 181201 w 2006862"/>
                <a:gd name="connsiteY14" fmla="*/ 1833815 h 2006801"/>
                <a:gd name="connsiteX15" fmla="*/ 175440 w 2006862"/>
                <a:gd name="connsiteY15" fmla="*/ 1831423 h 2006801"/>
                <a:gd name="connsiteX16" fmla="*/ 175440 w 2006862"/>
                <a:gd name="connsiteY16" fmla="*/ 1819900 h 2006801"/>
                <a:gd name="connsiteX17" fmla="*/ 175562 w 2006862"/>
                <a:gd name="connsiteY17" fmla="*/ 1819777 h 2006801"/>
                <a:gd name="connsiteX18" fmla="*/ 187085 w 2006862"/>
                <a:gd name="connsiteY18" fmla="*/ 1819777 h 2006801"/>
                <a:gd name="connsiteX19" fmla="*/ 187085 w 2006862"/>
                <a:gd name="connsiteY19" fmla="*/ 1831301 h 2006801"/>
                <a:gd name="connsiteX20" fmla="*/ 186963 w 2006862"/>
                <a:gd name="connsiteY20" fmla="*/ 1831423 h 2006801"/>
                <a:gd name="connsiteX21" fmla="*/ 181201 w 2006862"/>
                <a:gd name="connsiteY21" fmla="*/ 1833815 h 2006801"/>
                <a:gd name="connsiteX22" fmla="*/ 267747 w 2006862"/>
                <a:gd name="connsiteY22" fmla="*/ 1747269 h 2006801"/>
                <a:gd name="connsiteX23" fmla="*/ 261985 w 2006862"/>
                <a:gd name="connsiteY23" fmla="*/ 1744877 h 2006801"/>
                <a:gd name="connsiteX24" fmla="*/ 261985 w 2006862"/>
                <a:gd name="connsiteY24" fmla="*/ 1733354 h 2006801"/>
                <a:gd name="connsiteX25" fmla="*/ 262107 w 2006862"/>
                <a:gd name="connsiteY25" fmla="*/ 1733232 h 2006801"/>
                <a:gd name="connsiteX26" fmla="*/ 273631 w 2006862"/>
                <a:gd name="connsiteY26" fmla="*/ 1733232 h 2006801"/>
                <a:gd name="connsiteX27" fmla="*/ 273631 w 2006862"/>
                <a:gd name="connsiteY27" fmla="*/ 1744755 h 2006801"/>
                <a:gd name="connsiteX28" fmla="*/ 273508 w 2006862"/>
                <a:gd name="connsiteY28" fmla="*/ 1744877 h 2006801"/>
                <a:gd name="connsiteX29" fmla="*/ 267747 w 2006862"/>
                <a:gd name="connsiteY29" fmla="*/ 1747269 h 2006801"/>
                <a:gd name="connsiteX30" fmla="*/ 354327 w 2006862"/>
                <a:gd name="connsiteY30" fmla="*/ 1660636 h 2006801"/>
                <a:gd name="connsiteX31" fmla="*/ 348601 w 2006862"/>
                <a:gd name="connsiteY31" fmla="*/ 1658279 h 2006801"/>
                <a:gd name="connsiteX32" fmla="*/ 348531 w 2006862"/>
                <a:gd name="connsiteY32" fmla="*/ 1646826 h 2006801"/>
                <a:gd name="connsiteX33" fmla="*/ 348653 w 2006862"/>
                <a:gd name="connsiteY33" fmla="*/ 1646704 h 2006801"/>
                <a:gd name="connsiteX34" fmla="*/ 360176 w 2006862"/>
                <a:gd name="connsiteY34" fmla="*/ 1646704 h 2006801"/>
                <a:gd name="connsiteX35" fmla="*/ 360176 w 2006862"/>
                <a:gd name="connsiteY35" fmla="*/ 1658227 h 2006801"/>
                <a:gd name="connsiteX36" fmla="*/ 354327 w 2006862"/>
                <a:gd name="connsiteY36" fmla="*/ 1660636 h 2006801"/>
                <a:gd name="connsiteX37" fmla="*/ 440855 w 2006862"/>
                <a:gd name="connsiteY37" fmla="*/ 1574091 h 2006801"/>
                <a:gd name="connsiteX38" fmla="*/ 435129 w 2006862"/>
                <a:gd name="connsiteY38" fmla="*/ 1571733 h 2006801"/>
                <a:gd name="connsiteX39" fmla="*/ 435059 w 2006862"/>
                <a:gd name="connsiteY39" fmla="*/ 1560280 h 2006801"/>
                <a:gd name="connsiteX40" fmla="*/ 435181 w 2006862"/>
                <a:gd name="connsiteY40" fmla="*/ 1560158 h 2006801"/>
                <a:gd name="connsiteX41" fmla="*/ 446705 w 2006862"/>
                <a:gd name="connsiteY41" fmla="*/ 1560158 h 2006801"/>
                <a:gd name="connsiteX42" fmla="*/ 446705 w 2006862"/>
                <a:gd name="connsiteY42" fmla="*/ 1571681 h 2006801"/>
                <a:gd name="connsiteX43" fmla="*/ 440855 w 2006862"/>
                <a:gd name="connsiteY43" fmla="*/ 1574091 h 2006801"/>
                <a:gd name="connsiteX44" fmla="*/ 527401 w 2006862"/>
                <a:gd name="connsiteY44" fmla="*/ 1487545 h 2006801"/>
                <a:gd name="connsiteX45" fmla="*/ 521674 w 2006862"/>
                <a:gd name="connsiteY45" fmla="*/ 1485188 h 2006801"/>
                <a:gd name="connsiteX46" fmla="*/ 521605 w 2006862"/>
                <a:gd name="connsiteY46" fmla="*/ 1473735 h 2006801"/>
                <a:gd name="connsiteX47" fmla="*/ 521727 w 2006862"/>
                <a:gd name="connsiteY47" fmla="*/ 1473612 h 2006801"/>
                <a:gd name="connsiteX48" fmla="*/ 533250 w 2006862"/>
                <a:gd name="connsiteY48" fmla="*/ 1473612 h 2006801"/>
                <a:gd name="connsiteX49" fmla="*/ 533250 w 2006862"/>
                <a:gd name="connsiteY49" fmla="*/ 1485136 h 2006801"/>
                <a:gd name="connsiteX50" fmla="*/ 527401 w 2006862"/>
                <a:gd name="connsiteY50" fmla="*/ 1487545 h 2006801"/>
                <a:gd name="connsiteX51" fmla="*/ 613912 w 2006862"/>
                <a:gd name="connsiteY51" fmla="*/ 1401104 h 2006801"/>
                <a:gd name="connsiteX52" fmla="*/ 608115 w 2006862"/>
                <a:gd name="connsiteY52" fmla="*/ 1398677 h 2006801"/>
                <a:gd name="connsiteX53" fmla="*/ 608185 w 2006862"/>
                <a:gd name="connsiteY53" fmla="*/ 1387154 h 2006801"/>
                <a:gd name="connsiteX54" fmla="*/ 608307 w 2006862"/>
                <a:gd name="connsiteY54" fmla="*/ 1387032 h 2006801"/>
                <a:gd name="connsiteX55" fmla="*/ 619830 w 2006862"/>
                <a:gd name="connsiteY55" fmla="*/ 1387102 h 2006801"/>
                <a:gd name="connsiteX56" fmla="*/ 619761 w 2006862"/>
                <a:gd name="connsiteY56" fmla="*/ 1398625 h 2006801"/>
                <a:gd name="connsiteX57" fmla="*/ 619638 w 2006862"/>
                <a:gd name="connsiteY57" fmla="*/ 1398747 h 2006801"/>
                <a:gd name="connsiteX58" fmla="*/ 613912 w 2006862"/>
                <a:gd name="connsiteY58" fmla="*/ 1401086 h 2006801"/>
                <a:gd name="connsiteX59" fmla="*/ 700457 w 2006862"/>
                <a:gd name="connsiteY59" fmla="*/ 1314559 h 2006801"/>
                <a:gd name="connsiteX60" fmla="*/ 694696 w 2006862"/>
                <a:gd name="connsiteY60" fmla="*/ 1312167 h 2006801"/>
                <a:gd name="connsiteX61" fmla="*/ 694696 w 2006862"/>
                <a:gd name="connsiteY61" fmla="*/ 1300644 h 2006801"/>
                <a:gd name="connsiteX62" fmla="*/ 694818 w 2006862"/>
                <a:gd name="connsiteY62" fmla="*/ 1300521 h 2006801"/>
                <a:gd name="connsiteX63" fmla="*/ 706341 w 2006862"/>
                <a:gd name="connsiteY63" fmla="*/ 1300521 h 2006801"/>
                <a:gd name="connsiteX64" fmla="*/ 706341 w 2006862"/>
                <a:gd name="connsiteY64" fmla="*/ 1312044 h 2006801"/>
                <a:gd name="connsiteX65" fmla="*/ 706219 w 2006862"/>
                <a:gd name="connsiteY65" fmla="*/ 1312167 h 2006801"/>
                <a:gd name="connsiteX66" fmla="*/ 700457 w 2006862"/>
                <a:gd name="connsiteY66" fmla="*/ 1314559 h 2006801"/>
                <a:gd name="connsiteX67" fmla="*/ 787003 w 2006862"/>
                <a:gd name="connsiteY67" fmla="*/ 1228013 h 2006801"/>
                <a:gd name="connsiteX68" fmla="*/ 781276 w 2006862"/>
                <a:gd name="connsiteY68" fmla="*/ 1225673 h 2006801"/>
                <a:gd name="connsiteX69" fmla="*/ 781189 w 2006862"/>
                <a:gd name="connsiteY69" fmla="*/ 1214150 h 2006801"/>
                <a:gd name="connsiteX70" fmla="*/ 781311 w 2006862"/>
                <a:gd name="connsiteY70" fmla="*/ 1214028 h 2006801"/>
                <a:gd name="connsiteX71" fmla="*/ 792834 w 2006862"/>
                <a:gd name="connsiteY71" fmla="*/ 1213941 h 2006801"/>
                <a:gd name="connsiteX72" fmla="*/ 792904 w 2006862"/>
                <a:gd name="connsiteY72" fmla="*/ 1225464 h 2006801"/>
                <a:gd name="connsiteX73" fmla="*/ 792782 w 2006862"/>
                <a:gd name="connsiteY73" fmla="*/ 1225586 h 2006801"/>
                <a:gd name="connsiteX74" fmla="*/ 786985 w 2006862"/>
                <a:gd name="connsiteY74" fmla="*/ 1228013 h 2006801"/>
                <a:gd name="connsiteX75" fmla="*/ 873584 w 2006862"/>
                <a:gd name="connsiteY75" fmla="*/ 1141380 h 2006801"/>
                <a:gd name="connsiteX76" fmla="*/ 867857 w 2006862"/>
                <a:gd name="connsiteY76" fmla="*/ 1139023 h 2006801"/>
                <a:gd name="connsiteX77" fmla="*/ 867787 w 2006862"/>
                <a:gd name="connsiteY77" fmla="*/ 1127570 h 2006801"/>
                <a:gd name="connsiteX78" fmla="*/ 867909 w 2006862"/>
                <a:gd name="connsiteY78" fmla="*/ 1127447 h 2006801"/>
                <a:gd name="connsiteX79" fmla="*/ 879432 w 2006862"/>
                <a:gd name="connsiteY79" fmla="*/ 1127447 h 2006801"/>
                <a:gd name="connsiteX80" fmla="*/ 879432 w 2006862"/>
                <a:gd name="connsiteY80" fmla="*/ 1138971 h 2006801"/>
                <a:gd name="connsiteX81" fmla="*/ 873584 w 2006862"/>
                <a:gd name="connsiteY81" fmla="*/ 1141380 h 2006801"/>
                <a:gd name="connsiteX82" fmla="*/ 960076 w 2006862"/>
                <a:gd name="connsiteY82" fmla="*/ 1054939 h 2006801"/>
                <a:gd name="connsiteX83" fmla="*/ 954280 w 2006862"/>
                <a:gd name="connsiteY83" fmla="*/ 1052512 h 2006801"/>
                <a:gd name="connsiteX84" fmla="*/ 954350 w 2006862"/>
                <a:gd name="connsiteY84" fmla="*/ 1040989 h 2006801"/>
                <a:gd name="connsiteX85" fmla="*/ 954472 w 2006862"/>
                <a:gd name="connsiteY85" fmla="*/ 1040867 h 2006801"/>
                <a:gd name="connsiteX86" fmla="*/ 965995 w 2006862"/>
                <a:gd name="connsiteY86" fmla="*/ 1040937 h 2006801"/>
                <a:gd name="connsiteX87" fmla="*/ 965925 w 2006862"/>
                <a:gd name="connsiteY87" fmla="*/ 1052460 h 2006801"/>
                <a:gd name="connsiteX88" fmla="*/ 965803 w 2006862"/>
                <a:gd name="connsiteY88" fmla="*/ 1052582 h 2006801"/>
                <a:gd name="connsiteX89" fmla="*/ 960076 w 2006862"/>
                <a:gd name="connsiteY89" fmla="*/ 1054922 h 2006801"/>
                <a:gd name="connsiteX90" fmla="*/ 1046622 w 2006862"/>
                <a:gd name="connsiteY90" fmla="*/ 968394 h 2006801"/>
                <a:gd name="connsiteX91" fmla="*/ 1040861 w 2006862"/>
                <a:gd name="connsiteY91" fmla="*/ 966002 h 2006801"/>
                <a:gd name="connsiteX92" fmla="*/ 1040861 w 2006862"/>
                <a:gd name="connsiteY92" fmla="*/ 954479 h 2006801"/>
                <a:gd name="connsiteX93" fmla="*/ 1040983 w 2006862"/>
                <a:gd name="connsiteY93" fmla="*/ 954356 h 2006801"/>
                <a:gd name="connsiteX94" fmla="*/ 1052506 w 2006862"/>
                <a:gd name="connsiteY94" fmla="*/ 954356 h 2006801"/>
                <a:gd name="connsiteX95" fmla="*/ 1052506 w 2006862"/>
                <a:gd name="connsiteY95" fmla="*/ 965880 h 2006801"/>
                <a:gd name="connsiteX96" fmla="*/ 1052384 w 2006862"/>
                <a:gd name="connsiteY96" fmla="*/ 966002 h 2006801"/>
                <a:gd name="connsiteX97" fmla="*/ 1046622 w 2006862"/>
                <a:gd name="connsiteY97" fmla="*/ 968394 h 2006801"/>
                <a:gd name="connsiteX98" fmla="*/ 1133168 w 2006862"/>
                <a:gd name="connsiteY98" fmla="*/ 881848 h 2006801"/>
                <a:gd name="connsiteX99" fmla="*/ 1127441 w 2006862"/>
                <a:gd name="connsiteY99" fmla="*/ 879508 h 2006801"/>
                <a:gd name="connsiteX100" fmla="*/ 1127371 w 2006862"/>
                <a:gd name="connsiteY100" fmla="*/ 867985 h 2006801"/>
                <a:gd name="connsiteX101" fmla="*/ 1127494 w 2006862"/>
                <a:gd name="connsiteY101" fmla="*/ 867863 h 2006801"/>
                <a:gd name="connsiteX102" fmla="*/ 1139017 w 2006862"/>
                <a:gd name="connsiteY102" fmla="*/ 867793 h 2006801"/>
                <a:gd name="connsiteX103" fmla="*/ 1139086 w 2006862"/>
                <a:gd name="connsiteY103" fmla="*/ 879317 h 2006801"/>
                <a:gd name="connsiteX104" fmla="*/ 1138964 w 2006862"/>
                <a:gd name="connsiteY104" fmla="*/ 879439 h 2006801"/>
                <a:gd name="connsiteX105" fmla="*/ 1133168 w 2006862"/>
                <a:gd name="connsiteY105" fmla="*/ 881866 h 2006801"/>
                <a:gd name="connsiteX106" fmla="*/ 1219714 w 2006862"/>
                <a:gd name="connsiteY106" fmla="*/ 795302 h 2006801"/>
                <a:gd name="connsiteX107" fmla="*/ 1213987 w 2006862"/>
                <a:gd name="connsiteY107" fmla="*/ 792963 h 2006801"/>
                <a:gd name="connsiteX108" fmla="*/ 1213917 w 2006862"/>
                <a:gd name="connsiteY108" fmla="*/ 781440 h 2006801"/>
                <a:gd name="connsiteX109" fmla="*/ 1214039 w 2006862"/>
                <a:gd name="connsiteY109" fmla="*/ 781317 h 2006801"/>
                <a:gd name="connsiteX110" fmla="*/ 1225562 w 2006862"/>
                <a:gd name="connsiteY110" fmla="*/ 781248 h 2006801"/>
                <a:gd name="connsiteX111" fmla="*/ 1225632 w 2006862"/>
                <a:gd name="connsiteY111" fmla="*/ 792771 h 2006801"/>
                <a:gd name="connsiteX112" fmla="*/ 1225510 w 2006862"/>
                <a:gd name="connsiteY112" fmla="*/ 792893 h 2006801"/>
                <a:gd name="connsiteX113" fmla="*/ 1219714 w 2006862"/>
                <a:gd name="connsiteY113" fmla="*/ 795320 h 2006801"/>
                <a:gd name="connsiteX114" fmla="*/ 1306294 w 2006862"/>
                <a:gd name="connsiteY114" fmla="*/ 708670 h 2006801"/>
                <a:gd name="connsiteX115" fmla="*/ 1300567 w 2006862"/>
                <a:gd name="connsiteY115" fmla="*/ 706313 h 2006801"/>
                <a:gd name="connsiteX116" fmla="*/ 1300497 w 2006862"/>
                <a:gd name="connsiteY116" fmla="*/ 694859 h 2006801"/>
                <a:gd name="connsiteX117" fmla="*/ 1300620 w 2006862"/>
                <a:gd name="connsiteY117" fmla="*/ 694737 h 2006801"/>
                <a:gd name="connsiteX118" fmla="*/ 1312143 w 2006862"/>
                <a:gd name="connsiteY118" fmla="*/ 694737 h 2006801"/>
                <a:gd name="connsiteX119" fmla="*/ 1312143 w 2006862"/>
                <a:gd name="connsiteY119" fmla="*/ 706260 h 2006801"/>
                <a:gd name="connsiteX120" fmla="*/ 1306294 w 2006862"/>
                <a:gd name="connsiteY120" fmla="*/ 708670 h 2006801"/>
                <a:gd name="connsiteX121" fmla="*/ 1392822 w 2006862"/>
                <a:gd name="connsiteY121" fmla="*/ 622124 h 2006801"/>
                <a:gd name="connsiteX122" fmla="*/ 1387095 w 2006862"/>
                <a:gd name="connsiteY122" fmla="*/ 619767 h 2006801"/>
                <a:gd name="connsiteX123" fmla="*/ 1387025 w 2006862"/>
                <a:gd name="connsiteY123" fmla="*/ 608314 h 2006801"/>
                <a:gd name="connsiteX124" fmla="*/ 1387148 w 2006862"/>
                <a:gd name="connsiteY124" fmla="*/ 608192 h 2006801"/>
                <a:gd name="connsiteX125" fmla="*/ 1398671 w 2006862"/>
                <a:gd name="connsiteY125" fmla="*/ 608192 h 2006801"/>
                <a:gd name="connsiteX126" fmla="*/ 1398671 w 2006862"/>
                <a:gd name="connsiteY126" fmla="*/ 619715 h 2006801"/>
                <a:gd name="connsiteX127" fmla="*/ 1392822 w 2006862"/>
                <a:gd name="connsiteY127" fmla="*/ 622124 h 2006801"/>
                <a:gd name="connsiteX128" fmla="*/ 1479332 w 2006862"/>
                <a:gd name="connsiteY128" fmla="*/ 535683 h 2006801"/>
                <a:gd name="connsiteX129" fmla="*/ 1473536 w 2006862"/>
                <a:gd name="connsiteY129" fmla="*/ 533256 h 2006801"/>
                <a:gd name="connsiteX130" fmla="*/ 1473606 w 2006862"/>
                <a:gd name="connsiteY130" fmla="*/ 521733 h 2006801"/>
                <a:gd name="connsiteX131" fmla="*/ 1473728 w 2006862"/>
                <a:gd name="connsiteY131" fmla="*/ 521611 h 2006801"/>
                <a:gd name="connsiteX132" fmla="*/ 1485251 w 2006862"/>
                <a:gd name="connsiteY132" fmla="*/ 521681 h 2006801"/>
                <a:gd name="connsiteX133" fmla="*/ 1485181 w 2006862"/>
                <a:gd name="connsiteY133" fmla="*/ 533204 h 2006801"/>
                <a:gd name="connsiteX134" fmla="*/ 1485060 w 2006862"/>
                <a:gd name="connsiteY134" fmla="*/ 533326 h 2006801"/>
                <a:gd name="connsiteX135" fmla="*/ 1479332 w 2006862"/>
                <a:gd name="connsiteY135" fmla="*/ 535666 h 2006801"/>
                <a:gd name="connsiteX136" fmla="*/ 1565879 w 2006862"/>
                <a:gd name="connsiteY136" fmla="*/ 449137 h 2006801"/>
                <a:gd name="connsiteX137" fmla="*/ 1560116 w 2006862"/>
                <a:gd name="connsiteY137" fmla="*/ 446746 h 2006801"/>
                <a:gd name="connsiteX138" fmla="*/ 1560116 w 2006862"/>
                <a:gd name="connsiteY138" fmla="*/ 435223 h 2006801"/>
                <a:gd name="connsiteX139" fmla="*/ 1560239 w 2006862"/>
                <a:gd name="connsiteY139" fmla="*/ 435100 h 2006801"/>
                <a:gd name="connsiteX140" fmla="*/ 1571762 w 2006862"/>
                <a:gd name="connsiteY140" fmla="*/ 435100 h 2006801"/>
                <a:gd name="connsiteX141" fmla="*/ 1571762 w 2006862"/>
                <a:gd name="connsiteY141" fmla="*/ 446623 h 2006801"/>
                <a:gd name="connsiteX142" fmla="*/ 1571640 w 2006862"/>
                <a:gd name="connsiteY142" fmla="*/ 446746 h 2006801"/>
                <a:gd name="connsiteX143" fmla="*/ 1565879 w 2006862"/>
                <a:gd name="connsiteY143" fmla="*/ 449137 h 2006801"/>
                <a:gd name="connsiteX144" fmla="*/ 1652424 w 2006862"/>
                <a:gd name="connsiteY144" fmla="*/ 362592 h 2006801"/>
                <a:gd name="connsiteX145" fmla="*/ 1646698 w 2006862"/>
                <a:gd name="connsiteY145" fmla="*/ 360252 h 2006801"/>
                <a:gd name="connsiteX146" fmla="*/ 1646628 w 2006862"/>
                <a:gd name="connsiteY146" fmla="*/ 348729 h 2006801"/>
                <a:gd name="connsiteX147" fmla="*/ 1646750 w 2006862"/>
                <a:gd name="connsiteY147" fmla="*/ 348607 h 2006801"/>
                <a:gd name="connsiteX148" fmla="*/ 1658273 w 2006862"/>
                <a:gd name="connsiteY148" fmla="*/ 348537 h 2006801"/>
                <a:gd name="connsiteX149" fmla="*/ 1658343 w 2006862"/>
                <a:gd name="connsiteY149" fmla="*/ 360060 h 2006801"/>
                <a:gd name="connsiteX150" fmla="*/ 1658220 w 2006862"/>
                <a:gd name="connsiteY150" fmla="*/ 360183 h 2006801"/>
                <a:gd name="connsiteX151" fmla="*/ 1652424 w 2006862"/>
                <a:gd name="connsiteY151" fmla="*/ 362609 h 2006801"/>
                <a:gd name="connsiteX152" fmla="*/ 1739004 w 2006862"/>
                <a:gd name="connsiteY152" fmla="*/ 275959 h 2006801"/>
                <a:gd name="connsiteX153" fmla="*/ 1733278 w 2006862"/>
                <a:gd name="connsiteY153" fmla="*/ 273602 h 2006801"/>
                <a:gd name="connsiteX154" fmla="*/ 1733208 w 2006862"/>
                <a:gd name="connsiteY154" fmla="*/ 262149 h 2006801"/>
                <a:gd name="connsiteX155" fmla="*/ 1733330 w 2006862"/>
                <a:gd name="connsiteY155" fmla="*/ 262027 h 2006801"/>
                <a:gd name="connsiteX156" fmla="*/ 1744853 w 2006862"/>
                <a:gd name="connsiteY156" fmla="*/ 262027 h 2006801"/>
                <a:gd name="connsiteX157" fmla="*/ 1744853 w 2006862"/>
                <a:gd name="connsiteY157" fmla="*/ 273550 h 2006801"/>
                <a:gd name="connsiteX158" fmla="*/ 1739004 w 2006862"/>
                <a:gd name="connsiteY158" fmla="*/ 275959 h 2006801"/>
                <a:gd name="connsiteX159" fmla="*/ 1825515 w 2006862"/>
                <a:gd name="connsiteY159" fmla="*/ 189501 h 2006801"/>
                <a:gd name="connsiteX160" fmla="*/ 1819718 w 2006862"/>
                <a:gd name="connsiteY160" fmla="*/ 187074 h 2006801"/>
                <a:gd name="connsiteX161" fmla="*/ 1819788 w 2006862"/>
                <a:gd name="connsiteY161" fmla="*/ 175551 h 2006801"/>
                <a:gd name="connsiteX162" fmla="*/ 1819911 w 2006862"/>
                <a:gd name="connsiteY162" fmla="*/ 175429 h 2006801"/>
                <a:gd name="connsiteX163" fmla="*/ 1831434 w 2006862"/>
                <a:gd name="connsiteY163" fmla="*/ 175499 h 2006801"/>
                <a:gd name="connsiteX164" fmla="*/ 1831364 w 2006862"/>
                <a:gd name="connsiteY164" fmla="*/ 187022 h 2006801"/>
                <a:gd name="connsiteX165" fmla="*/ 1831241 w 2006862"/>
                <a:gd name="connsiteY165" fmla="*/ 187144 h 2006801"/>
                <a:gd name="connsiteX166" fmla="*/ 1825515 w 2006862"/>
                <a:gd name="connsiteY166" fmla="*/ 189483 h 2006801"/>
                <a:gd name="connsiteX167" fmla="*/ 1912043 w 2006862"/>
                <a:gd name="connsiteY167" fmla="*/ 102955 h 2006801"/>
                <a:gd name="connsiteX168" fmla="*/ 1906246 w 2006862"/>
                <a:gd name="connsiteY168" fmla="*/ 100528 h 2006801"/>
                <a:gd name="connsiteX169" fmla="*/ 1906316 w 2006862"/>
                <a:gd name="connsiteY169" fmla="*/ 89005 h 2006801"/>
                <a:gd name="connsiteX170" fmla="*/ 1906439 w 2006862"/>
                <a:gd name="connsiteY170" fmla="*/ 88883 h 2006801"/>
                <a:gd name="connsiteX171" fmla="*/ 1917962 w 2006862"/>
                <a:gd name="connsiteY171" fmla="*/ 88970 h 2006801"/>
                <a:gd name="connsiteX172" fmla="*/ 1917892 w 2006862"/>
                <a:gd name="connsiteY172" fmla="*/ 100493 h 2006801"/>
                <a:gd name="connsiteX173" fmla="*/ 1917770 w 2006862"/>
                <a:gd name="connsiteY173" fmla="*/ 100616 h 2006801"/>
                <a:gd name="connsiteX174" fmla="*/ 1912043 w 2006862"/>
                <a:gd name="connsiteY174" fmla="*/ 102955 h 2006801"/>
                <a:gd name="connsiteX175" fmla="*/ 1998624 w 2006862"/>
                <a:gd name="connsiteY175" fmla="*/ 16322 h 2006801"/>
                <a:gd name="connsiteX176" fmla="*/ 1992914 w 2006862"/>
                <a:gd name="connsiteY176" fmla="*/ 13983 h 2006801"/>
                <a:gd name="connsiteX177" fmla="*/ 1992810 w 2006862"/>
                <a:gd name="connsiteY177" fmla="*/ 2529 h 2006801"/>
                <a:gd name="connsiteX178" fmla="*/ 1992932 w 2006862"/>
                <a:gd name="connsiteY178" fmla="*/ 2407 h 2006801"/>
                <a:gd name="connsiteX179" fmla="*/ 2004455 w 2006862"/>
                <a:gd name="connsiteY179" fmla="*/ 2372 h 2006801"/>
                <a:gd name="connsiteX180" fmla="*/ 2004490 w 2006862"/>
                <a:gd name="connsiteY180" fmla="*/ 13895 h 2006801"/>
                <a:gd name="connsiteX181" fmla="*/ 1998624 w 2006862"/>
                <a:gd name="connsiteY181" fmla="*/ 16340 h 200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006862" h="2006801">
                  <a:moveTo>
                    <a:pt x="8145" y="2006801"/>
                  </a:moveTo>
                  <a:cubicBezTo>
                    <a:pt x="6067" y="2006801"/>
                    <a:pt x="3990" y="2006016"/>
                    <a:pt x="2418" y="2004444"/>
                  </a:cubicBezTo>
                  <a:cubicBezTo>
                    <a:pt x="-759" y="2001266"/>
                    <a:pt x="-829" y="1996168"/>
                    <a:pt x="2349" y="1992991"/>
                  </a:cubicBezTo>
                  <a:lnTo>
                    <a:pt x="2471" y="1992869"/>
                  </a:lnTo>
                  <a:cubicBezTo>
                    <a:pt x="5648" y="1989691"/>
                    <a:pt x="10816" y="1989691"/>
                    <a:pt x="13994" y="1992869"/>
                  </a:cubicBezTo>
                  <a:cubicBezTo>
                    <a:pt x="17172" y="1996046"/>
                    <a:pt x="17172" y="2001214"/>
                    <a:pt x="13994" y="2004392"/>
                  </a:cubicBezTo>
                  <a:cubicBezTo>
                    <a:pt x="12388" y="2005998"/>
                    <a:pt x="10257" y="2006801"/>
                    <a:pt x="8145" y="2006801"/>
                  </a:cubicBezTo>
                  <a:close/>
                  <a:moveTo>
                    <a:pt x="94691" y="1920255"/>
                  </a:moveTo>
                  <a:cubicBezTo>
                    <a:pt x="92613" y="1920255"/>
                    <a:pt x="90535" y="1919470"/>
                    <a:pt x="88964" y="1917898"/>
                  </a:cubicBezTo>
                  <a:cubicBezTo>
                    <a:pt x="85786" y="1914721"/>
                    <a:pt x="85717" y="1909623"/>
                    <a:pt x="88894" y="1906445"/>
                  </a:cubicBezTo>
                  <a:lnTo>
                    <a:pt x="89016" y="1906323"/>
                  </a:lnTo>
                  <a:cubicBezTo>
                    <a:pt x="92194" y="1903145"/>
                    <a:pt x="97362" y="1903145"/>
                    <a:pt x="100540" y="1906323"/>
                  </a:cubicBezTo>
                  <a:cubicBezTo>
                    <a:pt x="103717" y="1909501"/>
                    <a:pt x="103717" y="1914669"/>
                    <a:pt x="100540" y="1917846"/>
                  </a:cubicBezTo>
                  <a:cubicBezTo>
                    <a:pt x="98933" y="1919452"/>
                    <a:pt x="96803" y="1920255"/>
                    <a:pt x="94691" y="1920255"/>
                  </a:cubicBezTo>
                  <a:close/>
                  <a:moveTo>
                    <a:pt x="181201" y="1833815"/>
                  </a:moveTo>
                  <a:cubicBezTo>
                    <a:pt x="179124" y="1833815"/>
                    <a:pt x="177028" y="1833012"/>
                    <a:pt x="175440" y="1831423"/>
                  </a:cubicBezTo>
                  <a:cubicBezTo>
                    <a:pt x="172262" y="1828245"/>
                    <a:pt x="172262" y="1823077"/>
                    <a:pt x="175440" y="1819900"/>
                  </a:cubicBezTo>
                  <a:lnTo>
                    <a:pt x="175562" y="1819777"/>
                  </a:lnTo>
                  <a:cubicBezTo>
                    <a:pt x="178739" y="1816600"/>
                    <a:pt x="183908" y="1816600"/>
                    <a:pt x="187085" y="1819777"/>
                  </a:cubicBezTo>
                  <a:cubicBezTo>
                    <a:pt x="190263" y="1822955"/>
                    <a:pt x="190263" y="1828123"/>
                    <a:pt x="187085" y="1831301"/>
                  </a:cubicBezTo>
                  <a:lnTo>
                    <a:pt x="186963" y="1831423"/>
                  </a:lnTo>
                  <a:cubicBezTo>
                    <a:pt x="185374" y="1833012"/>
                    <a:pt x="183279" y="1833815"/>
                    <a:pt x="181201" y="1833815"/>
                  </a:cubicBezTo>
                  <a:close/>
                  <a:moveTo>
                    <a:pt x="267747" y="1747269"/>
                  </a:moveTo>
                  <a:cubicBezTo>
                    <a:pt x="265669" y="1747269"/>
                    <a:pt x="263574" y="1746466"/>
                    <a:pt x="261985" y="1744877"/>
                  </a:cubicBezTo>
                  <a:cubicBezTo>
                    <a:pt x="258808" y="1741699"/>
                    <a:pt x="258808" y="1736532"/>
                    <a:pt x="261985" y="1733354"/>
                  </a:cubicBezTo>
                  <a:lnTo>
                    <a:pt x="262107" y="1733232"/>
                  </a:lnTo>
                  <a:cubicBezTo>
                    <a:pt x="265285" y="1730054"/>
                    <a:pt x="270453" y="1730054"/>
                    <a:pt x="273631" y="1733232"/>
                  </a:cubicBezTo>
                  <a:cubicBezTo>
                    <a:pt x="276808" y="1736409"/>
                    <a:pt x="276808" y="1741577"/>
                    <a:pt x="273631" y="1744755"/>
                  </a:cubicBezTo>
                  <a:lnTo>
                    <a:pt x="273508" y="1744877"/>
                  </a:lnTo>
                  <a:cubicBezTo>
                    <a:pt x="271920" y="1746466"/>
                    <a:pt x="269825" y="1747269"/>
                    <a:pt x="267747" y="1747269"/>
                  </a:cubicBezTo>
                  <a:close/>
                  <a:moveTo>
                    <a:pt x="354327" y="1660636"/>
                  </a:moveTo>
                  <a:cubicBezTo>
                    <a:pt x="352250" y="1660636"/>
                    <a:pt x="350172" y="1659851"/>
                    <a:pt x="348601" y="1658279"/>
                  </a:cubicBezTo>
                  <a:cubicBezTo>
                    <a:pt x="345423" y="1655101"/>
                    <a:pt x="345353" y="1650003"/>
                    <a:pt x="348531" y="1646826"/>
                  </a:cubicBezTo>
                  <a:lnTo>
                    <a:pt x="348653" y="1646704"/>
                  </a:lnTo>
                  <a:cubicBezTo>
                    <a:pt x="351831" y="1643526"/>
                    <a:pt x="356999" y="1643526"/>
                    <a:pt x="360176" y="1646704"/>
                  </a:cubicBezTo>
                  <a:cubicBezTo>
                    <a:pt x="363354" y="1649881"/>
                    <a:pt x="363354" y="1655049"/>
                    <a:pt x="360176" y="1658227"/>
                  </a:cubicBezTo>
                  <a:cubicBezTo>
                    <a:pt x="358570" y="1659833"/>
                    <a:pt x="356440" y="1660636"/>
                    <a:pt x="354327" y="1660636"/>
                  </a:cubicBezTo>
                  <a:close/>
                  <a:moveTo>
                    <a:pt x="440855" y="1574091"/>
                  </a:moveTo>
                  <a:cubicBezTo>
                    <a:pt x="438778" y="1574091"/>
                    <a:pt x="436700" y="1573305"/>
                    <a:pt x="435129" y="1571733"/>
                  </a:cubicBezTo>
                  <a:cubicBezTo>
                    <a:pt x="431951" y="1568556"/>
                    <a:pt x="431881" y="1563458"/>
                    <a:pt x="435059" y="1560280"/>
                  </a:cubicBezTo>
                  <a:lnTo>
                    <a:pt x="435181" y="1560158"/>
                  </a:lnTo>
                  <a:cubicBezTo>
                    <a:pt x="438359" y="1556980"/>
                    <a:pt x="443527" y="1556980"/>
                    <a:pt x="446705" y="1560158"/>
                  </a:cubicBezTo>
                  <a:cubicBezTo>
                    <a:pt x="449882" y="1563336"/>
                    <a:pt x="449882" y="1568504"/>
                    <a:pt x="446705" y="1571681"/>
                  </a:cubicBezTo>
                  <a:cubicBezTo>
                    <a:pt x="445098" y="1573287"/>
                    <a:pt x="442968" y="1574091"/>
                    <a:pt x="440855" y="1574091"/>
                  </a:cubicBezTo>
                  <a:close/>
                  <a:moveTo>
                    <a:pt x="527401" y="1487545"/>
                  </a:moveTo>
                  <a:cubicBezTo>
                    <a:pt x="525323" y="1487545"/>
                    <a:pt x="523246" y="1486759"/>
                    <a:pt x="521674" y="1485188"/>
                  </a:cubicBezTo>
                  <a:cubicBezTo>
                    <a:pt x="518497" y="1482010"/>
                    <a:pt x="518427" y="1476912"/>
                    <a:pt x="521605" y="1473735"/>
                  </a:cubicBezTo>
                  <a:lnTo>
                    <a:pt x="521727" y="1473612"/>
                  </a:lnTo>
                  <a:cubicBezTo>
                    <a:pt x="524904" y="1470435"/>
                    <a:pt x="530073" y="1470435"/>
                    <a:pt x="533250" y="1473612"/>
                  </a:cubicBezTo>
                  <a:cubicBezTo>
                    <a:pt x="536428" y="1476790"/>
                    <a:pt x="536428" y="1481958"/>
                    <a:pt x="533250" y="1485136"/>
                  </a:cubicBezTo>
                  <a:cubicBezTo>
                    <a:pt x="531644" y="1486742"/>
                    <a:pt x="529514" y="1487545"/>
                    <a:pt x="527401" y="1487545"/>
                  </a:cubicBezTo>
                  <a:close/>
                  <a:moveTo>
                    <a:pt x="613912" y="1401104"/>
                  </a:moveTo>
                  <a:cubicBezTo>
                    <a:pt x="611799" y="1401104"/>
                    <a:pt x="609704" y="1400301"/>
                    <a:pt x="608115" y="1398677"/>
                  </a:cubicBezTo>
                  <a:cubicBezTo>
                    <a:pt x="604955" y="1395482"/>
                    <a:pt x="604990" y="1390314"/>
                    <a:pt x="608185" y="1387154"/>
                  </a:cubicBezTo>
                  <a:lnTo>
                    <a:pt x="608307" y="1387032"/>
                  </a:lnTo>
                  <a:cubicBezTo>
                    <a:pt x="611502" y="1383872"/>
                    <a:pt x="616670" y="1383907"/>
                    <a:pt x="619830" y="1387102"/>
                  </a:cubicBezTo>
                  <a:cubicBezTo>
                    <a:pt x="622991" y="1390297"/>
                    <a:pt x="622956" y="1395465"/>
                    <a:pt x="619761" y="1398625"/>
                  </a:cubicBezTo>
                  <a:lnTo>
                    <a:pt x="619638" y="1398747"/>
                  </a:lnTo>
                  <a:cubicBezTo>
                    <a:pt x="618050" y="1400318"/>
                    <a:pt x="615990" y="1401086"/>
                    <a:pt x="613912" y="1401086"/>
                  </a:cubicBezTo>
                  <a:close/>
                  <a:moveTo>
                    <a:pt x="700457" y="1314559"/>
                  </a:moveTo>
                  <a:cubicBezTo>
                    <a:pt x="698380" y="1314559"/>
                    <a:pt x="696285" y="1313756"/>
                    <a:pt x="694696" y="1312167"/>
                  </a:cubicBezTo>
                  <a:cubicBezTo>
                    <a:pt x="691518" y="1308989"/>
                    <a:pt x="691518" y="1303821"/>
                    <a:pt x="694696" y="1300644"/>
                  </a:cubicBezTo>
                  <a:lnTo>
                    <a:pt x="694818" y="1300521"/>
                  </a:lnTo>
                  <a:cubicBezTo>
                    <a:pt x="697996" y="1297344"/>
                    <a:pt x="703164" y="1297344"/>
                    <a:pt x="706341" y="1300521"/>
                  </a:cubicBezTo>
                  <a:cubicBezTo>
                    <a:pt x="709518" y="1303699"/>
                    <a:pt x="709518" y="1308867"/>
                    <a:pt x="706341" y="1312044"/>
                  </a:cubicBezTo>
                  <a:lnTo>
                    <a:pt x="706219" y="1312167"/>
                  </a:lnTo>
                  <a:cubicBezTo>
                    <a:pt x="704630" y="1313756"/>
                    <a:pt x="702535" y="1314559"/>
                    <a:pt x="700457" y="1314559"/>
                  </a:cubicBezTo>
                  <a:close/>
                  <a:moveTo>
                    <a:pt x="787003" y="1228013"/>
                  </a:moveTo>
                  <a:cubicBezTo>
                    <a:pt x="784943" y="1228013"/>
                    <a:pt x="782865" y="1227227"/>
                    <a:pt x="781276" y="1225673"/>
                  </a:cubicBezTo>
                  <a:cubicBezTo>
                    <a:pt x="778064" y="1222513"/>
                    <a:pt x="778046" y="1217363"/>
                    <a:pt x="781189" y="1214150"/>
                  </a:cubicBezTo>
                  <a:lnTo>
                    <a:pt x="781311" y="1214028"/>
                  </a:lnTo>
                  <a:cubicBezTo>
                    <a:pt x="784471" y="1210815"/>
                    <a:pt x="789622" y="1210780"/>
                    <a:pt x="792834" y="1213941"/>
                  </a:cubicBezTo>
                  <a:cubicBezTo>
                    <a:pt x="796029" y="1217101"/>
                    <a:pt x="796082" y="1222251"/>
                    <a:pt x="792904" y="1225464"/>
                  </a:cubicBezTo>
                  <a:lnTo>
                    <a:pt x="792782" y="1225586"/>
                  </a:lnTo>
                  <a:cubicBezTo>
                    <a:pt x="791193" y="1227210"/>
                    <a:pt x="789080" y="1228013"/>
                    <a:pt x="786985" y="1228013"/>
                  </a:cubicBezTo>
                  <a:close/>
                  <a:moveTo>
                    <a:pt x="873584" y="1141380"/>
                  </a:moveTo>
                  <a:cubicBezTo>
                    <a:pt x="871506" y="1141380"/>
                    <a:pt x="869428" y="1140594"/>
                    <a:pt x="867857" y="1139023"/>
                  </a:cubicBezTo>
                  <a:cubicBezTo>
                    <a:pt x="864679" y="1135845"/>
                    <a:pt x="864609" y="1130747"/>
                    <a:pt x="867787" y="1127570"/>
                  </a:cubicBezTo>
                  <a:lnTo>
                    <a:pt x="867909" y="1127447"/>
                  </a:lnTo>
                  <a:cubicBezTo>
                    <a:pt x="871087" y="1124270"/>
                    <a:pt x="876254" y="1124270"/>
                    <a:pt x="879432" y="1127447"/>
                  </a:cubicBezTo>
                  <a:cubicBezTo>
                    <a:pt x="882610" y="1130625"/>
                    <a:pt x="882610" y="1135793"/>
                    <a:pt x="879432" y="1138971"/>
                  </a:cubicBezTo>
                  <a:cubicBezTo>
                    <a:pt x="877826" y="1140577"/>
                    <a:pt x="875696" y="1141380"/>
                    <a:pt x="873584" y="1141380"/>
                  </a:cubicBezTo>
                  <a:close/>
                  <a:moveTo>
                    <a:pt x="960076" y="1054939"/>
                  </a:moveTo>
                  <a:cubicBezTo>
                    <a:pt x="957964" y="1054939"/>
                    <a:pt x="955869" y="1054136"/>
                    <a:pt x="954280" y="1052512"/>
                  </a:cubicBezTo>
                  <a:cubicBezTo>
                    <a:pt x="951120" y="1049317"/>
                    <a:pt x="951155" y="1044149"/>
                    <a:pt x="954350" y="1040989"/>
                  </a:cubicBezTo>
                  <a:lnTo>
                    <a:pt x="954472" y="1040867"/>
                  </a:lnTo>
                  <a:cubicBezTo>
                    <a:pt x="957667" y="1037707"/>
                    <a:pt x="962835" y="1037742"/>
                    <a:pt x="965995" y="1040937"/>
                  </a:cubicBezTo>
                  <a:cubicBezTo>
                    <a:pt x="969156" y="1044149"/>
                    <a:pt x="969121" y="1049300"/>
                    <a:pt x="965925" y="1052460"/>
                  </a:cubicBezTo>
                  <a:lnTo>
                    <a:pt x="965803" y="1052582"/>
                  </a:lnTo>
                  <a:cubicBezTo>
                    <a:pt x="964215" y="1054153"/>
                    <a:pt x="962154" y="1054922"/>
                    <a:pt x="960076" y="1054922"/>
                  </a:cubicBezTo>
                  <a:close/>
                  <a:moveTo>
                    <a:pt x="1046622" y="968394"/>
                  </a:moveTo>
                  <a:cubicBezTo>
                    <a:pt x="1044545" y="968394"/>
                    <a:pt x="1042450" y="967591"/>
                    <a:pt x="1040861" y="966002"/>
                  </a:cubicBezTo>
                  <a:cubicBezTo>
                    <a:pt x="1037683" y="962824"/>
                    <a:pt x="1037683" y="957656"/>
                    <a:pt x="1040861" y="954479"/>
                  </a:cubicBezTo>
                  <a:lnTo>
                    <a:pt x="1040983" y="954356"/>
                  </a:lnTo>
                  <a:cubicBezTo>
                    <a:pt x="1044161" y="951179"/>
                    <a:pt x="1049328" y="951179"/>
                    <a:pt x="1052506" y="954356"/>
                  </a:cubicBezTo>
                  <a:cubicBezTo>
                    <a:pt x="1055683" y="957534"/>
                    <a:pt x="1055683" y="962702"/>
                    <a:pt x="1052506" y="965880"/>
                  </a:cubicBezTo>
                  <a:lnTo>
                    <a:pt x="1052384" y="966002"/>
                  </a:lnTo>
                  <a:cubicBezTo>
                    <a:pt x="1050795" y="967591"/>
                    <a:pt x="1048700" y="968394"/>
                    <a:pt x="1046622" y="968394"/>
                  </a:cubicBezTo>
                  <a:close/>
                  <a:moveTo>
                    <a:pt x="1133168" y="881848"/>
                  </a:moveTo>
                  <a:cubicBezTo>
                    <a:pt x="1131108" y="881848"/>
                    <a:pt x="1129030" y="881062"/>
                    <a:pt x="1127441" y="879508"/>
                  </a:cubicBezTo>
                  <a:cubicBezTo>
                    <a:pt x="1124246" y="876349"/>
                    <a:pt x="1124211" y="871198"/>
                    <a:pt x="1127371" y="867985"/>
                  </a:cubicBezTo>
                  <a:lnTo>
                    <a:pt x="1127494" y="867863"/>
                  </a:lnTo>
                  <a:cubicBezTo>
                    <a:pt x="1130654" y="864650"/>
                    <a:pt x="1135804" y="864616"/>
                    <a:pt x="1139017" y="867793"/>
                  </a:cubicBezTo>
                  <a:cubicBezTo>
                    <a:pt x="1142212" y="870953"/>
                    <a:pt x="1142264" y="876104"/>
                    <a:pt x="1139086" y="879317"/>
                  </a:cubicBezTo>
                  <a:lnTo>
                    <a:pt x="1138964" y="879439"/>
                  </a:lnTo>
                  <a:cubicBezTo>
                    <a:pt x="1137375" y="881062"/>
                    <a:pt x="1135263" y="881866"/>
                    <a:pt x="1133168" y="881866"/>
                  </a:cubicBezTo>
                  <a:close/>
                  <a:moveTo>
                    <a:pt x="1219714" y="795302"/>
                  </a:moveTo>
                  <a:cubicBezTo>
                    <a:pt x="1217653" y="795302"/>
                    <a:pt x="1215576" y="794517"/>
                    <a:pt x="1213987" y="792963"/>
                  </a:cubicBezTo>
                  <a:cubicBezTo>
                    <a:pt x="1210774" y="789803"/>
                    <a:pt x="1210739" y="784652"/>
                    <a:pt x="1213917" y="781440"/>
                  </a:cubicBezTo>
                  <a:lnTo>
                    <a:pt x="1214039" y="781317"/>
                  </a:lnTo>
                  <a:cubicBezTo>
                    <a:pt x="1217199" y="778123"/>
                    <a:pt x="1222350" y="778088"/>
                    <a:pt x="1225562" y="781248"/>
                  </a:cubicBezTo>
                  <a:cubicBezTo>
                    <a:pt x="1228757" y="784408"/>
                    <a:pt x="1228792" y="789558"/>
                    <a:pt x="1225632" y="792771"/>
                  </a:cubicBezTo>
                  <a:lnTo>
                    <a:pt x="1225510" y="792893"/>
                  </a:lnTo>
                  <a:cubicBezTo>
                    <a:pt x="1223921" y="794517"/>
                    <a:pt x="1221809" y="795320"/>
                    <a:pt x="1219714" y="795320"/>
                  </a:cubicBezTo>
                  <a:close/>
                  <a:moveTo>
                    <a:pt x="1306294" y="708670"/>
                  </a:moveTo>
                  <a:cubicBezTo>
                    <a:pt x="1304216" y="708670"/>
                    <a:pt x="1302139" y="707884"/>
                    <a:pt x="1300567" y="706313"/>
                  </a:cubicBezTo>
                  <a:cubicBezTo>
                    <a:pt x="1297390" y="703135"/>
                    <a:pt x="1297320" y="698037"/>
                    <a:pt x="1300497" y="694859"/>
                  </a:cubicBezTo>
                  <a:lnTo>
                    <a:pt x="1300620" y="694737"/>
                  </a:lnTo>
                  <a:cubicBezTo>
                    <a:pt x="1303797" y="691560"/>
                    <a:pt x="1308965" y="691560"/>
                    <a:pt x="1312143" y="694737"/>
                  </a:cubicBezTo>
                  <a:cubicBezTo>
                    <a:pt x="1315320" y="697914"/>
                    <a:pt x="1315320" y="703083"/>
                    <a:pt x="1312143" y="706260"/>
                  </a:cubicBezTo>
                  <a:cubicBezTo>
                    <a:pt x="1310536" y="707867"/>
                    <a:pt x="1308406" y="708670"/>
                    <a:pt x="1306294" y="708670"/>
                  </a:cubicBezTo>
                  <a:close/>
                  <a:moveTo>
                    <a:pt x="1392822" y="622124"/>
                  </a:moveTo>
                  <a:cubicBezTo>
                    <a:pt x="1390745" y="622124"/>
                    <a:pt x="1388667" y="621338"/>
                    <a:pt x="1387095" y="619767"/>
                  </a:cubicBezTo>
                  <a:cubicBezTo>
                    <a:pt x="1383918" y="616590"/>
                    <a:pt x="1383848" y="611491"/>
                    <a:pt x="1387025" y="608314"/>
                  </a:cubicBezTo>
                  <a:lnTo>
                    <a:pt x="1387148" y="608192"/>
                  </a:lnTo>
                  <a:cubicBezTo>
                    <a:pt x="1390326" y="605014"/>
                    <a:pt x="1395493" y="605014"/>
                    <a:pt x="1398671" y="608192"/>
                  </a:cubicBezTo>
                  <a:cubicBezTo>
                    <a:pt x="1401848" y="611369"/>
                    <a:pt x="1401848" y="616537"/>
                    <a:pt x="1398671" y="619715"/>
                  </a:cubicBezTo>
                  <a:cubicBezTo>
                    <a:pt x="1397065" y="621321"/>
                    <a:pt x="1394935" y="622124"/>
                    <a:pt x="1392822" y="622124"/>
                  </a:cubicBezTo>
                  <a:close/>
                  <a:moveTo>
                    <a:pt x="1479332" y="535683"/>
                  </a:moveTo>
                  <a:cubicBezTo>
                    <a:pt x="1477238" y="535683"/>
                    <a:pt x="1475125" y="534880"/>
                    <a:pt x="1473536" y="533256"/>
                  </a:cubicBezTo>
                  <a:cubicBezTo>
                    <a:pt x="1470376" y="530061"/>
                    <a:pt x="1470411" y="524893"/>
                    <a:pt x="1473606" y="521733"/>
                  </a:cubicBezTo>
                  <a:lnTo>
                    <a:pt x="1473728" y="521611"/>
                  </a:lnTo>
                  <a:cubicBezTo>
                    <a:pt x="1476923" y="518451"/>
                    <a:pt x="1482091" y="518486"/>
                    <a:pt x="1485251" y="521681"/>
                  </a:cubicBezTo>
                  <a:cubicBezTo>
                    <a:pt x="1488412" y="524893"/>
                    <a:pt x="1488377" y="530044"/>
                    <a:pt x="1485181" y="533204"/>
                  </a:cubicBezTo>
                  <a:lnTo>
                    <a:pt x="1485060" y="533326"/>
                  </a:lnTo>
                  <a:cubicBezTo>
                    <a:pt x="1483470" y="534898"/>
                    <a:pt x="1481410" y="535666"/>
                    <a:pt x="1479332" y="535666"/>
                  </a:cubicBezTo>
                  <a:close/>
                  <a:moveTo>
                    <a:pt x="1565879" y="449137"/>
                  </a:moveTo>
                  <a:cubicBezTo>
                    <a:pt x="1563801" y="449137"/>
                    <a:pt x="1561706" y="448334"/>
                    <a:pt x="1560116" y="446746"/>
                  </a:cubicBezTo>
                  <a:cubicBezTo>
                    <a:pt x="1556939" y="443568"/>
                    <a:pt x="1556939" y="438400"/>
                    <a:pt x="1560116" y="435223"/>
                  </a:cubicBezTo>
                  <a:lnTo>
                    <a:pt x="1560239" y="435100"/>
                  </a:lnTo>
                  <a:cubicBezTo>
                    <a:pt x="1563417" y="431923"/>
                    <a:pt x="1568584" y="431923"/>
                    <a:pt x="1571762" y="435100"/>
                  </a:cubicBezTo>
                  <a:cubicBezTo>
                    <a:pt x="1574940" y="438278"/>
                    <a:pt x="1574940" y="443446"/>
                    <a:pt x="1571762" y="446623"/>
                  </a:cubicBezTo>
                  <a:lnTo>
                    <a:pt x="1571640" y="446746"/>
                  </a:lnTo>
                  <a:cubicBezTo>
                    <a:pt x="1570051" y="448334"/>
                    <a:pt x="1567956" y="449137"/>
                    <a:pt x="1565879" y="449137"/>
                  </a:cubicBezTo>
                  <a:close/>
                  <a:moveTo>
                    <a:pt x="1652424" y="362592"/>
                  </a:moveTo>
                  <a:cubicBezTo>
                    <a:pt x="1650363" y="362592"/>
                    <a:pt x="1648286" y="361806"/>
                    <a:pt x="1646698" y="360252"/>
                  </a:cubicBezTo>
                  <a:cubicBezTo>
                    <a:pt x="1643484" y="357092"/>
                    <a:pt x="1643450" y="351942"/>
                    <a:pt x="1646628" y="348729"/>
                  </a:cubicBezTo>
                  <a:lnTo>
                    <a:pt x="1646750" y="348607"/>
                  </a:lnTo>
                  <a:cubicBezTo>
                    <a:pt x="1649910" y="345395"/>
                    <a:pt x="1655061" y="345360"/>
                    <a:pt x="1658273" y="348537"/>
                  </a:cubicBezTo>
                  <a:cubicBezTo>
                    <a:pt x="1661468" y="351697"/>
                    <a:pt x="1661520" y="356848"/>
                    <a:pt x="1658343" y="360060"/>
                  </a:cubicBezTo>
                  <a:lnTo>
                    <a:pt x="1658220" y="360183"/>
                  </a:lnTo>
                  <a:cubicBezTo>
                    <a:pt x="1656632" y="361806"/>
                    <a:pt x="1654519" y="362609"/>
                    <a:pt x="1652424" y="362609"/>
                  </a:cubicBezTo>
                  <a:close/>
                  <a:moveTo>
                    <a:pt x="1739004" y="275959"/>
                  </a:moveTo>
                  <a:cubicBezTo>
                    <a:pt x="1736926" y="275959"/>
                    <a:pt x="1734849" y="275173"/>
                    <a:pt x="1733278" y="273602"/>
                  </a:cubicBezTo>
                  <a:cubicBezTo>
                    <a:pt x="1730101" y="270425"/>
                    <a:pt x="1730031" y="265326"/>
                    <a:pt x="1733208" y="262149"/>
                  </a:cubicBezTo>
                  <a:lnTo>
                    <a:pt x="1733330" y="262027"/>
                  </a:lnTo>
                  <a:cubicBezTo>
                    <a:pt x="1736508" y="258849"/>
                    <a:pt x="1741676" y="258849"/>
                    <a:pt x="1744853" y="262027"/>
                  </a:cubicBezTo>
                  <a:cubicBezTo>
                    <a:pt x="1748031" y="265204"/>
                    <a:pt x="1748031" y="270372"/>
                    <a:pt x="1744853" y="273550"/>
                  </a:cubicBezTo>
                  <a:cubicBezTo>
                    <a:pt x="1743247" y="275156"/>
                    <a:pt x="1741117" y="275959"/>
                    <a:pt x="1739004" y="275959"/>
                  </a:cubicBezTo>
                  <a:close/>
                  <a:moveTo>
                    <a:pt x="1825515" y="189501"/>
                  </a:moveTo>
                  <a:cubicBezTo>
                    <a:pt x="1823403" y="189501"/>
                    <a:pt x="1821307" y="188698"/>
                    <a:pt x="1819718" y="187074"/>
                  </a:cubicBezTo>
                  <a:cubicBezTo>
                    <a:pt x="1816559" y="183879"/>
                    <a:pt x="1816594" y="178711"/>
                    <a:pt x="1819788" y="175551"/>
                  </a:cubicBezTo>
                  <a:lnTo>
                    <a:pt x="1819911" y="175429"/>
                  </a:lnTo>
                  <a:cubicBezTo>
                    <a:pt x="1823106" y="172268"/>
                    <a:pt x="1828274" y="172303"/>
                    <a:pt x="1831434" y="175499"/>
                  </a:cubicBezTo>
                  <a:cubicBezTo>
                    <a:pt x="1834594" y="178694"/>
                    <a:pt x="1834559" y="183861"/>
                    <a:pt x="1831364" y="187022"/>
                  </a:cubicBezTo>
                  <a:lnTo>
                    <a:pt x="1831241" y="187144"/>
                  </a:lnTo>
                  <a:cubicBezTo>
                    <a:pt x="1829653" y="188715"/>
                    <a:pt x="1827593" y="189483"/>
                    <a:pt x="1825515" y="189483"/>
                  </a:cubicBezTo>
                  <a:close/>
                  <a:moveTo>
                    <a:pt x="1912043" y="102955"/>
                  </a:moveTo>
                  <a:cubicBezTo>
                    <a:pt x="1909931" y="102955"/>
                    <a:pt x="1907835" y="102152"/>
                    <a:pt x="1906246" y="100528"/>
                  </a:cubicBezTo>
                  <a:cubicBezTo>
                    <a:pt x="1903086" y="97333"/>
                    <a:pt x="1903121" y="92165"/>
                    <a:pt x="1906316" y="89005"/>
                  </a:cubicBezTo>
                  <a:lnTo>
                    <a:pt x="1906439" y="88883"/>
                  </a:lnTo>
                  <a:cubicBezTo>
                    <a:pt x="1909651" y="85723"/>
                    <a:pt x="1914802" y="85758"/>
                    <a:pt x="1917962" y="88970"/>
                  </a:cubicBezTo>
                  <a:cubicBezTo>
                    <a:pt x="1921122" y="92183"/>
                    <a:pt x="1921087" y="97333"/>
                    <a:pt x="1917892" y="100493"/>
                  </a:cubicBezTo>
                  <a:lnTo>
                    <a:pt x="1917770" y="100616"/>
                  </a:lnTo>
                  <a:cubicBezTo>
                    <a:pt x="1916181" y="102187"/>
                    <a:pt x="1914121" y="102955"/>
                    <a:pt x="1912043" y="102955"/>
                  </a:cubicBezTo>
                  <a:close/>
                  <a:moveTo>
                    <a:pt x="1998624" y="16322"/>
                  </a:moveTo>
                  <a:cubicBezTo>
                    <a:pt x="1996546" y="16322"/>
                    <a:pt x="1994486" y="15554"/>
                    <a:pt x="1992914" y="13983"/>
                  </a:cubicBezTo>
                  <a:cubicBezTo>
                    <a:pt x="1989719" y="10805"/>
                    <a:pt x="1989649" y="5707"/>
                    <a:pt x="1992810" y="2529"/>
                  </a:cubicBezTo>
                  <a:lnTo>
                    <a:pt x="1992932" y="2407"/>
                  </a:lnTo>
                  <a:cubicBezTo>
                    <a:pt x="1996110" y="-788"/>
                    <a:pt x="2001260" y="-805"/>
                    <a:pt x="2004455" y="2372"/>
                  </a:cubicBezTo>
                  <a:cubicBezTo>
                    <a:pt x="2007650" y="5550"/>
                    <a:pt x="2007668" y="10701"/>
                    <a:pt x="2004490" y="13895"/>
                  </a:cubicBezTo>
                  <a:cubicBezTo>
                    <a:pt x="2002884" y="15519"/>
                    <a:pt x="2000754" y="16340"/>
                    <a:pt x="1998624" y="16340"/>
                  </a:cubicBezTo>
                  <a:close/>
                </a:path>
              </a:pathLst>
            </a:custGeom>
            <a:grpFill/>
            <a:ln w="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147CB5DC-F873-63AD-CFEB-0F148A9063DA}"/>
                </a:ext>
              </a:extLst>
            </p:cNvPr>
            <p:cNvSpPr/>
            <p:nvPr/>
          </p:nvSpPr>
          <p:spPr>
            <a:xfrm>
              <a:off x="6961101" y="3284293"/>
              <a:ext cx="1921470" cy="1921431"/>
            </a:xfrm>
            <a:custGeom>
              <a:avLst/>
              <a:gdLst>
                <a:gd name="connsiteX0" fmla="*/ 8734 w 1921470"/>
                <a:gd name="connsiteY0" fmla="*/ 1921431 h 1921431"/>
                <a:gd name="connsiteX1" fmla="*/ 2589 w 1921470"/>
                <a:gd name="connsiteY1" fmla="*/ 1918900 h 1921431"/>
                <a:gd name="connsiteX2" fmla="*/ 2519 w 1921470"/>
                <a:gd name="connsiteY2" fmla="*/ 1906609 h 1921431"/>
                <a:gd name="connsiteX3" fmla="*/ 2641 w 1921470"/>
                <a:gd name="connsiteY3" fmla="*/ 1906487 h 1921431"/>
                <a:gd name="connsiteX4" fmla="*/ 14985 w 1921470"/>
                <a:gd name="connsiteY4" fmla="*/ 1906487 h 1921431"/>
                <a:gd name="connsiteX5" fmla="*/ 14985 w 1921470"/>
                <a:gd name="connsiteY5" fmla="*/ 1918830 h 1921431"/>
                <a:gd name="connsiteX6" fmla="*/ 8717 w 1921470"/>
                <a:gd name="connsiteY6" fmla="*/ 1921414 h 1921431"/>
                <a:gd name="connsiteX7" fmla="*/ 95263 w 1921470"/>
                <a:gd name="connsiteY7" fmla="*/ 1834974 h 1921431"/>
                <a:gd name="connsiteX8" fmla="*/ 89134 w 1921470"/>
                <a:gd name="connsiteY8" fmla="*/ 1832459 h 1921431"/>
                <a:gd name="connsiteX9" fmla="*/ 89047 w 1921470"/>
                <a:gd name="connsiteY9" fmla="*/ 1820116 h 1921431"/>
                <a:gd name="connsiteX10" fmla="*/ 89169 w 1921470"/>
                <a:gd name="connsiteY10" fmla="*/ 1819993 h 1921431"/>
                <a:gd name="connsiteX11" fmla="*/ 101513 w 1921470"/>
                <a:gd name="connsiteY11" fmla="*/ 1819906 h 1921431"/>
                <a:gd name="connsiteX12" fmla="*/ 101600 w 1921470"/>
                <a:gd name="connsiteY12" fmla="*/ 1832250 h 1921431"/>
                <a:gd name="connsiteX13" fmla="*/ 101478 w 1921470"/>
                <a:gd name="connsiteY13" fmla="*/ 1832372 h 1921431"/>
                <a:gd name="connsiteX14" fmla="*/ 95263 w 1921470"/>
                <a:gd name="connsiteY14" fmla="*/ 1834974 h 1921431"/>
                <a:gd name="connsiteX15" fmla="*/ 181791 w 1921470"/>
                <a:gd name="connsiteY15" fmla="*/ 1748428 h 1921431"/>
                <a:gd name="connsiteX16" fmla="*/ 175663 w 1921470"/>
                <a:gd name="connsiteY16" fmla="*/ 1745914 h 1921431"/>
                <a:gd name="connsiteX17" fmla="*/ 175575 w 1921470"/>
                <a:gd name="connsiteY17" fmla="*/ 1733570 h 1921431"/>
                <a:gd name="connsiteX18" fmla="*/ 175697 w 1921470"/>
                <a:gd name="connsiteY18" fmla="*/ 1733448 h 1921431"/>
                <a:gd name="connsiteX19" fmla="*/ 188041 w 1921470"/>
                <a:gd name="connsiteY19" fmla="*/ 1733360 h 1921431"/>
                <a:gd name="connsiteX20" fmla="*/ 188128 w 1921470"/>
                <a:gd name="connsiteY20" fmla="*/ 1745704 h 1921431"/>
                <a:gd name="connsiteX21" fmla="*/ 188006 w 1921470"/>
                <a:gd name="connsiteY21" fmla="*/ 1745826 h 1921431"/>
                <a:gd name="connsiteX22" fmla="*/ 181791 w 1921470"/>
                <a:gd name="connsiteY22" fmla="*/ 1748428 h 1921431"/>
                <a:gd name="connsiteX23" fmla="*/ 268336 w 1921470"/>
                <a:gd name="connsiteY23" fmla="*/ 1661900 h 1921431"/>
                <a:gd name="connsiteX24" fmla="*/ 262120 w 1921470"/>
                <a:gd name="connsiteY24" fmla="*/ 1659298 h 1921431"/>
                <a:gd name="connsiteX25" fmla="*/ 262208 w 1921470"/>
                <a:gd name="connsiteY25" fmla="*/ 1646954 h 1921431"/>
                <a:gd name="connsiteX26" fmla="*/ 262330 w 1921470"/>
                <a:gd name="connsiteY26" fmla="*/ 1646833 h 1921431"/>
                <a:gd name="connsiteX27" fmla="*/ 274674 w 1921470"/>
                <a:gd name="connsiteY27" fmla="*/ 1646919 h 1921431"/>
                <a:gd name="connsiteX28" fmla="*/ 274587 w 1921470"/>
                <a:gd name="connsiteY28" fmla="*/ 1659263 h 1921431"/>
                <a:gd name="connsiteX29" fmla="*/ 274464 w 1921470"/>
                <a:gd name="connsiteY29" fmla="*/ 1659386 h 1921431"/>
                <a:gd name="connsiteX30" fmla="*/ 268336 w 1921470"/>
                <a:gd name="connsiteY30" fmla="*/ 1661900 h 1921431"/>
                <a:gd name="connsiteX31" fmla="*/ 354882 w 1921470"/>
                <a:gd name="connsiteY31" fmla="*/ 1575354 h 1921431"/>
                <a:gd name="connsiteX32" fmla="*/ 348666 w 1921470"/>
                <a:gd name="connsiteY32" fmla="*/ 1572753 h 1921431"/>
                <a:gd name="connsiteX33" fmla="*/ 348754 w 1921470"/>
                <a:gd name="connsiteY33" fmla="*/ 1560409 h 1921431"/>
                <a:gd name="connsiteX34" fmla="*/ 348876 w 1921470"/>
                <a:gd name="connsiteY34" fmla="*/ 1560287 h 1921431"/>
                <a:gd name="connsiteX35" fmla="*/ 361219 w 1921470"/>
                <a:gd name="connsiteY35" fmla="*/ 1560374 h 1921431"/>
                <a:gd name="connsiteX36" fmla="*/ 361132 w 1921470"/>
                <a:gd name="connsiteY36" fmla="*/ 1572718 h 1921431"/>
                <a:gd name="connsiteX37" fmla="*/ 361010 w 1921470"/>
                <a:gd name="connsiteY37" fmla="*/ 1572840 h 1921431"/>
                <a:gd name="connsiteX38" fmla="*/ 354882 w 1921470"/>
                <a:gd name="connsiteY38" fmla="*/ 1575354 h 1921431"/>
                <a:gd name="connsiteX39" fmla="*/ 441462 w 1921470"/>
                <a:gd name="connsiteY39" fmla="*/ 1488721 h 1921431"/>
                <a:gd name="connsiteX40" fmla="*/ 435317 w 1921470"/>
                <a:gd name="connsiteY40" fmla="*/ 1486190 h 1921431"/>
                <a:gd name="connsiteX41" fmla="*/ 435247 w 1921470"/>
                <a:gd name="connsiteY41" fmla="*/ 1473898 h 1921431"/>
                <a:gd name="connsiteX42" fmla="*/ 435369 w 1921470"/>
                <a:gd name="connsiteY42" fmla="*/ 1473776 h 1921431"/>
                <a:gd name="connsiteX43" fmla="*/ 447713 w 1921470"/>
                <a:gd name="connsiteY43" fmla="*/ 1473776 h 1921431"/>
                <a:gd name="connsiteX44" fmla="*/ 447713 w 1921470"/>
                <a:gd name="connsiteY44" fmla="*/ 1486120 h 1921431"/>
                <a:gd name="connsiteX45" fmla="*/ 441445 w 1921470"/>
                <a:gd name="connsiteY45" fmla="*/ 1488704 h 1921431"/>
                <a:gd name="connsiteX46" fmla="*/ 527973 w 1921470"/>
                <a:gd name="connsiteY46" fmla="*/ 1402263 h 1921431"/>
                <a:gd name="connsiteX47" fmla="*/ 521845 w 1921470"/>
                <a:gd name="connsiteY47" fmla="*/ 1399749 h 1921431"/>
                <a:gd name="connsiteX48" fmla="*/ 521758 w 1921470"/>
                <a:gd name="connsiteY48" fmla="*/ 1387405 h 1921431"/>
                <a:gd name="connsiteX49" fmla="*/ 521879 w 1921470"/>
                <a:gd name="connsiteY49" fmla="*/ 1387283 h 1921431"/>
                <a:gd name="connsiteX50" fmla="*/ 534223 w 1921470"/>
                <a:gd name="connsiteY50" fmla="*/ 1387195 h 1921431"/>
                <a:gd name="connsiteX51" fmla="*/ 534311 w 1921470"/>
                <a:gd name="connsiteY51" fmla="*/ 1399539 h 1921431"/>
                <a:gd name="connsiteX52" fmla="*/ 534188 w 1921470"/>
                <a:gd name="connsiteY52" fmla="*/ 1399662 h 1921431"/>
                <a:gd name="connsiteX53" fmla="*/ 527973 w 1921470"/>
                <a:gd name="connsiteY53" fmla="*/ 1402263 h 1921431"/>
                <a:gd name="connsiteX54" fmla="*/ 614501 w 1921470"/>
                <a:gd name="connsiteY54" fmla="*/ 1315717 h 1921431"/>
                <a:gd name="connsiteX55" fmla="*/ 608373 w 1921470"/>
                <a:gd name="connsiteY55" fmla="*/ 1313203 h 1921431"/>
                <a:gd name="connsiteX56" fmla="*/ 608285 w 1921470"/>
                <a:gd name="connsiteY56" fmla="*/ 1300859 h 1921431"/>
                <a:gd name="connsiteX57" fmla="*/ 608408 w 1921470"/>
                <a:gd name="connsiteY57" fmla="*/ 1300737 h 1921431"/>
                <a:gd name="connsiteX58" fmla="*/ 620752 w 1921470"/>
                <a:gd name="connsiteY58" fmla="*/ 1300650 h 1921431"/>
                <a:gd name="connsiteX59" fmla="*/ 620839 w 1921470"/>
                <a:gd name="connsiteY59" fmla="*/ 1312994 h 1921431"/>
                <a:gd name="connsiteX60" fmla="*/ 620717 w 1921470"/>
                <a:gd name="connsiteY60" fmla="*/ 1313116 h 1921431"/>
                <a:gd name="connsiteX61" fmla="*/ 614501 w 1921470"/>
                <a:gd name="connsiteY61" fmla="*/ 1315717 h 1921431"/>
                <a:gd name="connsiteX62" fmla="*/ 701047 w 1921470"/>
                <a:gd name="connsiteY62" fmla="*/ 1229189 h 1921431"/>
                <a:gd name="connsiteX63" fmla="*/ 694831 w 1921470"/>
                <a:gd name="connsiteY63" fmla="*/ 1226588 h 1921431"/>
                <a:gd name="connsiteX64" fmla="*/ 694918 w 1921470"/>
                <a:gd name="connsiteY64" fmla="*/ 1214244 h 1921431"/>
                <a:gd name="connsiteX65" fmla="*/ 695041 w 1921470"/>
                <a:gd name="connsiteY65" fmla="*/ 1214122 h 1921431"/>
                <a:gd name="connsiteX66" fmla="*/ 707384 w 1921470"/>
                <a:gd name="connsiteY66" fmla="*/ 1214209 h 1921431"/>
                <a:gd name="connsiteX67" fmla="*/ 707297 w 1921470"/>
                <a:gd name="connsiteY67" fmla="*/ 1226553 h 1921431"/>
                <a:gd name="connsiteX68" fmla="*/ 707175 w 1921470"/>
                <a:gd name="connsiteY68" fmla="*/ 1226675 h 1921431"/>
                <a:gd name="connsiteX69" fmla="*/ 701047 w 1921470"/>
                <a:gd name="connsiteY69" fmla="*/ 1229189 h 1921431"/>
                <a:gd name="connsiteX70" fmla="*/ 787592 w 1921470"/>
                <a:gd name="connsiteY70" fmla="*/ 1142644 h 1921431"/>
                <a:gd name="connsiteX71" fmla="*/ 781377 w 1921470"/>
                <a:gd name="connsiteY71" fmla="*/ 1140042 h 1921431"/>
                <a:gd name="connsiteX72" fmla="*/ 781464 w 1921470"/>
                <a:gd name="connsiteY72" fmla="*/ 1127699 h 1921431"/>
                <a:gd name="connsiteX73" fmla="*/ 781586 w 1921470"/>
                <a:gd name="connsiteY73" fmla="*/ 1127576 h 1921431"/>
                <a:gd name="connsiteX74" fmla="*/ 793930 w 1921470"/>
                <a:gd name="connsiteY74" fmla="*/ 1127664 h 1921431"/>
                <a:gd name="connsiteX75" fmla="*/ 793843 w 1921470"/>
                <a:gd name="connsiteY75" fmla="*/ 1140007 h 1921431"/>
                <a:gd name="connsiteX76" fmla="*/ 793721 w 1921470"/>
                <a:gd name="connsiteY76" fmla="*/ 1140129 h 1921431"/>
                <a:gd name="connsiteX77" fmla="*/ 787592 w 1921470"/>
                <a:gd name="connsiteY77" fmla="*/ 1142644 h 1921431"/>
                <a:gd name="connsiteX78" fmla="*/ 874173 w 1921470"/>
                <a:gd name="connsiteY78" fmla="*/ 1056011 h 1921431"/>
                <a:gd name="connsiteX79" fmla="*/ 868027 w 1921470"/>
                <a:gd name="connsiteY79" fmla="*/ 1053479 h 1921431"/>
                <a:gd name="connsiteX80" fmla="*/ 867957 w 1921470"/>
                <a:gd name="connsiteY80" fmla="*/ 1041188 h 1921431"/>
                <a:gd name="connsiteX81" fmla="*/ 868079 w 1921470"/>
                <a:gd name="connsiteY81" fmla="*/ 1041065 h 1921431"/>
                <a:gd name="connsiteX82" fmla="*/ 880423 w 1921470"/>
                <a:gd name="connsiteY82" fmla="*/ 1041065 h 1921431"/>
                <a:gd name="connsiteX83" fmla="*/ 880423 w 1921470"/>
                <a:gd name="connsiteY83" fmla="*/ 1053409 h 1921431"/>
                <a:gd name="connsiteX84" fmla="*/ 874155 w 1921470"/>
                <a:gd name="connsiteY84" fmla="*/ 1055993 h 1921431"/>
                <a:gd name="connsiteX85" fmla="*/ 960683 w 1921470"/>
                <a:gd name="connsiteY85" fmla="*/ 969552 h 1921431"/>
                <a:gd name="connsiteX86" fmla="*/ 954555 w 1921470"/>
                <a:gd name="connsiteY86" fmla="*/ 967038 h 1921431"/>
                <a:gd name="connsiteX87" fmla="*/ 954468 w 1921470"/>
                <a:gd name="connsiteY87" fmla="*/ 954694 h 1921431"/>
                <a:gd name="connsiteX88" fmla="*/ 954590 w 1921470"/>
                <a:gd name="connsiteY88" fmla="*/ 954573 h 1921431"/>
                <a:gd name="connsiteX89" fmla="*/ 966934 w 1921470"/>
                <a:gd name="connsiteY89" fmla="*/ 954485 h 1921431"/>
                <a:gd name="connsiteX90" fmla="*/ 967021 w 1921470"/>
                <a:gd name="connsiteY90" fmla="*/ 966829 h 1921431"/>
                <a:gd name="connsiteX91" fmla="*/ 966899 w 1921470"/>
                <a:gd name="connsiteY91" fmla="*/ 966951 h 1921431"/>
                <a:gd name="connsiteX92" fmla="*/ 960683 w 1921470"/>
                <a:gd name="connsiteY92" fmla="*/ 969552 h 1921431"/>
                <a:gd name="connsiteX93" fmla="*/ 1047229 w 1921470"/>
                <a:gd name="connsiteY93" fmla="*/ 883007 h 1921431"/>
                <a:gd name="connsiteX94" fmla="*/ 1041101 w 1921470"/>
                <a:gd name="connsiteY94" fmla="*/ 880493 h 1921431"/>
                <a:gd name="connsiteX95" fmla="*/ 1041013 w 1921470"/>
                <a:gd name="connsiteY95" fmla="*/ 868149 h 1921431"/>
                <a:gd name="connsiteX96" fmla="*/ 1041136 w 1921470"/>
                <a:gd name="connsiteY96" fmla="*/ 868027 h 1921431"/>
                <a:gd name="connsiteX97" fmla="*/ 1053479 w 1921470"/>
                <a:gd name="connsiteY97" fmla="*/ 867939 h 1921431"/>
                <a:gd name="connsiteX98" fmla="*/ 1053567 w 1921470"/>
                <a:gd name="connsiteY98" fmla="*/ 880283 h 1921431"/>
                <a:gd name="connsiteX99" fmla="*/ 1053445 w 1921470"/>
                <a:gd name="connsiteY99" fmla="*/ 880405 h 1921431"/>
                <a:gd name="connsiteX100" fmla="*/ 1047229 w 1921470"/>
                <a:gd name="connsiteY100" fmla="*/ 883007 h 1921431"/>
                <a:gd name="connsiteX101" fmla="*/ 1133792 w 1921470"/>
                <a:gd name="connsiteY101" fmla="*/ 796374 h 1921431"/>
                <a:gd name="connsiteX102" fmla="*/ 1127647 w 1921470"/>
                <a:gd name="connsiteY102" fmla="*/ 793842 h 1921431"/>
                <a:gd name="connsiteX103" fmla="*/ 1127577 w 1921470"/>
                <a:gd name="connsiteY103" fmla="*/ 781551 h 1921431"/>
                <a:gd name="connsiteX104" fmla="*/ 1127699 w 1921470"/>
                <a:gd name="connsiteY104" fmla="*/ 781429 h 1921431"/>
                <a:gd name="connsiteX105" fmla="*/ 1140042 w 1921470"/>
                <a:gd name="connsiteY105" fmla="*/ 781429 h 1921431"/>
                <a:gd name="connsiteX106" fmla="*/ 1140042 w 1921470"/>
                <a:gd name="connsiteY106" fmla="*/ 793773 h 1921431"/>
                <a:gd name="connsiteX107" fmla="*/ 1133774 w 1921470"/>
                <a:gd name="connsiteY107" fmla="*/ 796356 h 1921431"/>
                <a:gd name="connsiteX108" fmla="*/ 1220303 w 1921470"/>
                <a:gd name="connsiteY108" fmla="*/ 709933 h 1921431"/>
                <a:gd name="connsiteX109" fmla="*/ 1214087 w 1921470"/>
                <a:gd name="connsiteY109" fmla="*/ 707332 h 1921431"/>
                <a:gd name="connsiteX110" fmla="*/ 1214174 w 1921470"/>
                <a:gd name="connsiteY110" fmla="*/ 694988 h 1921431"/>
                <a:gd name="connsiteX111" fmla="*/ 1214297 w 1921470"/>
                <a:gd name="connsiteY111" fmla="*/ 694866 h 1921431"/>
                <a:gd name="connsiteX112" fmla="*/ 1226641 w 1921470"/>
                <a:gd name="connsiteY112" fmla="*/ 694953 h 1921431"/>
                <a:gd name="connsiteX113" fmla="*/ 1226553 w 1921470"/>
                <a:gd name="connsiteY113" fmla="*/ 707297 h 1921431"/>
                <a:gd name="connsiteX114" fmla="*/ 1226431 w 1921470"/>
                <a:gd name="connsiteY114" fmla="*/ 707419 h 1921431"/>
                <a:gd name="connsiteX115" fmla="*/ 1220303 w 1921470"/>
                <a:gd name="connsiteY115" fmla="*/ 709933 h 1921431"/>
                <a:gd name="connsiteX116" fmla="*/ 1306848 w 1921470"/>
                <a:gd name="connsiteY116" fmla="*/ 623387 h 1921431"/>
                <a:gd name="connsiteX117" fmla="*/ 1300633 w 1921470"/>
                <a:gd name="connsiteY117" fmla="*/ 620786 h 1921431"/>
                <a:gd name="connsiteX118" fmla="*/ 1300720 w 1921470"/>
                <a:gd name="connsiteY118" fmla="*/ 608443 h 1921431"/>
                <a:gd name="connsiteX119" fmla="*/ 1300842 w 1921470"/>
                <a:gd name="connsiteY119" fmla="*/ 608320 h 1921431"/>
                <a:gd name="connsiteX120" fmla="*/ 1313186 w 1921470"/>
                <a:gd name="connsiteY120" fmla="*/ 608408 h 1921431"/>
                <a:gd name="connsiteX121" fmla="*/ 1313099 w 1921470"/>
                <a:gd name="connsiteY121" fmla="*/ 620751 h 1921431"/>
                <a:gd name="connsiteX122" fmla="*/ 1312977 w 1921470"/>
                <a:gd name="connsiteY122" fmla="*/ 620873 h 1921431"/>
                <a:gd name="connsiteX123" fmla="*/ 1306848 w 1921470"/>
                <a:gd name="connsiteY123" fmla="*/ 623387 h 1921431"/>
                <a:gd name="connsiteX124" fmla="*/ 1393394 w 1921470"/>
                <a:gd name="connsiteY124" fmla="*/ 536842 h 1921431"/>
                <a:gd name="connsiteX125" fmla="*/ 1387266 w 1921470"/>
                <a:gd name="connsiteY125" fmla="*/ 534328 h 1921431"/>
                <a:gd name="connsiteX126" fmla="*/ 1387178 w 1921470"/>
                <a:gd name="connsiteY126" fmla="*/ 521984 h 1921431"/>
                <a:gd name="connsiteX127" fmla="*/ 1387301 w 1921470"/>
                <a:gd name="connsiteY127" fmla="*/ 521862 h 1921431"/>
                <a:gd name="connsiteX128" fmla="*/ 1399644 w 1921470"/>
                <a:gd name="connsiteY128" fmla="*/ 521775 h 1921431"/>
                <a:gd name="connsiteX129" fmla="*/ 1399732 w 1921470"/>
                <a:gd name="connsiteY129" fmla="*/ 534118 h 1921431"/>
                <a:gd name="connsiteX130" fmla="*/ 1399609 w 1921470"/>
                <a:gd name="connsiteY130" fmla="*/ 534241 h 1921431"/>
                <a:gd name="connsiteX131" fmla="*/ 1393394 w 1921470"/>
                <a:gd name="connsiteY131" fmla="*/ 536842 h 1921431"/>
                <a:gd name="connsiteX132" fmla="*/ 1479939 w 1921470"/>
                <a:gd name="connsiteY132" fmla="*/ 450296 h 1921431"/>
                <a:gd name="connsiteX133" fmla="*/ 1473812 w 1921470"/>
                <a:gd name="connsiteY133" fmla="*/ 447782 h 1921431"/>
                <a:gd name="connsiteX134" fmla="*/ 1473724 w 1921470"/>
                <a:gd name="connsiteY134" fmla="*/ 435439 h 1921431"/>
                <a:gd name="connsiteX135" fmla="*/ 1473846 w 1921470"/>
                <a:gd name="connsiteY135" fmla="*/ 435316 h 1921431"/>
                <a:gd name="connsiteX136" fmla="*/ 1486190 w 1921470"/>
                <a:gd name="connsiteY136" fmla="*/ 435229 h 1921431"/>
                <a:gd name="connsiteX137" fmla="*/ 1486277 w 1921470"/>
                <a:gd name="connsiteY137" fmla="*/ 447573 h 1921431"/>
                <a:gd name="connsiteX138" fmla="*/ 1486155 w 1921470"/>
                <a:gd name="connsiteY138" fmla="*/ 447695 h 1921431"/>
                <a:gd name="connsiteX139" fmla="*/ 1479939 w 1921470"/>
                <a:gd name="connsiteY139" fmla="*/ 450296 h 1921431"/>
                <a:gd name="connsiteX140" fmla="*/ 1566502 w 1921470"/>
                <a:gd name="connsiteY140" fmla="*/ 363663 h 1921431"/>
                <a:gd name="connsiteX141" fmla="*/ 1560357 w 1921470"/>
                <a:gd name="connsiteY141" fmla="*/ 361132 h 1921431"/>
                <a:gd name="connsiteX142" fmla="*/ 1560287 w 1921470"/>
                <a:gd name="connsiteY142" fmla="*/ 348840 h 1921431"/>
                <a:gd name="connsiteX143" fmla="*/ 1560410 w 1921470"/>
                <a:gd name="connsiteY143" fmla="*/ 348718 h 1921431"/>
                <a:gd name="connsiteX144" fmla="*/ 1572753 w 1921470"/>
                <a:gd name="connsiteY144" fmla="*/ 348718 h 1921431"/>
                <a:gd name="connsiteX145" fmla="*/ 1572753 w 1921470"/>
                <a:gd name="connsiteY145" fmla="*/ 361062 h 1921431"/>
                <a:gd name="connsiteX146" fmla="*/ 1566485 w 1921470"/>
                <a:gd name="connsiteY146" fmla="*/ 363646 h 1921431"/>
                <a:gd name="connsiteX147" fmla="*/ 1653013 w 1921470"/>
                <a:gd name="connsiteY147" fmla="*/ 277223 h 1921431"/>
                <a:gd name="connsiteX148" fmla="*/ 1646798 w 1921470"/>
                <a:gd name="connsiteY148" fmla="*/ 274621 h 1921431"/>
                <a:gd name="connsiteX149" fmla="*/ 1646885 w 1921470"/>
                <a:gd name="connsiteY149" fmla="*/ 262277 h 1921431"/>
                <a:gd name="connsiteX150" fmla="*/ 1647007 w 1921470"/>
                <a:gd name="connsiteY150" fmla="*/ 262155 h 1921431"/>
                <a:gd name="connsiteX151" fmla="*/ 1659351 w 1921470"/>
                <a:gd name="connsiteY151" fmla="*/ 262242 h 1921431"/>
                <a:gd name="connsiteX152" fmla="*/ 1659263 w 1921470"/>
                <a:gd name="connsiteY152" fmla="*/ 274586 h 1921431"/>
                <a:gd name="connsiteX153" fmla="*/ 1659141 w 1921470"/>
                <a:gd name="connsiteY153" fmla="*/ 274708 h 1921431"/>
                <a:gd name="connsiteX154" fmla="*/ 1653013 w 1921470"/>
                <a:gd name="connsiteY154" fmla="*/ 277223 h 1921431"/>
                <a:gd name="connsiteX155" fmla="*/ 1739559 w 1921470"/>
                <a:gd name="connsiteY155" fmla="*/ 190677 h 1921431"/>
                <a:gd name="connsiteX156" fmla="*/ 1733378 w 1921470"/>
                <a:gd name="connsiteY156" fmla="*/ 188128 h 1921431"/>
                <a:gd name="connsiteX157" fmla="*/ 1733378 w 1921470"/>
                <a:gd name="connsiteY157" fmla="*/ 175784 h 1921431"/>
                <a:gd name="connsiteX158" fmla="*/ 1733500 w 1921470"/>
                <a:gd name="connsiteY158" fmla="*/ 175662 h 1921431"/>
                <a:gd name="connsiteX159" fmla="*/ 1745844 w 1921470"/>
                <a:gd name="connsiteY159" fmla="*/ 175662 h 1921431"/>
                <a:gd name="connsiteX160" fmla="*/ 1745844 w 1921470"/>
                <a:gd name="connsiteY160" fmla="*/ 188006 h 1921431"/>
                <a:gd name="connsiteX161" fmla="*/ 1745722 w 1921470"/>
                <a:gd name="connsiteY161" fmla="*/ 188128 h 1921431"/>
                <a:gd name="connsiteX162" fmla="*/ 1739541 w 1921470"/>
                <a:gd name="connsiteY162" fmla="*/ 190677 h 1921431"/>
                <a:gd name="connsiteX163" fmla="*/ 1826104 w 1921470"/>
                <a:gd name="connsiteY163" fmla="*/ 104131 h 1921431"/>
                <a:gd name="connsiteX164" fmla="*/ 1819976 w 1921470"/>
                <a:gd name="connsiteY164" fmla="*/ 101617 h 1921431"/>
                <a:gd name="connsiteX165" fmla="*/ 1819889 w 1921470"/>
                <a:gd name="connsiteY165" fmla="*/ 89274 h 1921431"/>
                <a:gd name="connsiteX166" fmla="*/ 1820011 w 1921470"/>
                <a:gd name="connsiteY166" fmla="*/ 89151 h 1921431"/>
                <a:gd name="connsiteX167" fmla="*/ 1832355 w 1921470"/>
                <a:gd name="connsiteY167" fmla="*/ 89064 h 1921431"/>
                <a:gd name="connsiteX168" fmla="*/ 1832442 w 1921470"/>
                <a:gd name="connsiteY168" fmla="*/ 101408 h 1921431"/>
                <a:gd name="connsiteX169" fmla="*/ 1832320 w 1921470"/>
                <a:gd name="connsiteY169" fmla="*/ 101530 h 1921431"/>
                <a:gd name="connsiteX170" fmla="*/ 1826104 w 1921470"/>
                <a:gd name="connsiteY170" fmla="*/ 104131 h 1921431"/>
                <a:gd name="connsiteX171" fmla="*/ 1912667 w 1921470"/>
                <a:gd name="connsiteY171" fmla="*/ 17499 h 1921431"/>
                <a:gd name="connsiteX172" fmla="*/ 1906522 w 1921470"/>
                <a:gd name="connsiteY172" fmla="*/ 14967 h 1921431"/>
                <a:gd name="connsiteX173" fmla="*/ 1906452 w 1921470"/>
                <a:gd name="connsiteY173" fmla="*/ 2676 h 1921431"/>
                <a:gd name="connsiteX174" fmla="*/ 1906574 w 1921470"/>
                <a:gd name="connsiteY174" fmla="*/ 2553 h 1921431"/>
                <a:gd name="connsiteX175" fmla="*/ 1918918 w 1921470"/>
                <a:gd name="connsiteY175" fmla="*/ 2553 h 1921431"/>
                <a:gd name="connsiteX176" fmla="*/ 1918918 w 1921470"/>
                <a:gd name="connsiteY176" fmla="*/ 14897 h 1921431"/>
                <a:gd name="connsiteX177" fmla="*/ 1912650 w 1921470"/>
                <a:gd name="connsiteY177" fmla="*/ 17481 h 192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921470" h="1921431">
                  <a:moveTo>
                    <a:pt x="8734" y="1921431"/>
                  </a:moveTo>
                  <a:cubicBezTo>
                    <a:pt x="6499" y="1921431"/>
                    <a:pt x="4282" y="1920593"/>
                    <a:pt x="2589" y="1918900"/>
                  </a:cubicBezTo>
                  <a:cubicBezTo>
                    <a:pt x="-816" y="1915496"/>
                    <a:pt x="-886" y="1910031"/>
                    <a:pt x="2519" y="1906609"/>
                  </a:cubicBezTo>
                  <a:lnTo>
                    <a:pt x="2641" y="1906487"/>
                  </a:lnTo>
                  <a:cubicBezTo>
                    <a:pt x="6045" y="1903082"/>
                    <a:pt x="11580" y="1903082"/>
                    <a:pt x="14985" y="1906487"/>
                  </a:cubicBezTo>
                  <a:cubicBezTo>
                    <a:pt x="18389" y="1909891"/>
                    <a:pt x="18389" y="1915426"/>
                    <a:pt x="14985" y="1918830"/>
                  </a:cubicBezTo>
                  <a:cubicBezTo>
                    <a:pt x="13274" y="1920559"/>
                    <a:pt x="10987" y="1921414"/>
                    <a:pt x="8717" y="1921414"/>
                  </a:cubicBezTo>
                  <a:close/>
                  <a:moveTo>
                    <a:pt x="95263" y="1834974"/>
                  </a:moveTo>
                  <a:cubicBezTo>
                    <a:pt x="93045" y="1834974"/>
                    <a:pt x="90828" y="1834135"/>
                    <a:pt x="89134" y="1832459"/>
                  </a:cubicBezTo>
                  <a:cubicBezTo>
                    <a:pt x="85695" y="1829072"/>
                    <a:pt x="85660" y="1823555"/>
                    <a:pt x="89047" y="1820116"/>
                  </a:cubicBezTo>
                  <a:lnTo>
                    <a:pt x="89169" y="1819993"/>
                  </a:lnTo>
                  <a:cubicBezTo>
                    <a:pt x="92556" y="1816554"/>
                    <a:pt x="98091" y="1816519"/>
                    <a:pt x="101513" y="1819906"/>
                  </a:cubicBezTo>
                  <a:cubicBezTo>
                    <a:pt x="104952" y="1823293"/>
                    <a:pt x="104987" y="1828810"/>
                    <a:pt x="101600" y="1832250"/>
                  </a:cubicBezTo>
                  <a:lnTo>
                    <a:pt x="101478" y="1832372"/>
                  </a:lnTo>
                  <a:cubicBezTo>
                    <a:pt x="99767" y="1834101"/>
                    <a:pt x="97515" y="1834974"/>
                    <a:pt x="95263" y="1834974"/>
                  </a:cubicBezTo>
                  <a:close/>
                  <a:moveTo>
                    <a:pt x="181791" y="1748428"/>
                  </a:moveTo>
                  <a:cubicBezTo>
                    <a:pt x="179573" y="1748428"/>
                    <a:pt x="177356" y="1747590"/>
                    <a:pt x="175663" y="1745914"/>
                  </a:cubicBezTo>
                  <a:cubicBezTo>
                    <a:pt x="172223" y="1742526"/>
                    <a:pt x="172188" y="1737009"/>
                    <a:pt x="175575" y="1733570"/>
                  </a:cubicBezTo>
                  <a:lnTo>
                    <a:pt x="175697" y="1733448"/>
                  </a:lnTo>
                  <a:cubicBezTo>
                    <a:pt x="179084" y="1730008"/>
                    <a:pt x="184619" y="1729973"/>
                    <a:pt x="188041" y="1733360"/>
                  </a:cubicBezTo>
                  <a:cubicBezTo>
                    <a:pt x="191480" y="1736748"/>
                    <a:pt x="191515" y="1742265"/>
                    <a:pt x="188128" y="1745704"/>
                  </a:cubicBezTo>
                  <a:lnTo>
                    <a:pt x="188006" y="1745826"/>
                  </a:lnTo>
                  <a:cubicBezTo>
                    <a:pt x="186295" y="1747555"/>
                    <a:pt x="184043" y="1748428"/>
                    <a:pt x="181791" y="1748428"/>
                  </a:cubicBezTo>
                  <a:close/>
                  <a:moveTo>
                    <a:pt x="268336" y="1661900"/>
                  </a:moveTo>
                  <a:cubicBezTo>
                    <a:pt x="266084" y="1661900"/>
                    <a:pt x="263832" y="1661027"/>
                    <a:pt x="262120" y="1659298"/>
                  </a:cubicBezTo>
                  <a:cubicBezTo>
                    <a:pt x="258733" y="1655859"/>
                    <a:pt x="258768" y="1650342"/>
                    <a:pt x="262208" y="1646954"/>
                  </a:cubicBezTo>
                  <a:lnTo>
                    <a:pt x="262330" y="1646833"/>
                  </a:lnTo>
                  <a:cubicBezTo>
                    <a:pt x="265752" y="1643445"/>
                    <a:pt x="271287" y="1643480"/>
                    <a:pt x="274674" y="1646919"/>
                  </a:cubicBezTo>
                  <a:cubicBezTo>
                    <a:pt x="278061" y="1650359"/>
                    <a:pt x="278026" y="1655876"/>
                    <a:pt x="274587" y="1659263"/>
                  </a:cubicBezTo>
                  <a:lnTo>
                    <a:pt x="274464" y="1659386"/>
                  </a:lnTo>
                  <a:cubicBezTo>
                    <a:pt x="272771" y="1661062"/>
                    <a:pt x="270553" y="1661900"/>
                    <a:pt x="268336" y="1661900"/>
                  </a:cubicBezTo>
                  <a:close/>
                  <a:moveTo>
                    <a:pt x="354882" y="1575354"/>
                  </a:moveTo>
                  <a:cubicBezTo>
                    <a:pt x="352629" y="1575354"/>
                    <a:pt x="350377" y="1574481"/>
                    <a:pt x="348666" y="1572753"/>
                  </a:cubicBezTo>
                  <a:cubicBezTo>
                    <a:pt x="345279" y="1569313"/>
                    <a:pt x="345314" y="1563796"/>
                    <a:pt x="348754" y="1560409"/>
                  </a:cubicBezTo>
                  <a:lnTo>
                    <a:pt x="348876" y="1560287"/>
                  </a:lnTo>
                  <a:cubicBezTo>
                    <a:pt x="352298" y="1556900"/>
                    <a:pt x="357832" y="1556935"/>
                    <a:pt x="361219" y="1560374"/>
                  </a:cubicBezTo>
                  <a:cubicBezTo>
                    <a:pt x="364607" y="1563814"/>
                    <a:pt x="364572" y="1569331"/>
                    <a:pt x="361132" y="1572718"/>
                  </a:cubicBezTo>
                  <a:lnTo>
                    <a:pt x="361010" y="1572840"/>
                  </a:lnTo>
                  <a:cubicBezTo>
                    <a:pt x="359316" y="1574516"/>
                    <a:pt x="357099" y="1575354"/>
                    <a:pt x="354882" y="1575354"/>
                  </a:cubicBezTo>
                  <a:close/>
                  <a:moveTo>
                    <a:pt x="441462" y="1488721"/>
                  </a:moveTo>
                  <a:cubicBezTo>
                    <a:pt x="439228" y="1488721"/>
                    <a:pt x="437010" y="1487883"/>
                    <a:pt x="435317" y="1486190"/>
                  </a:cubicBezTo>
                  <a:cubicBezTo>
                    <a:pt x="431912" y="1482785"/>
                    <a:pt x="431842" y="1477320"/>
                    <a:pt x="435247" y="1473898"/>
                  </a:cubicBezTo>
                  <a:lnTo>
                    <a:pt x="435369" y="1473776"/>
                  </a:lnTo>
                  <a:cubicBezTo>
                    <a:pt x="438774" y="1470372"/>
                    <a:pt x="444308" y="1470372"/>
                    <a:pt x="447713" y="1473776"/>
                  </a:cubicBezTo>
                  <a:cubicBezTo>
                    <a:pt x="451117" y="1477181"/>
                    <a:pt x="451117" y="1482715"/>
                    <a:pt x="447713" y="1486120"/>
                  </a:cubicBezTo>
                  <a:cubicBezTo>
                    <a:pt x="446002" y="1487848"/>
                    <a:pt x="443714" y="1488704"/>
                    <a:pt x="441445" y="1488704"/>
                  </a:cubicBezTo>
                  <a:close/>
                  <a:moveTo>
                    <a:pt x="527973" y="1402263"/>
                  </a:moveTo>
                  <a:cubicBezTo>
                    <a:pt x="525755" y="1402263"/>
                    <a:pt x="523538" y="1401425"/>
                    <a:pt x="521845" y="1399749"/>
                  </a:cubicBezTo>
                  <a:cubicBezTo>
                    <a:pt x="518405" y="1396362"/>
                    <a:pt x="518370" y="1390845"/>
                    <a:pt x="521758" y="1387405"/>
                  </a:cubicBezTo>
                  <a:lnTo>
                    <a:pt x="521879" y="1387283"/>
                  </a:lnTo>
                  <a:cubicBezTo>
                    <a:pt x="525267" y="1383843"/>
                    <a:pt x="530801" y="1383808"/>
                    <a:pt x="534223" y="1387195"/>
                  </a:cubicBezTo>
                  <a:cubicBezTo>
                    <a:pt x="537663" y="1390583"/>
                    <a:pt x="537698" y="1396100"/>
                    <a:pt x="534311" y="1399539"/>
                  </a:cubicBezTo>
                  <a:lnTo>
                    <a:pt x="534188" y="1399662"/>
                  </a:lnTo>
                  <a:cubicBezTo>
                    <a:pt x="532477" y="1401390"/>
                    <a:pt x="530225" y="1402263"/>
                    <a:pt x="527973" y="1402263"/>
                  </a:cubicBezTo>
                  <a:close/>
                  <a:moveTo>
                    <a:pt x="614501" y="1315717"/>
                  </a:moveTo>
                  <a:cubicBezTo>
                    <a:pt x="612284" y="1315717"/>
                    <a:pt x="610066" y="1314879"/>
                    <a:pt x="608373" y="1313203"/>
                  </a:cubicBezTo>
                  <a:cubicBezTo>
                    <a:pt x="604933" y="1309816"/>
                    <a:pt x="604898" y="1304299"/>
                    <a:pt x="608285" y="1300859"/>
                  </a:cubicBezTo>
                  <a:lnTo>
                    <a:pt x="608408" y="1300737"/>
                  </a:lnTo>
                  <a:cubicBezTo>
                    <a:pt x="611795" y="1297298"/>
                    <a:pt x="617330" y="1297263"/>
                    <a:pt x="620752" y="1300650"/>
                  </a:cubicBezTo>
                  <a:cubicBezTo>
                    <a:pt x="624191" y="1304037"/>
                    <a:pt x="624226" y="1309554"/>
                    <a:pt x="620839" y="1312994"/>
                  </a:cubicBezTo>
                  <a:lnTo>
                    <a:pt x="620717" y="1313116"/>
                  </a:lnTo>
                  <a:cubicBezTo>
                    <a:pt x="619006" y="1314844"/>
                    <a:pt x="616753" y="1315717"/>
                    <a:pt x="614501" y="1315717"/>
                  </a:cubicBezTo>
                  <a:close/>
                  <a:moveTo>
                    <a:pt x="701047" y="1229189"/>
                  </a:moveTo>
                  <a:cubicBezTo>
                    <a:pt x="698794" y="1229189"/>
                    <a:pt x="696542" y="1228316"/>
                    <a:pt x="694831" y="1226588"/>
                  </a:cubicBezTo>
                  <a:cubicBezTo>
                    <a:pt x="691444" y="1223148"/>
                    <a:pt x="691479" y="1217631"/>
                    <a:pt x="694918" y="1214244"/>
                  </a:cubicBezTo>
                  <a:lnTo>
                    <a:pt x="695041" y="1214122"/>
                  </a:lnTo>
                  <a:cubicBezTo>
                    <a:pt x="698463" y="1210735"/>
                    <a:pt x="703997" y="1210770"/>
                    <a:pt x="707384" y="1214209"/>
                  </a:cubicBezTo>
                  <a:cubicBezTo>
                    <a:pt x="710772" y="1217649"/>
                    <a:pt x="710737" y="1223166"/>
                    <a:pt x="707297" y="1226553"/>
                  </a:cubicBezTo>
                  <a:lnTo>
                    <a:pt x="707175" y="1226675"/>
                  </a:lnTo>
                  <a:cubicBezTo>
                    <a:pt x="705481" y="1228351"/>
                    <a:pt x="703264" y="1229189"/>
                    <a:pt x="701047" y="1229189"/>
                  </a:cubicBezTo>
                  <a:close/>
                  <a:moveTo>
                    <a:pt x="787592" y="1142644"/>
                  </a:moveTo>
                  <a:cubicBezTo>
                    <a:pt x="785340" y="1142644"/>
                    <a:pt x="783088" y="1141771"/>
                    <a:pt x="781377" y="1140042"/>
                  </a:cubicBezTo>
                  <a:cubicBezTo>
                    <a:pt x="777990" y="1136603"/>
                    <a:pt x="778025" y="1131086"/>
                    <a:pt x="781464" y="1127699"/>
                  </a:cubicBezTo>
                  <a:lnTo>
                    <a:pt x="781586" y="1127576"/>
                  </a:lnTo>
                  <a:cubicBezTo>
                    <a:pt x="785008" y="1124189"/>
                    <a:pt x="790543" y="1124224"/>
                    <a:pt x="793930" y="1127664"/>
                  </a:cubicBezTo>
                  <a:cubicBezTo>
                    <a:pt x="797317" y="1131103"/>
                    <a:pt x="797282" y="1136620"/>
                    <a:pt x="793843" y="1140007"/>
                  </a:cubicBezTo>
                  <a:lnTo>
                    <a:pt x="793721" y="1140129"/>
                  </a:lnTo>
                  <a:cubicBezTo>
                    <a:pt x="792027" y="1141806"/>
                    <a:pt x="789810" y="1142644"/>
                    <a:pt x="787592" y="1142644"/>
                  </a:cubicBezTo>
                  <a:close/>
                  <a:moveTo>
                    <a:pt x="874173" y="1056011"/>
                  </a:moveTo>
                  <a:cubicBezTo>
                    <a:pt x="871938" y="1056011"/>
                    <a:pt x="869720" y="1055173"/>
                    <a:pt x="868027" y="1053479"/>
                  </a:cubicBezTo>
                  <a:cubicBezTo>
                    <a:pt x="864622" y="1050075"/>
                    <a:pt x="864553" y="1044610"/>
                    <a:pt x="867957" y="1041188"/>
                  </a:cubicBezTo>
                  <a:lnTo>
                    <a:pt x="868079" y="1041065"/>
                  </a:lnTo>
                  <a:cubicBezTo>
                    <a:pt x="871484" y="1037661"/>
                    <a:pt x="877019" y="1037661"/>
                    <a:pt x="880423" y="1041065"/>
                  </a:cubicBezTo>
                  <a:cubicBezTo>
                    <a:pt x="883828" y="1044470"/>
                    <a:pt x="883828" y="1050005"/>
                    <a:pt x="880423" y="1053409"/>
                  </a:cubicBezTo>
                  <a:cubicBezTo>
                    <a:pt x="878712" y="1055138"/>
                    <a:pt x="876425" y="1055993"/>
                    <a:pt x="874155" y="1055993"/>
                  </a:cubicBezTo>
                  <a:close/>
                  <a:moveTo>
                    <a:pt x="960683" y="969552"/>
                  </a:moveTo>
                  <a:cubicBezTo>
                    <a:pt x="958466" y="969552"/>
                    <a:pt x="956249" y="968714"/>
                    <a:pt x="954555" y="967038"/>
                  </a:cubicBezTo>
                  <a:cubicBezTo>
                    <a:pt x="951116" y="963651"/>
                    <a:pt x="951081" y="958134"/>
                    <a:pt x="954468" y="954694"/>
                  </a:cubicBezTo>
                  <a:lnTo>
                    <a:pt x="954590" y="954573"/>
                  </a:lnTo>
                  <a:cubicBezTo>
                    <a:pt x="957977" y="951133"/>
                    <a:pt x="963512" y="951098"/>
                    <a:pt x="966934" y="954485"/>
                  </a:cubicBezTo>
                  <a:cubicBezTo>
                    <a:pt x="970373" y="957872"/>
                    <a:pt x="970408" y="963389"/>
                    <a:pt x="967021" y="966829"/>
                  </a:cubicBezTo>
                  <a:lnTo>
                    <a:pt x="966899" y="966951"/>
                  </a:lnTo>
                  <a:cubicBezTo>
                    <a:pt x="965188" y="968679"/>
                    <a:pt x="962936" y="969552"/>
                    <a:pt x="960683" y="969552"/>
                  </a:cubicBezTo>
                  <a:close/>
                  <a:moveTo>
                    <a:pt x="1047229" y="883007"/>
                  </a:moveTo>
                  <a:cubicBezTo>
                    <a:pt x="1045012" y="883007"/>
                    <a:pt x="1042794" y="882169"/>
                    <a:pt x="1041101" y="880493"/>
                  </a:cubicBezTo>
                  <a:cubicBezTo>
                    <a:pt x="1037661" y="877106"/>
                    <a:pt x="1037626" y="871589"/>
                    <a:pt x="1041013" y="868149"/>
                  </a:cubicBezTo>
                  <a:lnTo>
                    <a:pt x="1041136" y="868027"/>
                  </a:lnTo>
                  <a:cubicBezTo>
                    <a:pt x="1044523" y="864587"/>
                    <a:pt x="1050040" y="864552"/>
                    <a:pt x="1053479" y="867939"/>
                  </a:cubicBezTo>
                  <a:cubicBezTo>
                    <a:pt x="1056919" y="871326"/>
                    <a:pt x="1056954" y="876844"/>
                    <a:pt x="1053567" y="880283"/>
                  </a:cubicBezTo>
                  <a:lnTo>
                    <a:pt x="1053445" y="880405"/>
                  </a:lnTo>
                  <a:cubicBezTo>
                    <a:pt x="1051733" y="882134"/>
                    <a:pt x="1049481" y="883007"/>
                    <a:pt x="1047229" y="883007"/>
                  </a:cubicBezTo>
                  <a:close/>
                  <a:moveTo>
                    <a:pt x="1133792" y="796374"/>
                  </a:moveTo>
                  <a:cubicBezTo>
                    <a:pt x="1131557" y="796374"/>
                    <a:pt x="1129340" y="795536"/>
                    <a:pt x="1127647" y="793842"/>
                  </a:cubicBezTo>
                  <a:cubicBezTo>
                    <a:pt x="1124242" y="790438"/>
                    <a:pt x="1124172" y="784973"/>
                    <a:pt x="1127577" y="781551"/>
                  </a:cubicBezTo>
                  <a:lnTo>
                    <a:pt x="1127699" y="781429"/>
                  </a:lnTo>
                  <a:cubicBezTo>
                    <a:pt x="1131103" y="778024"/>
                    <a:pt x="1136638" y="778024"/>
                    <a:pt x="1140042" y="781429"/>
                  </a:cubicBezTo>
                  <a:cubicBezTo>
                    <a:pt x="1143447" y="784833"/>
                    <a:pt x="1143447" y="790368"/>
                    <a:pt x="1140042" y="793773"/>
                  </a:cubicBezTo>
                  <a:cubicBezTo>
                    <a:pt x="1138331" y="795501"/>
                    <a:pt x="1136044" y="796356"/>
                    <a:pt x="1133774" y="796356"/>
                  </a:cubicBezTo>
                  <a:close/>
                  <a:moveTo>
                    <a:pt x="1220303" y="709933"/>
                  </a:moveTo>
                  <a:cubicBezTo>
                    <a:pt x="1218050" y="709933"/>
                    <a:pt x="1215798" y="709060"/>
                    <a:pt x="1214087" y="707332"/>
                  </a:cubicBezTo>
                  <a:cubicBezTo>
                    <a:pt x="1210700" y="703892"/>
                    <a:pt x="1210735" y="698375"/>
                    <a:pt x="1214174" y="694988"/>
                  </a:cubicBezTo>
                  <a:lnTo>
                    <a:pt x="1214297" y="694866"/>
                  </a:lnTo>
                  <a:cubicBezTo>
                    <a:pt x="1217719" y="691479"/>
                    <a:pt x="1223253" y="691513"/>
                    <a:pt x="1226641" y="694953"/>
                  </a:cubicBezTo>
                  <a:cubicBezTo>
                    <a:pt x="1230028" y="698392"/>
                    <a:pt x="1229993" y="703910"/>
                    <a:pt x="1226553" y="707297"/>
                  </a:cubicBezTo>
                  <a:lnTo>
                    <a:pt x="1226431" y="707419"/>
                  </a:lnTo>
                  <a:cubicBezTo>
                    <a:pt x="1224737" y="709095"/>
                    <a:pt x="1222520" y="709933"/>
                    <a:pt x="1220303" y="709933"/>
                  </a:cubicBezTo>
                  <a:close/>
                  <a:moveTo>
                    <a:pt x="1306848" y="623387"/>
                  </a:moveTo>
                  <a:cubicBezTo>
                    <a:pt x="1304596" y="623387"/>
                    <a:pt x="1302344" y="622514"/>
                    <a:pt x="1300633" y="620786"/>
                  </a:cubicBezTo>
                  <a:cubicBezTo>
                    <a:pt x="1297246" y="617347"/>
                    <a:pt x="1297281" y="611830"/>
                    <a:pt x="1300720" y="608443"/>
                  </a:cubicBezTo>
                  <a:lnTo>
                    <a:pt x="1300842" y="608320"/>
                  </a:lnTo>
                  <a:cubicBezTo>
                    <a:pt x="1304264" y="604933"/>
                    <a:pt x="1309799" y="604968"/>
                    <a:pt x="1313186" y="608408"/>
                  </a:cubicBezTo>
                  <a:cubicBezTo>
                    <a:pt x="1316573" y="611847"/>
                    <a:pt x="1316538" y="617364"/>
                    <a:pt x="1313099" y="620751"/>
                  </a:cubicBezTo>
                  <a:lnTo>
                    <a:pt x="1312977" y="620873"/>
                  </a:lnTo>
                  <a:cubicBezTo>
                    <a:pt x="1311283" y="622549"/>
                    <a:pt x="1309066" y="623387"/>
                    <a:pt x="1306848" y="623387"/>
                  </a:cubicBezTo>
                  <a:close/>
                  <a:moveTo>
                    <a:pt x="1393394" y="536842"/>
                  </a:moveTo>
                  <a:cubicBezTo>
                    <a:pt x="1391177" y="536842"/>
                    <a:pt x="1388959" y="536004"/>
                    <a:pt x="1387266" y="534328"/>
                  </a:cubicBezTo>
                  <a:cubicBezTo>
                    <a:pt x="1383826" y="530941"/>
                    <a:pt x="1383791" y="525424"/>
                    <a:pt x="1387178" y="521984"/>
                  </a:cubicBezTo>
                  <a:lnTo>
                    <a:pt x="1387301" y="521862"/>
                  </a:lnTo>
                  <a:cubicBezTo>
                    <a:pt x="1390688" y="518422"/>
                    <a:pt x="1396222" y="518388"/>
                    <a:pt x="1399644" y="521775"/>
                  </a:cubicBezTo>
                  <a:cubicBezTo>
                    <a:pt x="1403084" y="525162"/>
                    <a:pt x="1403119" y="530679"/>
                    <a:pt x="1399732" y="534118"/>
                  </a:cubicBezTo>
                  <a:lnTo>
                    <a:pt x="1399609" y="534241"/>
                  </a:lnTo>
                  <a:cubicBezTo>
                    <a:pt x="1397898" y="535969"/>
                    <a:pt x="1395646" y="536842"/>
                    <a:pt x="1393394" y="536842"/>
                  </a:cubicBezTo>
                  <a:close/>
                  <a:moveTo>
                    <a:pt x="1479939" y="450296"/>
                  </a:moveTo>
                  <a:cubicBezTo>
                    <a:pt x="1477722" y="450296"/>
                    <a:pt x="1475505" y="449458"/>
                    <a:pt x="1473812" y="447782"/>
                  </a:cubicBezTo>
                  <a:cubicBezTo>
                    <a:pt x="1470372" y="444395"/>
                    <a:pt x="1470337" y="438878"/>
                    <a:pt x="1473724" y="435439"/>
                  </a:cubicBezTo>
                  <a:lnTo>
                    <a:pt x="1473846" y="435316"/>
                  </a:lnTo>
                  <a:cubicBezTo>
                    <a:pt x="1477233" y="431877"/>
                    <a:pt x="1482750" y="431842"/>
                    <a:pt x="1486190" y="435229"/>
                  </a:cubicBezTo>
                  <a:cubicBezTo>
                    <a:pt x="1489630" y="438616"/>
                    <a:pt x="1489665" y="444133"/>
                    <a:pt x="1486277" y="447573"/>
                  </a:cubicBezTo>
                  <a:lnTo>
                    <a:pt x="1486155" y="447695"/>
                  </a:lnTo>
                  <a:cubicBezTo>
                    <a:pt x="1484444" y="449423"/>
                    <a:pt x="1482192" y="450296"/>
                    <a:pt x="1479939" y="450296"/>
                  </a:cubicBezTo>
                  <a:close/>
                  <a:moveTo>
                    <a:pt x="1566502" y="363663"/>
                  </a:moveTo>
                  <a:cubicBezTo>
                    <a:pt x="1564268" y="363663"/>
                    <a:pt x="1562051" y="362825"/>
                    <a:pt x="1560357" y="361132"/>
                  </a:cubicBezTo>
                  <a:cubicBezTo>
                    <a:pt x="1556952" y="357727"/>
                    <a:pt x="1556883" y="352262"/>
                    <a:pt x="1560287" y="348840"/>
                  </a:cubicBezTo>
                  <a:lnTo>
                    <a:pt x="1560410" y="348718"/>
                  </a:lnTo>
                  <a:cubicBezTo>
                    <a:pt x="1563814" y="345314"/>
                    <a:pt x="1569348" y="345314"/>
                    <a:pt x="1572753" y="348718"/>
                  </a:cubicBezTo>
                  <a:cubicBezTo>
                    <a:pt x="1576157" y="352123"/>
                    <a:pt x="1576157" y="357657"/>
                    <a:pt x="1572753" y="361062"/>
                  </a:cubicBezTo>
                  <a:cubicBezTo>
                    <a:pt x="1571042" y="362790"/>
                    <a:pt x="1568755" y="363646"/>
                    <a:pt x="1566485" y="363646"/>
                  </a:cubicBezTo>
                  <a:close/>
                  <a:moveTo>
                    <a:pt x="1653013" y="277223"/>
                  </a:moveTo>
                  <a:cubicBezTo>
                    <a:pt x="1650761" y="277223"/>
                    <a:pt x="1648509" y="276350"/>
                    <a:pt x="1646798" y="274621"/>
                  </a:cubicBezTo>
                  <a:cubicBezTo>
                    <a:pt x="1643410" y="271182"/>
                    <a:pt x="1643445" y="265665"/>
                    <a:pt x="1646885" y="262277"/>
                  </a:cubicBezTo>
                  <a:lnTo>
                    <a:pt x="1647007" y="262155"/>
                  </a:lnTo>
                  <a:cubicBezTo>
                    <a:pt x="1650429" y="258768"/>
                    <a:pt x="1655964" y="258803"/>
                    <a:pt x="1659351" y="262242"/>
                  </a:cubicBezTo>
                  <a:cubicBezTo>
                    <a:pt x="1662738" y="265682"/>
                    <a:pt x="1662703" y="271199"/>
                    <a:pt x="1659263" y="274586"/>
                  </a:cubicBezTo>
                  <a:lnTo>
                    <a:pt x="1659141" y="274708"/>
                  </a:lnTo>
                  <a:cubicBezTo>
                    <a:pt x="1657448" y="276385"/>
                    <a:pt x="1655230" y="277223"/>
                    <a:pt x="1653013" y="277223"/>
                  </a:cubicBezTo>
                  <a:close/>
                  <a:moveTo>
                    <a:pt x="1739559" y="190677"/>
                  </a:moveTo>
                  <a:cubicBezTo>
                    <a:pt x="1737324" y="190677"/>
                    <a:pt x="1735089" y="189821"/>
                    <a:pt x="1733378" y="188128"/>
                  </a:cubicBezTo>
                  <a:cubicBezTo>
                    <a:pt x="1729973" y="184724"/>
                    <a:pt x="1729973" y="179189"/>
                    <a:pt x="1733378" y="175784"/>
                  </a:cubicBezTo>
                  <a:lnTo>
                    <a:pt x="1733500" y="175662"/>
                  </a:lnTo>
                  <a:cubicBezTo>
                    <a:pt x="1736905" y="172258"/>
                    <a:pt x="1742440" y="172258"/>
                    <a:pt x="1745844" y="175662"/>
                  </a:cubicBezTo>
                  <a:cubicBezTo>
                    <a:pt x="1749249" y="179067"/>
                    <a:pt x="1749249" y="184601"/>
                    <a:pt x="1745844" y="188006"/>
                  </a:cubicBezTo>
                  <a:lnTo>
                    <a:pt x="1745722" y="188128"/>
                  </a:lnTo>
                  <a:cubicBezTo>
                    <a:pt x="1744011" y="189839"/>
                    <a:pt x="1741776" y="190677"/>
                    <a:pt x="1739541" y="190677"/>
                  </a:cubicBezTo>
                  <a:close/>
                  <a:moveTo>
                    <a:pt x="1826104" y="104131"/>
                  </a:moveTo>
                  <a:cubicBezTo>
                    <a:pt x="1823887" y="104131"/>
                    <a:pt x="1821670" y="103293"/>
                    <a:pt x="1819976" y="101617"/>
                  </a:cubicBezTo>
                  <a:cubicBezTo>
                    <a:pt x="1816537" y="98230"/>
                    <a:pt x="1816502" y="92713"/>
                    <a:pt x="1819889" y="89274"/>
                  </a:cubicBezTo>
                  <a:lnTo>
                    <a:pt x="1820011" y="89151"/>
                  </a:lnTo>
                  <a:cubicBezTo>
                    <a:pt x="1823398" y="85712"/>
                    <a:pt x="1828933" y="85677"/>
                    <a:pt x="1832355" y="89064"/>
                  </a:cubicBezTo>
                  <a:cubicBezTo>
                    <a:pt x="1835795" y="92451"/>
                    <a:pt x="1835830" y="97968"/>
                    <a:pt x="1832442" y="101408"/>
                  </a:cubicBezTo>
                  <a:lnTo>
                    <a:pt x="1832320" y="101530"/>
                  </a:lnTo>
                  <a:cubicBezTo>
                    <a:pt x="1830609" y="103259"/>
                    <a:pt x="1828357" y="104131"/>
                    <a:pt x="1826104" y="104131"/>
                  </a:cubicBezTo>
                  <a:close/>
                  <a:moveTo>
                    <a:pt x="1912667" y="17499"/>
                  </a:moveTo>
                  <a:cubicBezTo>
                    <a:pt x="1910433" y="17499"/>
                    <a:pt x="1908216" y="16661"/>
                    <a:pt x="1906522" y="14967"/>
                  </a:cubicBezTo>
                  <a:cubicBezTo>
                    <a:pt x="1903117" y="11562"/>
                    <a:pt x="1903048" y="6098"/>
                    <a:pt x="1906452" y="2676"/>
                  </a:cubicBezTo>
                  <a:lnTo>
                    <a:pt x="1906574" y="2553"/>
                  </a:lnTo>
                  <a:cubicBezTo>
                    <a:pt x="1909979" y="-851"/>
                    <a:pt x="1915513" y="-851"/>
                    <a:pt x="1918918" y="2553"/>
                  </a:cubicBezTo>
                  <a:cubicBezTo>
                    <a:pt x="1922322" y="5958"/>
                    <a:pt x="1922322" y="11492"/>
                    <a:pt x="1918918" y="14897"/>
                  </a:cubicBezTo>
                  <a:cubicBezTo>
                    <a:pt x="1917207" y="16626"/>
                    <a:pt x="1914920" y="17481"/>
                    <a:pt x="1912650" y="17481"/>
                  </a:cubicBezTo>
                  <a:close/>
                </a:path>
              </a:pathLst>
            </a:custGeom>
            <a:grpFill/>
            <a:ln w="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1BD793B-E66D-A746-14F3-728EBEBE47EE}"/>
                </a:ext>
              </a:extLst>
            </p:cNvPr>
            <p:cNvSpPr/>
            <p:nvPr/>
          </p:nvSpPr>
          <p:spPr>
            <a:xfrm>
              <a:off x="7109631" y="3343920"/>
              <a:ext cx="1836086" cy="1836051"/>
            </a:xfrm>
            <a:custGeom>
              <a:avLst/>
              <a:gdLst>
                <a:gd name="connsiteX0" fmla="*/ 9306 w 1836086"/>
                <a:gd name="connsiteY0" fmla="*/ 1836051 h 1836051"/>
                <a:gd name="connsiteX1" fmla="*/ 2759 w 1836086"/>
                <a:gd name="connsiteY1" fmla="*/ 1833363 h 1836051"/>
                <a:gd name="connsiteX2" fmla="*/ 2689 w 1836086"/>
                <a:gd name="connsiteY2" fmla="*/ 1820251 h 1836051"/>
                <a:gd name="connsiteX3" fmla="*/ 2811 w 1836086"/>
                <a:gd name="connsiteY3" fmla="*/ 1820129 h 1836051"/>
                <a:gd name="connsiteX4" fmla="*/ 15975 w 1836086"/>
                <a:gd name="connsiteY4" fmla="*/ 1820129 h 1836051"/>
                <a:gd name="connsiteX5" fmla="*/ 15975 w 1836086"/>
                <a:gd name="connsiteY5" fmla="*/ 1833293 h 1836051"/>
                <a:gd name="connsiteX6" fmla="*/ 9306 w 1836086"/>
                <a:gd name="connsiteY6" fmla="*/ 1836051 h 1836051"/>
                <a:gd name="connsiteX7" fmla="*/ 95817 w 1836086"/>
                <a:gd name="connsiteY7" fmla="*/ 1749593 h 1836051"/>
                <a:gd name="connsiteX8" fmla="*/ 89234 w 1836086"/>
                <a:gd name="connsiteY8" fmla="*/ 1746870 h 1836051"/>
                <a:gd name="connsiteX9" fmla="*/ 89234 w 1836086"/>
                <a:gd name="connsiteY9" fmla="*/ 1733705 h 1836051"/>
                <a:gd name="connsiteX10" fmla="*/ 89357 w 1836086"/>
                <a:gd name="connsiteY10" fmla="*/ 1733583 h 1836051"/>
                <a:gd name="connsiteX11" fmla="*/ 102521 w 1836086"/>
                <a:gd name="connsiteY11" fmla="*/ 1733583 h 1836051"/>
                <a:gd name="connsiteX12" fmla="*/ 102521 w 1836086"/>
                <a:gd name="connsiteY12" fmla="*/ 1746747 h 1836051"/>
                <a:gd name="connsiteX13" fmla="*/ 102399 w 1836086"/>
                <a:gd name="connsiteY13" fmla="*/ 1746870 h 1836051"/>
                <a:gd name="connsiteX14" fmla="*/ 95817 w 1836086"/>
                <a:gd name="connsiteY14" fmla="*/ 1749593 h 1836051"/>
                <a:gd name="connsiteX15" fmla="*/ 182345 w 1836086"/>
                <a:gd name="connsiteY15" fmla="*/ 1663048 h 1836051"/>
                <a:gd name="connsiteX16" fmla="*/ 175763 w 1836086"/>
                <a:gd name="connsiteY16" fmla="*/ 1660324 h 1836051"/>
                <a:gd name="connsiteX17" fmla="*/ 175763 w 1836086"/>
                <a:gd name="connsiteY17" fmla="*/ 1647160 h 1836051"/>
                <a:gd name="connsiteX18" fmla="*/ 175885 w 1836086"/>
                <a:gd name="connsiteY18" fmla="*/ 1647037 h 1836051"/>
                <a:gd name="connsiteX19" fmla="*/ 189049 w 1836086"/>
                <a:gd name="connsiteY19" fmla="*/ 1647037 h 1836051"/>
                <a:gd name="connsiteX20" fmla="*/ 189049 w 1836086"/>
                <a:gd name="connsiteY20" fmla="*/ 1660202 h 1836051"/>
                <a:gd name="connsiteX21" fmla="*/ 188927 w 1836086"/>
                <a:gd name="connsiteY21" fmla="*/ 1660324 h 1836051"/>
                <a:gd name="connsiteX22" fmla="*/ 182345 w 1836086"/>
                <a:gd name="connsiteY22" fmla="*/ 1663048 h 1836051"/>
                <a:gd name="connsiteX23" fmla="*/ 268925 w 1836086"/>
                <a:gd name="connsiteY23" fmla="*/ 1576415 h 1836051"/>
                <a:gd name="connsiteX24" fmla="*/ 262378 w 1836086"/>
                <a:gd name="connsiteY24" fmla="*/ 1573726 h 1836051"/>
                <a:gd name="connsiteX25" fmla="*/ 262308 w 1836086"/>
                <a:gd name="connsiteY25" fmla="*/ 1560614 h 1836051"/>
                <a:gd name="connsiteX26" fmla="*/ 262430 w 1836086"/>
                <a:gd name="connsiteY26" fmla="*/ 1560492 h 1836051"/>
                <a:gd name="connsiteX27" fmla="*/ 275595 w 1836086"/>
                <a:gd name="connsiteY27" fmla="*/ 1560492 h 1836051"/>
                <a:gd name="connsiteX28" fmla="*/ 275595 w 1836086"/>
                <a:gd name="connsiteY28" fmla="*/ 1573656 h 1836051"/>
                <a:gd name="connsiteX29" fmla="*/ 268925 w 1836086"/>
                <a:gd name="connsiteY29" fmla="*/ 1576415 h 1836051"/>
                <a:gd name="connsiteX30" fmla="*/ 355471 w 1836086"/>
                <a:gd name="connsiteY30" fmla="*/ 1489869 h 1836051"/>
                <a:gd name="connsiteX31" fmla="*/ 348924 w 1836086"/>
                <a:gd name="connsiteY31" fmla="*/ 1487181 h 1836051"/>
                <a:gd name="connsiteX32" fmla="*/ 348854 w 1836086"/>
                <a:gd name="connsiteY32" fmla="*/ 1474069 h 1836051"/>
                <a:gd name="connsiteX33" fmla="*/ 348976 w 1836086"/>
                <a:gd name="connsiteY33" fmla="*/ 1473946 h 1836051"/>
                <a:gd name="connsiteX34" fmla="*/ 362140 w 1836086"/>
                <a:gd name="connsiteY34" fmla="*/ 1473946 h 1836051"/>
                <a:gd name="connsiteX35" fmla="*/ 362140 w 1836086"/>
                <a:gd name="connsiteY35" fmla="*/ 1487111 h 1836051"/>
                <a:gd name="connsiteX36" fmla="*/ 355471 w 1836086"/>
                <a:gd name="connsiteY36" fmla="*/ 1489869 h 1836051"/>
                <a:gd name="connsiteX37" fmla="*/ 442016 w 1836086"/>
                <a:gd name="connsiteY37" fmla="*/ 1403341 h 1836051"/>
                <a:gd name="connsiteX38" fmla="*/ 435469 w 1836086"/>
                <a:gd name="connsiteY38" fmla="*/ 1400652 h 1836051"/>
                <a:gd name="connsiteX39" fmla="*/ 435399 w 1836086"/>
                <a:gd name="connsiteY39" fmla="*/ 1387540 h 1836051"/>
                <a:gd name="connsiteX40" fmla="*/ 435522 w 1836086"/>
                <a:gd name="connsiteY40" fmla="*/ 1387418 h 1836051"/>
                <a:gd name="connsiteX41" fmla="*/ 448686 w 1836086"/>
                <a:gd name="connsiteY41" fmla="*/ 1387418 h 1836051"/>
                <a:gd name="connsiteX42" fmla="*/ 448686 w 1836086"/>
                <a:gd name="connsiteY42" fmla="*/ 1400582 h 1836051"/>
                <a:gd name="connsiteX43" fmla="*/ 442016 w 1836086"/>
                <a:gd name="connsiteY43" fmla="*/ 1403341 h 1836051"/>
                <a:gd name="connsiteX44" fmla="*/ 528527 w 1836086"/>
                <a:gd name="connsiteY44" fmla="*/ 1316883 h 1836051"/>
                <a:gd name="connsiteX45" fmla="*/ 521945 w 1836086"/>
                <a:gd name="connsiteY45" fmla="*/ 1314159 h 1836051"/>
                <a:gd name="connsiteX46" fmla="*/ 521945 w 1836086"/>
                <a:gd name="connsiteY46" fmla="*/ 1300995 h 1836051"/>
                <a:gd name="connsiteX47" fmla="*/ 522067 w 1836086"/>
                <a:gd name="connsiteY47" fmla="*/ 1300873 h 1836051"/>
                <a:gd name="connsiteX48" fmla="*/ 535231 w 1836086"/>
                <a:gd name="connsiteY48" fmla="*/ 1300873 h 1836051"/>
                <a:gd name="connsiteX49" fmla="*/ 535231 w 1836086"/>
                <a:gd name="connsiteY49" fmla="*/ 1314037 h 1836051"/>
                <a:gd name="connsiteX50" fmla="*/ 535109 w 1836086"/>
                <a:gd name="connsiteY50" fmla="*/ 1314159 h 1836051"/>
                <a:gd name="connsiteX51" fmla="*/ 528527 w 1836086"/>
                <a:gd name="connsiteY51" fmla="*/ 1316883 h 1836051"/>
                <a:gd name="connsiteX52" fmla="*/ 615055 w 1836086"/>
                <a:gd name="connsiteY52" fmla="*/ 1230337 h 1836051"/>
                <a:gd name="connsiteX53" fmla="*/ 608473 w 1836086"/>
                <a:gd name="connsiteY53" fmla="*/ 1227613 h 1836051"/>
                <a:gd name="connsiteX54" fmla="*/ 608473 w 1836086"/>
                <a:gd name="connsiteY54" fmla="*/ 1214449 h 1836051"/>
                <a:gd name="connsiteX55" fmla="*/ 608595 w 1836086"/>
                <a:gd name="connsiteY55" fmla="*/ 1214327 h 1836051"/>
                <a:gd name="connsiteX56" fmla="*/ 621760 w 1836086"/>
                <a:gd name="connsiteY56" fmla="*/ 1214327 h 1836051"/>
                <a:gd name="connsiteX57" fmla="*/ 621760 w 1836086"/>
                <a:gd name="connsiteY57" fmla="*/ 1227491 h 1836051"/>
                <a:gd name="connsiteX58" fmla="*/ 621638 w 1836086"/>
                <a:gd name="connsiteY58" fmla="*/ 1227613 h 1836051"/>
                <a:gd name="connsiteX59" fmla="*/ 615055 w 1836086"/>
                <a:gd name="connsiteY59" fmla="*/ 1230337 h 1836051"/>
                <a:gd name="connsiteX60" fmla="*/ 701636 w 1836086"/>
                <a:gd name="connsiteY60" fmla="*/ 1143704 h 1836051"/>
                <a:gd name="connsiteX61" fmla="*/ 695088 w 1836086"/>
                <a:gd name="connsiteY61" fmla="*/ 1141016 h 1836051"/>
                <a:gd name="connsiteX62" fmla="*/ 695019 w 1836086"/>
                <a:gd name="connsiteY62" fmla="*/ 1127904 h 1836051"/>
                <a:gd name="connsiteX63" fmla="*/ 695141 w 1836086"/>
                <a:gd name="connsiteY63" fmla="*/ 1127781 h 1836051"/>
                <a:gd name="connsiteX64" fmla="*/ 708305 w 1836086"/>
                <a:gd name="connsiteY64" fmla="*/ 1127781 h 1836051"/>
                <a:gd name="connsiteX65" fmla="*/ 708305 w 1836086"/>
                <a:gd name="connsiteY65" fmla="*/ 1140946 h 1836051"/>
                <a:gd name="connsiteX66" fmla="*/ 701636 w 1836086"/>
                <a:gd name="connsiteY66" fmla="*/ 1143704 h 1836051"/>
                <a:gd name="connsiteX67" fmla="*/ 788181 w 1836086"/>
                <a:gd name="connsiteY67" fmla="*/ 1057159 h 1836051"/>
                <a:gd name="connsiteX68" fmla="*/ 781634 w 1836086"/>
                <a:gd name="connsiteY68" fmla="*/ 1054470 h 1836051"/>
                <a:gd name="connsiteX69" fmla="*/ 781564 w 1836086"/>
                <a:gd name="connsiteY69" fmla="*/ 1041358 h 1836051"/>
                <a:gd name="connsiteX70" fmla="*/ 781687 w 1836086"/>
                <a:gd name="connsiteY70" fmla="*/ 1041236 h 1836051"/>
                <a:gd name="connsiteX71" fmla="*/ 794851 w 1836086"/>
                <a:gd name="connsiteY71" fmla="*/ 1041236 h 1836051"/>
                <a:gd name="connsiteX72" fmla="*/ 794851 w 1836086"/>
                <a:gd name="connsiteY72" fmla="*/ 1054400 h 1836051"/>
                <a:gd name="connsiteX73" fmla="*/ 788181 w 1836086"/>
                <a:gd name="connsiteY73" fmla="*/ 1057159 h 1836051"/>
                <a:gd name="connsiteX74" fmla="*/ 874727 w 1836086"/>
                <a:gd name="connsiteY74" fmla="*/ 970613 h 1836051"/>
                <a:gd name="connsiteX75" fmla="*/ 868180 w 1836086"/>
                <a:gd name="connsiteY75" fmla="*/ 967924 h 1836051"/>
                <a:gd name="connsiteX76" fmla="*/ 868110 w 1836086"/>
                <a:gd name="connsiteY76" fmla="*/ 954812 h 1836051"/>
                <a:gd name="connsiteX77" fmla="*/ 868232 w 1836086"/>
                <a:gd name="connsiteY77" fmla="*/ 954690 h 1836051"/>
                <a:gd name="connsiteX78" fmla="*/ 881396 w 1836086"/>
                <a:gd name="connsiteY78" fmla="*/ 954690 h 1836051"/>
                <a:gd name="connsiteX79" fmla="*/ 881396 w 1836086"/>
                <a:gd name="connsiteY79" fmla="*/ 967855 h 1836051"/>
                <a:gd name="connsiteX80" fmla="*/ 874727 w 1836086"/>
                <a:gd name="connsiteY80" fmla="*/ 970613 h 1836051"/>
                <a:gd name="connsiteX81" fmla="*/ 961237 w 1836086"/>
                <a:gd name="connsiteY81" fmla="*/ 884172 h 1836051"/>
                <a:gd name="connsiteX82" fmla="*/ 954656 w 1836086"/>
                <a:gd name="connsiteY82" fmla="*/ 881448 h 1836051"/>
                <a:gd name="connsiteX83" fmla="*/ 954656 w 1836086"/>
                <a:gd name="connsiteY83" fmla="*/ 868284 h 1836051"/>
                <a:gd name="connsiteX84" fmla="*/ 954778 w 1836086"/>
                <a:gd name="connsiteY84" fmla="*/ 868162 h 1836051"/>
                <a:gd name="connsiteX85" fmla="*/ 967942 w 1836086"/>
                <a:gd name="connsiteY85" fmla="*/ 868162 h 1836051"/>
                <a:gd name="connsiteX86" fmla="*/ 967942 w 1836086"/>
                <a:gd name="connsiteY86" fmla="*/ 881326 h 1836051"/>
                <a:gd name="connsiteX87" fmla="*/ 967820 w 1836086"/>
                <a:gd name="connsiteY87" fmla="*/ 881448 h 1836051"/>
                <a:gd name="connsiteX88" fmla="*/ 961237 w 1836086"/>
                <a:gd name="connsiteY88" fmla="*/ 884172 h 1836051"/>
                <a:gd name="connsiteX89" fmla="*/ 1047783 w 1836086"/>
                <a:gd name="connsiteY89" fmla="*/ 797627 h 1836051"/>
                <a:gd name="connsiteX90" fmla="*/ 1041201 w 1836086"/>
                <a:gd name="connsiteY90" fmla="*/ 794903 h 1836051"/>
                <a:gd name="connsiteX91" fmla="*/ 1041201 w 1836086"/>
                <a:gd name="connsiteY91" fmla="*/ 781739 h 1836051"/>
                <a:gd name="connsiteX92" fmla="*/ 1041323 w 1836086"/>
                <a:gd name="connsiteY92" fmla="*/ 781616 h 1836051"/>
                <a:gd name="connsiteX93" fmla="*/ 1054488 w 1836086"/>
                <a:gd name="connsiteY93" fmla="*/ 781616 h 1836051"/>
                <a:gd name="connsiteX94" fmla="*/ 1054488 w 1836086"/>
                <a:gd name="connsiteY94" fmla="*/ 794781 h 1836051"/>
                <a:gd name="connsiteX95" fmla="*/ 1054365 w 1836086"/>
                <a:gd name="connsiteY95" fmla="*/ 794903 h 1836051"/>
                <a:gd name="connsiteX96" fmla="*/ 1047783 w 1836086"/>
                <a:gd name="connsiteY96" fmla="*/ 797627 h 1836051"/>
                <a:gd name="connsiteX97" fmla="*/ 1134311 w 1836086"/>
                <a:gd name="connsiteY97" fmla="*/ 711081 h 1836051"/>
                <a:gd name="connsiteX98" fmla="*/ 1127729 w 1836086"/>
                <a:gd name="connsiteY98" fmla="*/ 708357 h 1836051"/>
                <a:gd name="connsiteX99" fmla="*/ 1127729 w 1836086"/>
                <a:gd name="connsiteY99" fmla="*/ 695193 h 1836051"/>
                <a:gd name="connsiteX100" fmla="*/ 1127852 w 1836086"/>
                <a:gd name="connsiteY100" fmla="*/ 695071 h 1836051"/>
                <a:gd name="connsiteX101" fmla="*/ 1141016 w 1836086"/>
                <a:gd name="connsiteY101" fmla="*/ 695071 h 1836051"/>
                <a:gd name="connsiteX102" fmla="*/ 1141016 w 1836086"/>
                <a:gd name="connsiteY102" fmla="*/ 708235 h 1836051"/>
                <a:gd name="connsiteX103" fmla="*/ 1140894 w 1836086"/>
                <a:gd name="connsiteY103" fmla="*/ 708357 h 1836051"/>
                <a:gd name="connsiteX104" fmla="*/ 1134311 w 1836086"/>
                <a:gd name="connsiteY104" fmla="*/ 711081 h 1836051"/>
                <a:gd name="connsiteX105" fmla="*/ 1220892 w 1836086"/>
                <a:gd name="connsiteY105" fmla="*/ 624448 h 1836051"/>
                <a:gd name="connsiteX106" fmla="*/ 1214345 w 1836086"/>
                <a:gd name="connsiteY106" fmla="*/ 621759 h 1836051"/>
                <a:gd name="connsiteX107" fmla="*/ 1214275 w 1836086"/>
                <a:gd name="connsiteY107" fmla="*/ 608647 h 1836051"/>
                <a:gd name="connsiteX108" fmla="*/ 1214397 w 1836086"/>
                <a:gd name="connsiteY108" fmla="*/ 608525 h 1836051"/>
                <a:gd name="connsiteX109" fmla="*/ 1227561 w 1836086"/>
                <a:gd name="connsiteY109" fmla="*/ 608525 h 1836051"/>
                <a:gd name="connsiteX110" fmla="*/ 1227561 w 1836086"/>
                <a:gd name="connsiteY110" fmla="*/ 621690 h 1836051"/>
                <a:gd name="connsiteX111" fmla="*/ 1220892 w 1836086"/>
                <a:gd name="connsiteY111" fmla="*/ 624448 h 1836051"/>
                <a:gd name="connsiteX112" fmla="*/ 1307437 w 1836086"/>
                <a:gd name="connsiteY112" fmla="*/ 537903 h 1836051"/>
                <a:gd name="connsiteX113" fmla="*/ 1300890 w 1836086"/>
                <a:gd name="connsiteY113" fmla="*/ 535214 h 1836051"/>
                <a:gd name="connsiteX114" fmla="*/ 1300820 w 1836086"/>
                <a:gd name="connsiteY114" fmla="*/ 522102 h 1836051"/>
                <a:gd name="connsiteX115" fmla="*/ 1300943 w 1836086"/>
                <a:gd name="connsiteY115" fmla="*/ 521980 h 1836051"/>
                <a:gd name="connsiteX116" fmla="*/ 1314107 w 1836086"/>
                <a:gd name="connsiteY116" fmla="*/ 521980 h 1836051"/>
                <a:gd name="connsiteX117" fmla="*/ 1314107 w 1836086"/>
                <a:gd name="connsiteY117" fmla="*/ 535144 h 1836051"/>
                <a:gd name="connsiteX118" fmla="*/ 1307437 w 1836086"/>
                <a:gd name="connsiteY118" fmla="*/ 537903 h 1836051"/>
                <a:gd name="connsiteX119" fmla="*/ 1393949 w 1836086"/>
                <a:gd name="connsiteY119" fmla="*/ 451462 h 1836051"/>
                <a:gd name="connsiteX120" fmla="*/ 1387366 w 1836086"/>
                <a:gd name="connsiteY120" fmla="*/ 448738 h 1836051"/>
                <a:gd name="connsiteX121" fmla="*/ 1387366 w 1836086"/>
                <a:gd name="connsiteY121" fmla="*/ 435574 h 1836051"/>
                <a:gd name="connsiteX122" fmla="*/ 1387488 w 1836086"/>
                <a:gd name="connsiteY122" fmla="*/ 435451 h 1836051"/>
                <a:gd name="connsiteX123" fmla="*/ 1400653 w 1836086"/>
                <a:gd name="connsiteY123" fmla="*/ 435451 h 1836051"/>
                <a:gd name="connsiteX124" fmla="*/ 1400653 w 1836086"/>
                <a:gd name="connsiteY124" fmla="*/ 448616 h 1836051"/>
                <a:gd name="connsiteX125" fmla="*/ 1400531 w 1836086"/>
                <a:gd name="connsiteY125" fmla="*/ 448738 h 1836051"/>
                <a:gd name="connsiteX126" fmla="*/ 1393949 w 1836086"/>
                <a:gd name="connsiteY126" fmla="*/ 451462 h 1836051"/>
                <a:gd name="connsiteX127" fmla="*/ 1480494 w 1836086"/>
                <a:gd name="connsiteY127" fmla="*/ 364916 h 1836051"/>
                <a:gd name="connsiteX128" fmla="*/ 1473912 w 1836086"/>
                <a:gd name="connsiteY128" fmla="*/ 362192 h 1836051"/>
                <a:gd name="connsiteX129" fmla="*/ 1473912 w 1836086"/>
                <a:gd name="connsiteY129" fmla="*/ 349028 h 1836051"/>
                <a:gd name="connsiteX130" fmla="*/ 1474034 w 1836086"/>
                <a:gd name="connsiteY130" fmla="*/ 348906 h 1836051"/>
                <a:gd name="connsiteX131" fmla="*/ 1487198 w 1836086"/>
                <a:gd name="connsiteY131" fmla="*/ 348906 h 1836051"/>
                <a:gd name="connsiteX132" fmla="*/ 1487198 w 1836086"/>
                <a:gd name="connsiteY132" fmla="*/ 362070 h 1836051"/>
                <a:gd name="connsiteX133" fmla="*/ 1487076 w 1836086"/>
                <a:gd name="connsiteY133" fmla="*/ 362192 h 1836051"/>
                <a:gd name="connsiteX134" fmla="*/ 1480494 w 1836086"/>
                <a:gd name="connsiteY134" fmla="*/ 364916 h 1836051"/>
                <a:gd name="connsiteX135" fmla="*/ 1567057 w 1836086"/>
                <a:gd name="connsiteY135" fmla="*/ 278283 h 1836051"/>
                <a:gd name="connsiteX136" fmla="*/ 1560510 w 1836086"/>
                <a:gd name="connsiteY136" fmla="*/ 275595 h 1836051"/>
                <a:gd name="connsiteX137" fmla="*/ 1560440 w 1836086"/>
                <a:gd name="connsiteY137" fmla="*/ 262483 h 1836051"/>
                <a:gd name="connsiteX138" fmla="*/ 1560562 w 1836086"/>
                <a:gd name="connsiteY138" fmla="*/ 262361 h 1836051"/>
                <a:gd name="connsiteX139" fmla="*/ 1573726 w 1836086"/>
                <a:gd name="connsiteY139" fmla="*/ 262361 h 1836051"/>
                <a:gd name="connsiteX140" fmla="*/ 1573726 w 1836086"/>
                <a:gd name="connsiteY140" fmla="*/ 275525 h 1836051"/>
                <a:gd name="connsiteX141" fmla="*/ 1567057 w 1836086"/>
                <a:gd name="connsiteY141" fmla="*/ 278283 h 1836051"/>
                <a:gd name="connsiteX142" fmla="*/ 1653602 w 1836086"/>
                <a:gd name="connsiteY142" fmla="*/ 191738 h 1836051"/>
                <a:gd name="connsiteX143" fmla="*/ 1647055 w 1836086"/>
                <a:gd name="connsiteY143" fmla="*/ 189049 h 1836051"/>
                <a:gd name="connsiteX144" fmla="*/ 1646985 w 1836086"/>
                <a:gd name="connsiteY144" fmla="*/ 175937 h 1836051"/>
                <a:gd name="connsiteX145" fmla="*/ 1647108 w 1836086"/>
                <a:gd name="connsiteY145" fmla="*/ 175815 h 1836051"/>
                <a:gd name="connsiteX146" fmla="*/ 1660271 w 1836086"/>
                <a:gd name="connsiteY146" fmla="*/ 175815 h 1836051"/>
                <a:gd name="connsiteX147" fmla="*/ 1660271 w 1836086"/>
                <a:gd name="connsiteY147" fmla="*/ 188979 h 1836051"/>
                <a:gd name="connsiteX148" fmla="*/ 1653602 w 1836086"/>
                <a:gd name="connsiteY148" fmla="*/ 191738 h 1836051"/>
                <a:gd name="connsiteX149" fmla="*/ 1740148 w 1836086"/>
                <a:gd name="connsiteY149" fmla="*/ 105192 h 1836051"/>
                <a:gd name="connsiteX150" fmla="*/ 1733600 w 1836086"/>
                <a:gd name="connsiteY150" fmla="*/ 102503 h 1836051"/>
                <a:gd name="connsiteX151" fmla="*/ 1733531 w 1836086"/>
                <a:gd name="connsiteY151" fmla="*/ 89391 h 1836051"/>
                <a:gd name="connsiteX152" fmla="*/ 1733653 w 1836086"/>
                <a:gd name="connsiteY152" fmla="*/ 89269 h 1836051"/>
                <a:gd name="connsiteX153" fmla="*/ 1746818 w 1836086"/>
                <a:gd name="connsiteY153" fmla="*/ 89269 h 1836051"/>
                <a:gd name="connsiteX154" fmla="*/ 1746818 w 1836086"/>
                <a:gd name="connsiteY154" fmla="*/ 102433 h 1836051"/>
                <a:gd name="connsiteX155" fmla="*/ 1740148 w 1836086"/>
                <a:gd name="connsiteY155" fmla="*/ 105192 h 1836051"/>
                <a:gd name="connsiteX156" fmla="*/ 1826694 w 1836086"/>
                <a:gd name="connsiteY156" fmla="*/ 18646 h 1836051"/>
                <a:gd name="connsiteX157" fmla="*/ 1820146 w 1836086"/>
                <a:gd name="connsiteY157" fmla="*/ 15958 h 1836051"/>
                <a:gd name="connsiteX158" fmla="*/ 1820077 w 1836086"/>
                <a:gd name="connsiteY158" fmla="*/ 2846 h 1836051"/>
                <a:gd name="connsiteX159" fmla="*/ 1820198 w 1836086"/>
                <a:gd name="connsiteY159" fmla="*/ 2724 h 1836051"/>
                <a:gd name="connsiteX160" fmla="*/ 1833363 w 1836086"/>
                <a:gd name="connsiteY160" fmla="*/ 2724 h 1836051"/>
                <a:gd name="connsiteX161" fmla="*/ 1833363 w 1836086"/>
                <a:gd name="connsiteY161" fmla="*/ 15888 h 1836051"/>
                <a:gd name="connsiteX162" fmla="*/ 1826694 w 1836086"/>
                <a:gd name="connsiteY162" fmla="*/ 18646 h 18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836086" h="1836051">
                  <a:moveTo>
                    <a:pt x="9306" y="1836051"/>
                  </a:moveTo>
                  <a:cubicBezTo>
                    <a:pt x="6932" y="1836051"/>
                    <a:pt x="4557" y="1835161"/>
                    <a:pt x="2759" y="1833363"/>
                  </a:cubicBezTo>
                  <a:cubicBezTo>
                    <a:pt x="-873" y="1829731"/>
                    <a:pt x="-943" y="1823900"/>
                    <a:pt x="2689" y="1820251"/>
                  </a:cubicBezTo>
                  <a:lnTo>
                    <a:pt x="2811" y="1820129"/>
                  </a:lnTo>
                  <a:cubicBezTo>
                    <a:pt x="6443" y="1816497"/>
                    <a:pt x="12344" y="1816497"/>
                    <a:pt x="15975" y="1820129"/>
                  </a:cubicBezTo>
                  <a:cubicBezTo>
                    <a:pt x="19607" y="1823760"/>
                    <a:pt x="19607" y="1829661"/>
                    <a:pt x="15975" y="1833293"/>
                  </a:cubicBezTo>
                  <a:cubicBezTo>
                    <a:pt x="14142" y="1835126"/>
                    <a:pt x="11715" y="1836051"/>
                    <a:pt x="9306" y="1836051"/>
                  </a:cubicBezTo>
                  <a:close/>
                  <a:moveTo>
                    <a:pt x="95817" y="1749593"/>
                  </a:moveTo>
                  <a:cubicBezTo>
                    <a:pt x="93425" y="1749593"/>
                    <a:pt x="91050" y="1748685"/>
                    <a:pt x="89234" y="1746870"/>
                  </a:cubicBezTo>
                  <a:cubicBezTo>
                    <a:pt x="85603" y="1743238"/>
                    <a:pt x="85603" y="1737337"/>
                    <a:pt x="89234" y="1733705"/>
                  </a:cubicBezTo>
                  <a:lnTo>
                    <a:pt x="89357" y="1733583"/>
                  </a:lnTo>
                  <a:cubicBezTo>
                    <a:pt x="92988" y="1729952"/>
                    <a:pt x="98889" y="1729952"/>
                    <a:pt x="102521" y="1733583"/>
                  </a:cubicBezTo>
                  <a:cubicBezTo>
                    <a:pt x="106153" y="1737215"/>
                    <a:pt x="106153" y="1743116"/>
                    <a:pt x="102521" y="1746747"/>
                  </a:cubicBezTo>
                  <a:lnTo>
                    <a:pt x="102399" y="1746870"/>
                  </a:lnTo>
                  <a:cubicBezTo>
                    <a:pt x="100583" y="1748685"/>
                    <a:pt x="98191" y="1749593"/>
                    <a:pt x="95817" y="1749593"/>
                  </a:cubicBezTo>
                  <a:close/>
                  <a:moveTo>
                    <a:pt x="182345" y="1663048"/>
                  </a:moveTo>
                  <a:cubicBezTo>
                    <a:pt x="179953" y="1663048"/>
                    <a:pt x="177578" y="1662140"/>
                    <a:pt x="175763" y="1660324"/>
                  </a:cubicBezTo>
                  <a:cubicBezTo>
                    <a:pt x="172131" y="1656692"/>
                    <a:pt x="172131" y="1650791"/>
                    <a:pt x="175763" y="1647160"/>
                  </a:cubicBezTo>
                  <a:lnTo>
                    <a:pt x="175885" y="1647037"/>
                  </a:lnTo>
                  <a:cubicBezTo>
                    <a:pt x="179516" y="1643406"/>
                    <a:pt x="185418" y="1643406"/>
                    <a:pt x="189049" y="1647037"/>
                  </a:cubicBezTo>
                  <a:cubicBezTo>
                    <a:pt x="192681" y="1650669"/>
                    <a:pt x="192681" y="1656570"/>
                    <a:pt x="189049" y="1660202"/>
                  </a:cubicBezTo>
                  <a:lnTo>
                    <a:pt x="188927" y="1660324"/>
                  </a:lnTo>
                  <a:cubicBezTo>
                    <a:pt x="187111" y="1662140"/>
                    <a:pt x="184719" y="1663048"/>
                    <a:pt x="182345" y="1663048"/>
                  </a:cubicBezTo>
                  <a:close/>
                  <a:moveTo>
                    <a:pt x="268925" y="1576415"/>
                  </a:moveTo>
                  <a:cubicBezTo>
                    <a:pt x="266551" y="1576415"/>
                    <a:pt x="264176" y="1575524"/>
                    <a:pt x="262378" y="1573726"/>
                  </a:cubicBezTo>
                  <a:cubicBezTo>
                    <a:pt x="258747" y="1570095"/>
                    <a:pt x="258677" y="1564263"/>
                    <a:pt x="262308" y="1560614"/>
                  </a:cubicBezTo>
                  <a:lnTo>
                    <a:pt x="262430" y="1560492"/>
                  </a:lnTo>
                  <a:cubicBezTo>
                    <a:pt x="266062" y="1556860"/>
                    <a:pt x="271963" y="1556860"/>
                    <a:pt x="275595" y="1560492"/>
                  </a:cubicBezTo>
                  <a:cubicBezTo>
                    <a:pt x="279226" y="1564123"/>
                    <a:pt x="279226" y="1570025"/>
                    <a:pt x="275595" y="1573656"/>
                  </a:cubicBezTo>
                  <a:cubicBezTo>
                    <a:pt x="273762" y="1575489"/>
                    <a:pt x="271335" y="1576415"/>
                    <a:pt x="268925" y="1576415"/>
                  </a:cubicBezTo>
                  <a:close/>
                  <a:moveTo>
                    <a:pt x="355471" y="1489869"/>
                  </a:moveTo>
                  <a:cubicBezTo>
                    <a:pt x="353097" y="1489869"/>
                    <a:pt x="350722" y="1488979"/>
                    <a:pt x="348924" y="1487181"/>
                  </a:cubicBezTo>
                  <a:cubicBezTo>
                    <a:pt x="345292" y="1483549"/>
                    <a:pt x="345222" y="1477717"/>
                    <a:pt x="348854" y="1474069"/>
                  </a:cubicBezTo>
                  <a:lnTo>
                    <a:pt x="348976" y="1473946"/>
                  </a:lnTo>
                  <a:cubicBezTo>
                    <a:pt x="352608" y="1470315"/>
                    <a:pt x="358509" y="1470315"/>
                    <a:pt x="362140" y="1473946"/>
                  </a:cubicBezTo>
                  <a:cubicBezTo>
                    <a:pt x="365772" y="1477578"/>
                    <a:pt x="365772" y="1483479"/>
                    <a:pt x="362140" y="1487111"/>
                  </a:cubicBezTo>
                  <a:cubicBezTo>
                    <a:pt x="360307" y="1488944"/>
                    <a:pt x="357880" y="1489869"/>
                    <a:pt x="355471" y="1489869"/>
                  </a:cubicBezTo>
                  <a:close/>
                  <a:moveTo>
                    <a:pt x="442016" y="1403341"/>
                  </a:moveTo>
                  <a:cubicBezTo>
                    <a:pt x="439642" y="1403341"/>
                    <a:pt x="437268" y="1402451"/>
                    <a:pt x="435469" y="1400652"/>
                  </a:cubicBezTo>
                  <a:cubicBezTo>
                    <a:pt x="431838" y="1397021"/>
                    <a:pt x="431768" y="1391190"/>
                    <a:pt x="435399" y="1387540"/>
                  </a:cubicBezTo>
                  <a:lnTo>
                    <a:pt x="435522" y="1387418"/>
                  </a:lnTo>
                  <a:cubicBezTo>
                    <a:pt x="439153" y="1383787"/>
                    <a:pt x="445054" y="1383787"/>
                    <a:pt x="448686" y="1387418"/>
                  </a:cubicBezTo>
                  <a:cubicBezTo>
                    <a:pt x="452317" y="1391050"/>
                    <a:pt x="452317" y="1396951"/>
                    <a:pt x="448686" y="1400582"/>
                  </a:cubicBezTo>
                  <a:cubicBezTo>
                    <a:pt x="446853" y="1402416"/>
                    <a:pt x="444426" y="1403341"/>
                    <a:pt x="442016" y="1403341"/>
                  </a:cubicBezTo>
                  <a:close/>
                  <a:moveTo>
                    <a:pt x="528527" y="1316883"/>
                  </a:moveTo>
                  <a:cubicBezTo>
                    <a:pt x="526135" y="1316883"/>
                    <a:pt x="523761" y="1315975"/>
                    <a:pt x="521945" y="1314159"/>
                  </a:cubicBezTo>
                  <a:cubicBezTo>
                    <a:pt x="518313" y="1310527"/>
                    <a:pt x="518313" y="1304626"/>
                    <a:pt x="521945" y="1300995"/>
                  </a:cubicBezTo>
                  <a:lnTo>
                    <a:pt x="522067" y="1300873"/>
                  </a:lnTo>
                  <a:cubicBezTo>
                    <a:pt x="525699" y="1297241"/>
                    <a:pt x="531600" y="1297241"/>
                    <a:pt x="535231" y="1300873"/>
                  </a:cubicBezTo>
                  <a:cubicBezTo>
                    <a:pt x="538863" y="1304504"/>
                    <a:pt x="538863" y="1310405"/>
                    <a:pt x="535231" y="1314037"/>
                  </a:cubicBezTo>
                  <a:lnTo>
                    <a:pt x="535109" y="1314159"/>
                  </a:lnTo>
                  <a:cubicBezTo>
                    <a:pt x="533294" y="1315975"/>
                    <a:pt x="530901" y="1316883"/>
                    <a:pt x="528527" y="1316883"/>
                  </a:cubicBezTo>
                  <a:close/>
                  <a:moveTo>
                    <a:pt x="615055" y="1230337"/>
                  </a:moveTo>
                  <a:cubicBezTo>
                    <a:pt x="612663" y="1230337"/>
                    <a:pt x="610289" y="1229429"/>
                    <a:pt x="608473" y="1227613"/>
                  </a:cubicBezTo>
                  <a:cubicBezTo>
                    <a:pt x="604842" y="1223982"/>
                    <a:pt x="604842" y="1218081"/>
                    <a:pt x="608473" y="1214449"/>
                  </a:cubicBezTo>
                  <a:lnTo>
                    <a:pt x="608595" y="1214327"/>
                  </a:lnTo>
                  <a:cubicBezTo>
                    <a:pt x="612227" y="1210695"/>
                    <a:pt x="618128" y="1210695"/>
                    <a:pt x="621760" y="1214327"/>
                  </a:cubicBezTo>
                  <a:cubicBezTo>
                    <a:pt x="625391" y="1217959"/>
                    <a:pt x="625391" y="1223860"/>
                    <a:pt x="621760" y="1227491"/>
                  </a:cubicBezTo>
                  <a:lnTo>
                    <a:pt x="621638" y="1227613"/>
                  </a:lnTo>
                  <a:cubicBezTo>
                    <a:pt x="619822" y="1229429"/>
                    <a:pt x="617430" y="1230337"/>
                    <a:pt x="615055" y="1230337"/>
                  </a:cubicBezTo>
                  <a:close/>
                  <a:moveTo>
                    <a:pt x="701636" y="1143704"/>
                  </a:moveTo>
                  <a:cubicBezTo>
                    <a:pt x="699261" y="1143704"/>
                    <a:pt x="696887" y="1142814"/>
                    <a:pt x="695088" y="1141016"/>
                  </a:cubicBezTo>
                  <a:cubicBezTo>
                    <a:pt x="691457" y="1137384"/>
                    <a:pt x="691387" y="1131552"/>
                    <a:pt x="695019" y="1127904"/>
                  </a:cubicBezTo>
                  <a:lnTo>
                    <a:pt x="695141" y="1127781"/>
                  </a:lnTo>
                  <a:cubicBezTo>
                    <a:pt x="698773" y="1124150"/>
                    <a:pt x="704674" y="1124150"/>
                    <a:pt x="708305" y="1127781"/>
                  </a:cubicBezTo>
                  <a:cubicBezTo>
                    <a:pt x="711937" y="1131413"/>
                    <a:pt x="711937" y="1137314"/>
                    <a:pt x="708305" y="1140946"/>
                  </a:cubicBezTo>
                  <a:cubicBezTo>
                    <a:pt x="706472" y="1142779"/>
                    <a:pt x="704045" y="1143704"/>
                    <a:pt x="701636" y="1143704"/>
                  </a:cubicBezTo>
                  <a:close/>
                  <a:moveTo>
                    <a:pt x="788181" y="1057159"/>
                  </a:moveTo>
                  <a:cubicBezTo>
                    <a:pt x="785807" y="1057159"/>
                    <a:pt x="783433" y="1056268"/>
                    <a:pt x="781634" y="1054470"/>
                  </a:cubicBezTo>
                  <a:cubicBezTo>
                    <a:pt x="778003" y="1050838"/>
                    <a:pt x="777933" y="1045007"/>
                    <a:pt x="781564" y="1041358"/>
                  </a:cubicBezTo>
                  <a:lnTo>
                    <a:pt x="781687" y="1041236"/>
                  </a:lnTo>
                  <a:cubicBezTo>
                    <a:pt x="785318" y="1037604"/>
                    <a:pt x="791219" y="1037604"/>
                    <a:pt x="794851" y="1041236"/>
                  </a:cubicBezTo>
                  <a:cubicBezTo>
                    <a:pt x="798482" y="1044867"/>
                    <a:pt x="798482" y="1050769"/>
                    <a:pt x="794851" y="1054400"/>
                  </a:cubicBezTo>
                  <a:cubicBezTo>
                    <a:pt x="793018" y="1056233"/>
                    <a:pt x="790591" y="1057159"/>
                    <a:pt x="788181" y="1057159"/>
                  </a:cubicBezTo>
                  <a:close/>
                  <a:moveTo>
                    <a:pt x="874727" y="970613"/>
                  </a:moveTo>
                  <a:cubicBezTo>
                    <a:pt x="872352" y="970613"/>
                    <a:pt x="869978" y="969723"/>
                    <a:pt x="868180" y="967924"/>
                  </a:cubicBezTo>
                  <a:cubicBezTo>
                    <a:pt x="864548" y="964293"/>
                    <a:pt x="864478" y="958461"/>
                    <a:pt x="868110" y="954812"/>
                  </a:cubicBezTo>
                  <a:lnTo>
                    <a:pt x="868232" y="954690"/>
                  </a:lnTo>
                  <a:cubicBezTo>
                    <a:pt x="871864" y="951059"/>
                    <a:pt x="877765" y="951059"/>
                    <a:pt x="881396" y="954690"/>
                  </a:cubicBezTo>
                  <a:cubicBezTo>
                    <a:pt x="885028" y="958322"/>
                    <a:pt x="885028" y="964223"/>
                    <a:pt x="881396" y="967855"/>
                  </a:cubicBezTo>
                  <a:cubicBezTo>
                    <a:pt x="879563" y="969688"/>
                    <a:pt x="877136" y="970613"/>
                    <a:pt x="874727" y="970613"/>
                  </a:cubicBezTo>
                  <a:close/>
                  <a:moveTo>
                    <a:pt x="961237" y="884172"/>
                  </a:moveTo>
                  <a:cubicBezTo>
                    <a:pt x="958846" y="884172"/>
                    <a:pt x="956471" y="883264"/>
                    <a:pt x="954656" y="881448"/>
                  </a:cubicBezTo>
                  <a:cubicBezTo>
                    <a:pt x="951024" y="877817"/>
                    <a:pt x="951024" y="871916"/>
                    <a:pt x="954656" y="868284"/>
                  </a:cubicBezTo>
                  <a:lnTo>
                    <a:pt x="954778" y="868162"/>
                  </a:lnTo>
                  <a:cubicBezTo>
                    <a:pt x="958409" y="864530"/>
                    <a:pt x="964310" y="864530"/>
                    <a:pt x="967942" y="868162"/>
                  </a:cubicBezTo>
                  <a:cubicBezTo>
                    <a:pt x="971574" y="871794"/>
                    <a:pt x="971574" y="877695"/>
                    <a:pt x="967942" y="881326"/>
                  </a:cubicBezTo>
                  <a:lnTo>
                    <a:pt x="967820" y="881448"/>
                  </a:lnTo>
                  <a:cubicBezTo>
                    <a:pt x="966004" y="883264"/>
                    <a:pt x="963612" y="884172"/>
                    <a:pt x="961237" y="884172"/>
                  </a:cubicBezTo>
                  <a:close/>
                  <a:moveTo>
                    <a:pt x="1047783" y="797627"/>
                  </a:moveTo>
                  <a:cubicBezTo>
                    <a:pt x="1045391" y="797627"/>
                    <a:pt x="1043017" y="796719"/>
                    <a:pt x="1041201" y="794903"/>
                  </a:cubicBezTo>
                  <a:cubicBezTo>
                    <a:pt x="1037570" y="791271"/>
                    <a:pt x="1037570" y="785370"/>
                    <a:pt x="1041201" y="781739"/>
                  </a:cubicBezTo>
                  <a:lnTo>
                    <a:pt x="1041323" y="781616"/>
                  </a:lnTo>
                  <a:cubicBezTo>
                    <a:pt x="1044955" y="777985"/>
                    <a:pt x="1050856" y="777985"/>
                    <a:pt x="1054488" y="781616"/>
                  </a:cubicBezTo>
                  <a:cubicBezTo>
                    <a:pt x="1058119" y="785248"/>
                    <a:pt x="1058119" y="791149"/>
                    <a:pt x="1054488" y="794781"/>
                  </a:cubicBezTo>
                  <a:lnTo>
                    <a:pt x="1054365" y="794903"/>
                  </a:lnTo>
                  <a:cubicBezTo>
                    <a:pt x="1052550" y="796719"/>
                    <a:pt x="1050158" y="797627"/>
                    <a:pt x="1047783" y="797627"/>
                  </a:cubicBezTo>
                  <a:close/>
                  <a:moveTo>
                    <a:pt x="1134311" y="711081"/>
                  </a:moveTo>
                  <a:cubicBezTo>
                    <a:pt x="1131919" y="711081"/>
                    <a:pt x="1129545" y="710173"/>
                    <a:pt x="1127729" y="708357"/>
                  </a:cubicBezTo>
                  <a:cubicBezTo>
                    <a:pt x="1124098" y="704726"/>
                    <a:pt x="1124098" y="698825"/>
                    <a:pt x="1127729" y="695193"/>
                  </a:cubicBezTo>
                  <a:lnTo>
                    <a:pt x="1127852" y="695071"/>
                  </a:lnTo>
                  <a:cubicBezTo>
                    <a:pt x="1131483" y="691439"/>
                    <a:pt x="1137384" y="691439"/>
                    <a:pt x="1141016" y="695071"/>
                  </a:cubicBezTo>
                  <a:cubicBezTo>
                    <a:pt x="1144647" y="698702"/>
                    <a:pt x="1144647" y="704604"/>
                    <a:pt x="1141016" y="708235"/>
                  </a:cubicBezTo>
                  <a:lnTo>
                    <a:pt x="1140894" y="708357"/>
                  </a:lnTo>
                  <a:cubicBezTo>
                    <a:pt x="1139078" y="710173"/>
                    <a:pt x="1136686" y="711081"/>
                    <a:pt x="1134311" y="711081"/>
                  </a:cubicBezTo>
                  <a:close/>
                  <a:moveTo>
                    <a:pt x="1220892" y="624448"/>
                  </a:moveTo>
                  <a:cubicBezTo>
                    <a:pt x="1218517" y="624448"/>
                    <a:pt x="1216143" y="623558"/>
                    <a:pt x="1214345" y="621759"/>
                  </a:cubicBezTo>
                  <a:cubicBezTo>
                    <a:pt x="1210713" y="618128"/>
                    <a:pt x="1210643" y="612296"/>
                    <a:pt x="1214275" y="608647"/>
                  </a:cubicBezTo>
                  <a:lnTo>
                    <a:pt x="1214397" y="608525"/>
                  </a:lnTo>
                  <a:cubicBezTo>
                    <a:pt x="1218028" y="604894"/>
                    <a:pt x="1223930" y="604894"/>
                    <a:pt x="1227561" y="608525"/>
                  </a:cubicBezTo>
                  <a:cubicBezTo>
                    <a:pt x="1231193" y="612157"/>
                    <a:pt x="1231193" y="618058"/>
                    <a:pt x="1227561" y="621690"/>
                  </a:cubicBezTo>
                  <a:cubicBezTo>
                    <a:pt x="1225728" y="623523"/>
                    <a:pt x="1223301" y="624448"/>
                    <a:pt x="1220892" y="624448"/>
                  </a:cubicBezTo>
                  <a:close/>
                  <a:moveTo>
                    <a:pt x="1307437" y="537903"/>
                  </a:moveTo>
                  <a:cubicBezTo>
                    <a:pt x="1305063" y="537903"/>
                    <a:pt x="1302689" y="537012"/>
                    <a:pt x="1300890" y="535214"/>
                  </a:cubicBezTo>
                  <a:cubicBezTo>
                    <a:pt x="1297258" y="531582"/>
                    <a:pt x="1297189" y="525751"/>
                    <a:pt x="1300820" y="522102"/>
                  </a:cubicBezTo>
                  <a:lnTo>
                    <a:pt x="1300943" y="521980"/>
                  </a:lnTo>
                  <a:cubicBezTo>
                    <a:pt x="1304574" y="518348"/>
                    <a:pt x="1310476" y="518348"/>
                    <a:pt x="1314107" y="521980"/>
                  </a:cubicBezTo>
                  <a:cubicBezTo>
                    <a:pt x="1317738" y="525611"/>
                    <a:pt x="1317738" y="531512"/>
                    <a:pt x="1314107" y="535144"/>
                  </a:cubicBezTo>
                  <a:cubicBezTo>
                    <a:pt x="1312274" y="536977"/>
                    <a:pt x="1309847" y="537903"/>
                    <a:pt x="1307437" y="537903"/>
                  </a:cubicBezTo>
                  <a:close/>
                  <a:moveTo>
                    <a:pt x="1393949" y="451462"/>
                  </a:moveTo>
                  <a:cubicBezTo>
                    <a:pt x="1391556" y="451462"/>
                    <a:pt x="1389182" y="450554"/>
                    <a:pt x="1387366" y="448738"/>
                  </a:cubicBezTo>
                  <a:cubicBezTo>
                    <a:pt x="1383735" y="445107"/>
                    <a:pt x="1383735" y="439205"/>
                    <a:pt x="1387366" y="435574"/>
                  </a:cubicBezTo>
                  <a:lnTo>
                    <a:pt x="1387488" y="435451"/>
                  </a:lnTo>
                  <a:cubicBezTo>
                    <a:pt x="1391120" y="431820"/>
                    <a:pt x="1397021" y="431820"/>
                    <a:pt x="1400653" y="435451"/>
                  </a:cubicBezTo>
                  <a:cubicBezTo>
                    <a:pt x="1404284" y="439083"/>
                    <a:pt x="1404284" y="444984"/>
                    <a:pt x="1400653" y="448616"/>
                  </a:cubicBezTo>
                  <a:lnTo>
                    <a:pt x="1400531" y="448738"/>
                  </a:lnTo>
                  <a:cubicBezTo>
                    <a:pt x="1398715" y="450554"/>
                    <a:pt x="1396323" y="451462"/>
                    <a:pt x="1393949" y="451462"/>
                  </a:cubicBezTo>
                  <a:close/>
                  <a:moveTo>
                    <a:pt x="1480494" y="364916"/>
                  </a:moveTo>
                  <a:cubicBezTo>
                    <a:pt x="1478102" y="364916"/>
                    <a:pt x="1475727" y="364008"/>
                    <a:pt x="1473912" y="362192"/>
                  </a:cubicBezTo>
                  <a:cubicBezTo>
                    <a:pt x="1470280" y="358561"/>
                    <a:pt x="1470280" y="352660"/>
                    <a:pt x="1473912" y="349028"/>
                  </a:cubicBezTo>
                  <a:lnTo>
                    <a:pt x="1474034" y="348906"/>
                  </a:lnTo>
                  <a:cubicBezTo>
                    <a:pt x="1477665" y="345275"/>
                    <a:pt x="1483566" y="345275"/>
                    <a:pt x="1487198" y="348906"/>
                  </a:cubicBezTo>
                  <a:cubicBezTo>
                    <a:pt x="1490830" y="352537"/>
                    <a:pt x="1490830" y="358439"/>
                    <a:pt x="1487198" y="362070"/>
                  </a:cubicBezTo>
                  <a:lnTo>
                    <a:pt x="1487076" y="362192"/>
                  </a:lnTo>
                  <a:cubicBezTo>
                    <a:pt x="1485260" y="364008"/>
                    <a:pt x="1482868" y="364916"/>
                    <a:pt x="1480494" y="364916"/>
                  </a:cubicBezTo>
                  <a:close/>
                  <a:moveTo>
                    <a:pt x="1567057" y="278283"/>
                  </a:moveTo>
                  <a:cubicBezTo>
                    <a:pt x="1564682" y="278283"/>
                    <a:pt x="1562308" y="277393"/>
                    <a:pt x="1560510" y="275595"/>
                  </a:cubicBezTo>
                  <a:cubicBezTo>
                    <a:pt x="1556878" y="271963"/>
                    <a:pt x="1556808" y="266132"/>
                    <a:pt x="1560440" y="262483"/>
                  </a:cubicBezTo>
                  <a:lnTo>
                    <a:pt x="1560562" y="262361"/>
                  </a:lnTo>
                  <a:cubicBezTo>
                    <a:pt x="1564193" y="258729"/>
                    <a:pt x="1570094" y="258729"/>
                    <a:pt x="1573726" y="262361"/>
                  </a:cubicBezTo>
                  <a:cubicBezTo>
                    <a:pt x="1577358" y="265992"/>
                    <a:pt x="1577358" y="271893"/>
                    <a:pt x="1573726" y="275525"/>
                  </a:cubicBezTo>
                  <a:cubicBezTo>
                    <a:pt x="1571893" y="277358"/>
                    <a:pt x="1569466" y="278283"/>
                    <a:pt x="1567057" y="278283"/>
                  </a:cubicBezTo>
                  <a:close/>
                  <a:moveTo>
                    <a:pt x="1653602" y="191738"/>
                  </a:moveTo>
                  <a:cubicBezTo>
                    <a:pt x="1651228" y="191738"/>
                    <a:pt x="1648854" y="190847"/>
                    <a:pt x="1647055" y="189049"/>
                  </a:cubicBezTo>
                  <a:cubicBezTo>
                    <a:pt x="1643423" y="185417"/>
                    <a:pt x="1643353" y="179586"/>
                    <a:pt x="1646985" y="175937"/>
                  </a:cubicBezTo>
                  <a:lnTo>
                    <a:pt x="1647108" y="175815"/>
                  </a:lnTo>
                  <a:cubicBezTo>
                    <a:pt x="1650739" y="172183"/>
                    <a:pt x="1656641" y="172183"/>
                    <a:pt x="1660271" y="175815"/>
                  </a:cubicBezTo>
                  <a:cubicBezTo>
                    <a:pt x="1663903" y="179446"/>
                    <a:pt x="1663903" y="185348"/>
                    <a:pt x="1660271" y="188979"/>
                  </a:cubicBezTo>
                  <a:cubicBezTo>
                    <a:pt x="1658439" y="190812"/>
                    <a:pt x="1656011" y="191738"/>
                    <a:pt x="1653602" y="191738"/>
                  </a:cubicBezTo>
                  <a:close/>
                  <a:moveTo>
                    <a:pt x="1740148" y="105192"/>
                  </a:moveTo>
                  <a:cubicBezTo>
                    <a:pt x="1737773" y="105192"/>
                    <a:pt x="1735399" y="104302"/>
                    <a:pt x="1733600" y="102503"/>
                  </a:cubicBezTo>
                  <a:cubicBezTo>
                    <a:pt x="1729969" y="98872"/>
                    <a:pt x="1729900" y="93041"/>
                    <a:pt x="1733531" y="89391"/>
                  </a:cubicBezTo>
                  <a:lnTo>
                    <a:pt x="1733653" y="89269"/>
                  </a:lnTo>
                  <a:cubicBezTo>
                    <a:pt x="1737285" y="85638"/>
                    <a:pt x="1743186" y="85638"/>
                    <a:pt x="1746818" y="89269"/>
                  </a:cubicBezTo>
                  <a:cubicBezTo>
                    <a:pt x="1750449" y="92901"/>
                    <a:pt x="1750449" y="98802"/>
                    <a:pt x="1746818" y="102433"/>
                  </a:cubicBezTo>
                  <a:cubicBezTo>
                    <a:pt x="1744984" y="104267"/>
                    <a:pt x="1742558" y="105192"/>
                    <a:pt x="1740148" y="105192"/>
                  </a:cubicBezTo>
                  <a:close/>
                  <a:moveTo>
                    <a:pt x="1826694" y="18646"/>
                  </a:moveTo>
                  <a:cubicBezTo>
                    <a:pt x="1824319" y="18646"/>
                    <a:pt x="1821944" y="17756"/>
                    <a:pt x="1820146" y="15958"/>
                  </a:cubicBezTo>
                  <a:cubicBezTo>
                    <a:pt x="1816515" y="12326"/>
                    <a:pt x="1816445" y="6495"/>
                    <a:pt x="1820077" y="2846"/>
                  </a:cubicBezTo>
                  <a:lnTo>
                    <a:pt x="1820198" y="2724"/>
                  </a:lnTo>
                  <a:cubicBezTo>
                    <a:pt x="1823830" y="-908"/>
                    <a:pt x="1829731" y="-908"/>
                    <a:pt x="1833363" y="2724"/>
                  </a:cubicBezTo>
                  <a:cubicBezTo>
                    <a:pt x="1836994" y="6355"/>
                    <a:pt x="1836994" y="12256"/>
                    <a:pt x="1833363" y="15888"/>
                  </a:cubicBezTo>
                  <a:cubicBezTo>
                    <a:pt x="1831530" y="17721"/>
                    <a:pt x="1829103" y="18646"/>
                    <a:pt x="1826694" y="18646"/>
                  </a:cubicBezTo>
                  <a:close/>
                </a:path>
              </a:pathLst>
            </a:custGeom>
            <a:grpFill/>
            <a:ln w="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350808D-1DC9-7129-A52C-3345BACC037F}"/>
                </a:ext>
              </a:extLst>
            </p:cNvPr>
            <p:cNvSpPr/>
            <p:nvPr/>
          </p:nvSpPr>
          <p:spPr>
            <a:xfrm>
              <a:off x="7258094" y="3490094"/>
              <a:ext cx="1664188" cy="1664230"/>
            </a:xfrm>
            <a:custGeom>
              <a:avLst/>
              <a:gdLst>
                <a:gd name="connsiteX0" fmla="*/ 9893 w 1664188"/>
                <a:gd name="connsiteY0" fmla="*/ 1664213 h 1664230"/>
                <a:gd name="connsiteX1" fmla="*/ 2944 w 1664188"/>
                <a:gd name="connsiteY1" fmla="*/ 1661367 h 1664230"/>
                <a:gd name="connsiteX2" fmla="*/ 2857 w 1664188"/>
                <a:gd name="connsiteY2" fmla="*/ 1647382 h 1664230"/>
                <a:gd name="connsiteX3" fmla="*/ 2979 w 1664188"/>
                <a:gd name="connsiteY3" fmla="*/ 1647260 h 1664230"/>
                <a:gd name="connsiteX4" fmla="*/ 16964 w 1664188"/>
                <a:gd name="connsiteY4" fmla="*/ 1647173 h 1664230"/>
                <a:gd name="connsiteX5" fmla="*/ 17051 w 1664188"/>
                <a:gd name="connsiteY5" fmla="*/ 1661158 h 1664230"/>
                <a:gd name="connsiteX6" fmla="*/ 16929 w 1664188"/>
                <a:gd name="connsiteY6" fmla="*/ 1661280 h 1664230"/>
                <a:gd name="connsiteX7" fmla="*/ 9893 w 1664188"/>
                <a:gd name="connsiteY7" fmla="*/ 1664230 h 1664230"/>
                <a:gd name="connsiteX8" fmla="*/ 96439 w 1664188"/>
                <a:gd name="connsiteY8" fmla="*/ 1577668 h 1664230"/>
                <a:gd name="connsiteX9" fmla="*/ 89438 w 1664188"/>
                <a:gd name="connsiteY9" fmla="*/ 1574769 h 1664230"/>
                <a:gd name="connsiteX10" fmla="*/ 89438 w 1664188"/>
                <a:gd name="connsiteY10" fmla="*/ 1560784 h 1664230"/>
                <a:gd name="connsiteX11" fmla="*/ 89559 w 1664188"/>
                <a:gd name="connsiteY11" fmla="*/ 1560662 h 1664230"/>
                <a:gd name="connsiteX12" fmla="*/ 103544 w 1664188"/>
                <a:gd name="connsiteY12" fmla="*/ 1560662 h 1664230"/>
                <a:gd name="connsiteX13" fmla="*/ 103544 w 1664188"/>
                <a:gd name="connsiteY13" fmla="*/ 1574647 h 1664230"/>
                <a:gd name="connsiteX14" fmla="*/ 103422 w 1664188"/>
                <a:gd name="connsiteY14" fmla="*/ 1574769 h 1664230"/>
                <a:gd name="connsiteX15" fmla="*/ 96421 w 1664188"/>
                <a:gd name="connsiteY15" fmla="*/ 1577668 h 1664230"/>
                <a:gd name="connsiteX16" fmla="*/ 182967 w 1664188"/>
                <a:gd name="connsiteY16" fmla="*/ 1491122 h 1664230"/>
                <a:gd name="connsiteX17" fmla="*/ 175931 w 1664188"/>
                <a:gd name="connsiteY17" fmla="*/ 1488171 h 1664230"/>
                <a:gd name="connsiteX18" fmla="*/ 176018 w 1664188"/>
                <a:gd name="connsiteY18" fmla="*/ 1474187 h 1664230"/>
                <a:gd name="connsiteX19" fmla="*/ 176140 w 1664188"/>
                <a:gd name="connsiteY19" fmla="*/ 1474064 h 1664230"/>
                <a:gd name="connsiteX20" fmla="*/ 190125 w 1664188"/>
                <a:gd name="connsiteY20" fmla="*/ 1474152 h 1664230"/>
                <a:gd name="connsiteX21" fmla="*/ 190038 w 1664188"/>
                <a:gd name="connsiteY21" fmla="*/ 1488137 h 1664230"/>
                <a:gd name="connsiteX22" fmla="*/ 189915 w 1664188"/>
                <a:gd name="connsiteY22" fmla="*/ 1488258 h 1664230"/>
                <a:gd name="connsiteX23" fmla="*/ 182967 w 1664188"/>
                <a:gd name="connsiteY23" fmla="*/ 1491105 h 1664230"/>
                <a:gd name="connsiteX24" fmla="*/ 269547 w 1664188"/>
                <a:gd name="connsiteY24" fmla="*/ 1404489 h 1664230"/>
                <a:gd name="connsiteX25" fmla="*/ 262581 w 1664188"/>
                <a:gd name="connsiteY25" fmla="*/ 1401626 h 1664230"/>
                <a:gd name="connsiteX26" fmla="*/ 262511 w 1664188"/>
                <a:gd name="connsiteY26" fmla="*/ 1387693 h 1664230"/>
                <a:gd name="connsiteX27" fmla="*/ 262633 w 1664188"/>
                <a:gd name="connsiteY27" fmla="*/ 1387571 h 1664230"/>
                <a:gd name="connsiteX28" fmla="*/ 276618 w 1664188"/>
                <a:gd name="connsiteY28" fmla="*/ 1387571 h 1664230"/>
                <a:gd name="connsiteX29" fmla="*/ 276618 w 1664188"/>
                <a:gd name="connsiteY29" fmla="*/ 1401556 h 1664230"/>
                <a:gd name="connsiteX30" fmla="*/ 269530 w 1664188"/>
                <a:gd name="connsiteY30" fmla="*/ 1404489 h 1664230"/>
                <a:gd name="connsiteX31" fmla="*/ 356093 w 1664188"/>
                <a:gd name="connsiteY31" fmla="*/ 1317944 h 1664230"/>
                <a:gd name="connsiteX32" fmla="*/ 349127 w 1664188"/>
                <a:gd name="connsiteY32" fmla="*/ 1315080 h 1664230"/>
                <a:gd name="connsiteX33" fmla="*/ 349057 w 1664188"/>
                <a:gd name="connsiteY33" fmla="*/ 1301148 h 1664230"/>
                <a:gd name="connsiteX34" fmla="*/ 349179 w 1664188"/>
                <a:gd name="connsiteY34" fmla="*/ 1301025 h 1664230"/>
                <a:gd name="connsiteX35" fmla="*/ 363164 w 1664188"/>
                <a:gd name="connsiteY35" fmla="*/ 1301025 h 1664230"/>
                <a:gd name="connsiteX36" fmla="*/ 363164 w 1664188"/>
                <a:gd name="connsiteY36" fmla="*/ 1315010 h 1664230"/>
                <a:gd name="connsiteX37" fmla="*/ 356075 w 1664188"/>
                <a:gd name="connsiteY37" fmla="*/ 1317944 h 1664230"/>
                <a:gd name="connsiteX38" fmla="*/ 442604 w 1664188"/>
                <a:gd name="connsiteY38" fmla="*/ 1231503 h 1664230"/>
                <a:gd name="connsiteX39" fmla="*/ 435654 w 1664188"/>
                <a:gd name="connsiteY39" fmla="*/ 1228657 h 1664230"/>
                <a:gd name="connsiteX40" fmla="*/ 435568 w 1664188"/>
                <a:gd name="connsiteY40" fmla="*/ 1214672 h 1664230"/>
                <a:gd name="connsiteX41" fmla="*/ 435689 w 1664188"/>
                <a:gd name="connsiteY41" fmla="*/ 1214549 h 1664230"/>
                <a:gd name="connsiteX42" fmla="*/ 449674 w 1664188"/>
                <a:gd name="connsiteY42" fmla="*/ 1214463 h 1664230"/>
                <a:gd name="connsiteX43" fmla="*/ 449762 w 1664188"/>
                <a:gd name="connsiteY43" fmla="*/ 1228447 h 1664230"/>
                <a:gd name="connsiteX44" fmla="*/ 449639 w 1664188"/>
                <a:gd name="connsiteY44" fmla="*/ 1228569 h 1664230"/>
                <a:gd name="connsiteX45" fmla="*/ 442604 w 1664188"/>
                <a:gd name="connsiteY45" fmla="*/ 1231520 h 1664230"/>
                <a:gd name="connsiteX46" fmla="*/ 529149 w 1664188"/>
                <a:gd name="connsiteY46" fmla="*/ 1144957 h 1664230"/>
                <a:gd name="connsiteX47" fmla="*/ 522148 w 1664188"/>
                <a:gd name="connsiteY47" fmla="*/ 1142059 h 1664230"/>
                <a:gd name="connsiteX48" fmla="*/ 522148 w 1664188"/>
                <a:gd name="connsiteY48" fmla="*/ 1128074 h 1664230"/>
                <a:gd name="connsiteX49" fmla="*/ 522270 w 1664188"/>
                <a:gd name="connsiteY49" fmla="*/ 1127952 h 1664230"/>
                <a:gd name="connsiteX50" fmla="*/ 536255 w 1664188"/>
                <a:gd name="connsiteY50" fmla="*/ 1127952 h 1664230"/>
                <a:gd name="connsiteX51" fmla="*/ 536255 w 1664188"/>
                <a:gd name="connsiteY51" fmla="*/ 1141937 h 1664230"/>
                <a:gd name="connsiteX52" fmla="*/ 536133 w 1664188"/>
                <a:gd name="connsiteY52" fmla="*/ 1142059 h 1664230"/>
                <a:gd name="connsiteX53" fmla="*/ 529131 w 1664188"/>
                <a:gd name="connsiteY53" fmla="*/ 1144957 h 1664230"/>
                <a:gd name="connsiteX54" fmla="*/ 615695 w 1664188"/>
                <a:gd name="connsiteY54" fmla="*/ 1058411 h 1664230"/>
                <a:gd name="connsiteX55" fmla="*/ 608659 w 1664188"/>
                <a:gd name="connsiteY55" fmla="*/ 1055461 h 1664230"/>
                <a:gd name="connsiteX56" fmla="*/ 608746 w 1664188"/>
                <a:gd name="connsiteY56" fmla="*/ 1041476 h 1664230"/>
                <a:gd name="connsiteX57" fmla="*/ 608868 w 1664188"/>
                <a:gd name="connsiteY57" fmla="*/ 1041354 h 1664230"/>
                <a:gd name="connsiteX58" fmla="*/ 622853 w 1664188"/>
                <a:gd name="connsiteY58" fmla="*/ 1041441 h 1664230"/>
                <a:gd name="connsiteX59" fmla="*/ 622766 w 1664188"/>
                <a:gd name="connsiteY59" fmla="*/ 1055426 h 1664230"/>
                <a:gd name="connsiteX60" fmla="*/ 622643 w 1664188"/>
                <a:gd name="connsiteY60" fmla="*/ 1055548 h 1664230"/>
                <a:gd name="connsiteX61" fmla="*/ 615695 w 1664188"/>
                <a:gd name="connsiteY61" fmla="*/ 1058394 h 1664230"/>
                <a:gd name="connsiteX62" fmla="*/ 702258 w 1664188"/>
                <a:gd name="connsiteY62" fmla="*/ 971779 h 1664230"/>
                <a:gd name="connsiteX63" fmla="*/ 695292 w 1664188"/>
                <a:gd name="connsiteY63" fmla="*/ 968915 h 1664230"/>
                <a:gd name="connsiteX64" fmla="*/ 695222 w 1664188"/>
                <a:gd name="connsiteY64" fmla="*/ 954983 h 1664230"/>
                <a:gd name="connsiteX65" fmla="*/ 695344 w 1664188"/>
                <a:gd name="connsiteY65" fmla="*/ 954860 h 1664230"/>
                <a:gd name="connsiteX66" fmla="*/ 709328 w 1664188"/>
                <a:gd name="connsiteY66" fmla="*/ 954860 h 1664230"/>
                <a:gd name="connsiteX67" fmla="*/ 709328 w 1664188"/>
                <a:gd name="connsiteY67" fmla="*/ 968845 h 1664230"/>
                <a:gd name="connsiteX68" fmla="*/ 702240 w 1664188"/>
                <a:gd name="connsiteY68" fmla="*/ 971779 h 1664230"/>
                <a:gd name="connsiteX69" fmla="*/ 788803 w 1664188"/>
                <a:gd name="connsiteY69" fmla="*/ 885233 h 1664230"/>
                <a:gd name="connsiteX70" fmla="*/ 781837 w 1664188"/>
                <a:gd name="connsiteY70" fmla="*/ 882369 h 1664230"/>
                <a:gd name="connsiteX71" fmla="*/ 781767 w 1664188"/>
                <a:gd name="connsiteY71" fmla="*/ 868437 h 1664230"/>
                <a:gd name="connsiteX72" fmla="*/ 781889 w 1664188"/>
                <a:gd name="connsiteY72" fmla="*/ 868315 h 1664230"/>
                <a:gd name="connsiteX73" fmla="*/ 795874 w 1664188"/>
                <a:gd name="connsiteY73" fmla="*/ 868315 h 1664230"/>
                <a:gd name="connsiteX74" fmla="*/ 795874 w 1664188"/>
                <a:gd name="connsiteY74" fmla="*/ 882300 h 1664230"/>
                <a:gd name="connsiteX75" fmla="*/ 788786 w 1664188"/>
                <a:gd name="connsiteY75" fmla="*/ 885233 h 1664230"/>
                <a:gd name="connsiteX76" fmla="*/ 875314 w 1664188"/>
                <a:gd name="connsiteY76" fmla="*/ 798792 h 1664230"/>
                <a:gd name="connsiteX77" fmla="*/ 868365 w 1664188"/>
                <a:gd name="connsiteY77" fmla="*/ 795946 h 1664230"/>
                <a:gd name="connsiteX78" fmla="*/ 868278 w 1664188"/>
                <a:gd name="connsiteY78" fmla="*/ 781962 h 1664230"/>
                <a:gd name="connsiteX79" fmla="*/ 868400 w 1664188"/>
                <a:gd name="connsiteY79" fmla="*/ 781839 h 1664230"/>
                <a:gd name="connsiteX80" fmla="*/ 882385 w 1664188"/>
                <a:gd name="connsiteY80" fmla="*/ 781752 h 1664230"/>
                <a:gd name="connsiteX81" fmla="*/ 882472 w 1664188"/>
                <a:gd name="connsiteY81" fmla="*/ 795737 h 1664230"/>
                <a:gd name="connsiteX82" fmla="*/ 882350 w 1664188"/>
                <a:gd name="connsiteY82" fmla="*/ 795859 h 1664230"/>
                <a:gd name="connsiteX83" fmla="*/ 875314 w 1664188"/>
                <a:gd name="connsiteY83" fmla="*/ 798810 h 1664230"/>
                <a:gd name="connsiteX84" fmla="*/ 961860 w 1664188"/>
                <a:gd name="connsiteY84" fmla="*/ 712246 h 1664230"/>
                <a:gd name="connsiteX85" fmla="*/ 954858 w 1664188"/>
                <a:gd name="connsiteY85" fmla="*/ 709348 h 1664230"/>
                <a:gd name="connsiteX86" fmla="*/ 954858 w 1664188"/>
                <a:gd name="connsiteY86" fmla="*/ 695363 h 1664230"/>
                <a:gd name="connsiteX87" fmla="*/ 954981 w 1664188"/>
                <a:gd name="connsiteY87" fmla="*/ 695241 h 1664230"/>
                <a:gd name="connsiteX88" fmla="*/ 968966 w 1664188"/>
                <a:gd name="connsiteY88" fmla="*/ 695241 h 1664230"/>
                <a:gd name="connsiteX89" fmla="*/ 968966 w 1664188"/>
                <a:gd name="connsiteY89" fmla="*/ 709226 h 1664230"/>
                <a:gd name="connsiteX90" fmla="*/ 968843 w 1664188"/>
                <a:gd name="connsiteY90" fmla="*/ 709348 h 1664230"/>
                <a:gd name="connsiteX91" fmla="*/ 961842 w 1664188"/>
                <a:gd name="connsiteY91" fmla="*/ 712246 h 1664230"/>
                <a:gd name="connsiteX92" fmla="*/ 1048405 w 1664188"/>
                <a:gd name="connsiteY92" fmla="*/ 625701 h 1664230"/>
                <a:gd name="connsiteX93" fmla="*/ 1041369 w 1664188"/>
                <a:gd name="connsiteY93" fmla="*/ 622750 h 1664230"/>
                <a:gd name="connsiteX94" fmla="*/ 1041457 w 1664188"/>
                <a:gd name="connsiteY94" fmla="*/ 608765 h 1664230"/>
                <a:gd name="connsiteX95" fmla="*/ 1041578 w 1664188"/>
                <a:gd name="connsiteY95" fmla="*/ 608643 h 1664230"/>
                <a:gd name="connsiteX96" fmla="*/ 1055563 w 1664188"/>
                <a:gd name="connsiteY96" fmla="*/ 608730 h 1664230"/>
                <a:gd name="connsiteX97" fmla="*/ 1055476 w 1664188"/>
                <a:gd name="connsiteY97" fmla="*/ 622715 h 1664230"/>
                <a:gd name="connsiteX98" fmla="*/ 1055354 w 1664188"/>
                <a:gd name="connsiteY98" fmla="*/ 622838 h 1664230"/>
                <a:gd name="connsiteX99" fmla="*/ 1048405 w 1664188"/>
                <a:gd name="connsiteY99" fmla="*/ 625684 h 1664230"/>
                <a:gd name="connsiteX100" fmla="*/ 1134968 w 1664188"/>
                <a:gd name="connsiteY100" fmla="*/ 539068 h 1664230"/>
                <a:gd name="connsiteX101" fmla="*/ 1128002 w 1664188"/>
                <a:gd name="connsiteY101" fmla="*/ 536205 h 1664230"/>
                <a:gd name="connsiteX102" fmla="*/ 1127932 w 1664188"/>
                <a:gd name="connsiteY102" fmla="*/ 522272 h 1664230"/>
                <a:gd name="connsiteX103" fmla="*/ 1128054 w 1664188"/>
                <a:gd name="connsiteY103" fmla="*/ 522150 h 1664230"/>
                <a:gd name="connsiteX104" fmla="*/ 1142040 w 1664188"/>
                <a:gd name="connsiteY104" fmla="*/ 522150 h 1664230"/>
                <a:gd name="connsiteX105" fmla="*/ 1142040 w 1664188"/>
                <a:gd name="connsiteY105" fmla="*/ 536135 h 1664230"/>
                <a:gd name="connsiteX106" fmla="*/ 1134951 w 1664188"/>
                <a:gd name="connsiteY106" fmla="*/ 539068 h 1664230"/>
                <a:gd name="connsiteX107" fmla="*/ 1221514 w 1664188"/>
                <a:gd name="connsiteY107" fmla="*/ 452522 h 1664230"/>
                <a:gd name="connsiteX108" fmla="*/ 1214548 w 1664188"/>
                <a:gd name="connsiteY108" fmla="*/ 449659 h 1664230"/>
                <a:gd name="connsiteX109" fmla="*/ 1214478 w 1664188"/>
                <a:gd name="connsiteY109" fmla="*/ 435727 h 1664230"/>
                <a:gd name="connsiteX110" fmla="*/ 1214600 w 1664188"/>
                <a:gd name="connsiteY110" fmla="*/ 435604 h 1664230"/>
                <a:gd name="connsiteX111" fmla="*/ 1228585 w 1664188"/>
                <a:gd name="connsiteY111" fmla="*/ 435604 h 1664230"/>
                <a:gd name="connsiteX112" fmla="*/ 1228585 w 1664188"/>
                <a:gd name="connsiteY112" fmla="*/ 449589 h 1664230"/>
                <a:gd name="connsiteX113" fmla="*/ 1221496 w 1664188"/>
                <a:gd name="connsiteY113" fmla="*/ 452522 h 1664230"/>
                <a:gd name="connsiteX114" fmla="*/ 1308025 w 1664188"/>
                <a:gd name="connsiteY114" fmla="*/ 366081 h 1664230"/>
                <a:gd name="connsiteX115" fmla="*/ 1301076 w 1664188"/>
                <a:gd name="connsiteY115" fmla="*/ 363236 h 1664230"/>
                <a:gd name="connsiteX116" fmla="*/ 1300988 w 1664188"/>
                <a:gd name="connsiteY116" fmla="*/ 349251 h 1664230"/>
                <a:gd name="connsiteX117" fmla="*/ 1301111 w 1664188"/>
                <a:gd name="connsiteY117" fmla="*/ 349129 h 1664230"/>
                <a:gd name="connsiteX118" fmla="*/ 1315095 w 1664188"/>
                <a:gd name="connsiteY118" fmla="*/ 349041 h 1664230"/>
                <a:gd name="connsiteX119" fmla="*/ 1315183 w 1664188"/>
                <a:gd name="connsiteY119" fmla="*/ 363026 h 1664230"/>
                <a:gd name="connsiteX120" fmla="*/ 1315060 w 1664188"/>
                <a:gd name="connsiteY120" fmla="*/ 363148 h 1664230"/>
                <a:gd name="connsiteX121" fmla="*/ 1308025 w 1664188"/>
                <a:gd name="connsiteY121" fmla="*/ 366099 h 1664230"/>
                <a:gd name="connsiteX122" fmla="*/ 1394570 w 1664188"/>
                <a:gd name="connsiteY122" fmla="*/ 279536 h 1664230"/>
                <a:gd name="connsiteX123" fmla="*/ 1387569 w 1664188"/>
                <a:gd name="connsiteY123" fmla="*/ 276638 h 1664230"/>
                <a:gd name="connsiteX124" fmla="*/ 1387569 w 1664188"/>
                <a:gd name="connsiteY124" fmla="*/ 262653 h 1664230"/>
                <a:gd name="connsiteX125" fmla="*/ 1387691 w 1664188"/>
                <a:gd name="connsiteY125" fmla="*/ 262531 h 1664230"/>
                <a:gd name="connsiteX126" fmla="*/ 1401676 w 1664188"/>
                <a:gd name="connsiteY126" fmla="*/ 262531 h 1664230"/>
                <a:gd name="connsiteX127" fmla="*/ 1401676 w 1664188"/>
                <a:gd name="connsiteY127" fmla="*/ 276516 h 1664230"/>
                <a:gd name="connsiteX128" fmla="*/ 1401554 w 1664188"/>
                <a:gd name="connsiteY128" fmla="*/ 276638 h 1664230"/>
                <a:gd name="connsiteX129" fmla="*/ 1394553 w 1664188"/>
                <a:gd name="connsiteY129" fmla="*/ 279536 h 1664230"/>
                <a:gd name="connsiteX130" fmla="*/ 1481116 w 1664188"/>
                <a:gd name="connsiteY130" fmla="*/ 192990 h 1664230"/>
                <a:gd name="connsiteX131" fmla="*/ 1474079 w 1664188"/>
                <a:gd name="connsiteY131" fmla="*/ 190040 h 1664230"/>
                <a:gd name="connsiteX132" fmla="*/ 1474167 w 1664188"/>
                <a:gd name="connsiteY132" fmla="*/ 176055 h 1664230"/>
                <a:gd name="connsiteX133" fmla="*/ 1474289 w 1664188"/>
                <a:gd name="connsiteY133" fmla="*/ 175933 h 1664230"/>
                <a:gd name="connsiteX134" fmla="*/ 1488274 w 1664188"/>
                <a:gd name="connsiteY134" fmla="*/ 176020 h 1664230"/>
                <a:gd name="connsiteX135" fmla="*/ 1488187 w 1664188"/>
                <a:gd name="connsiteY135" fmla="*/ 190005 h 1664230"/>
                <a:gd name="connsiteX136" fmla="*/ 1488065 w 1664188"/>
                <a:gd name="connsiteY136" fmla="*/ 190127 h 1664230"/>
                <a:gd name="connsiteX137" fmla="*/ 1481116 w 1664188"/>
                <a:gd name="connsiteY137" fmla="*/ 192973 h 1664230"/>
                <a:gd name="connsiteX138" fmla="*/ 1567678 w 1664188"/>
                <a:gd name="connsiteY138" fmla="*/ 106357 h 1664230"/>
                <a:gd name="connsiteX139" fmla="*/ 1560712 w 1664188"/>
                <a:gd name="connsiteY139" fmla="*/ 103494 h 1664230"/>
                <a:gd name="connsiteX140" fmla="*/ 1560643 w 1664188"/>
                <a:gd name="connsiteY140" fmla="*/ 89562 h 1664230"/>
                <a:gd name="connsiteX141" fmla="*/ 1560764 w 1664188"/>
                <a:gd name="connsiteY141" fmla="*/ 89439 h 1664230"/>
                <a:gd name="connsiteX142" fmla="*/ 1574750 w 1664188"/>
                <a:gd name="connsiteY142" fmla="*/ 89439 h 1664230"/>
                <a:gd name="connsiteX143" fmla="*/ 1574750 w 1664188"/>
                <a:gd name="connsiteY143" fmla="*/ 103424 h 1664230"/>
                <a:gd name="connsiteX144" fmla="*/ 1567661 w 1664188"/>
                <a:gd name="connsiteY144" fmla="*/ 106357 h 1664230"/>
                <a:gd name="connsiteX145" fmla="*/ 1654224 w 1664188"/>
                <a:gd name="connsiteY145" fmla="*/ 19812 h 1664230"/>
                <a:gd name="connsiteX146" fmla="*/ 1647258 w 1664188"/>
                <a:gd name="connsiteY146" fmla="*/ 16949 h 1664230"/>
                <a:gd name="connsiteX147" fmla="*/ 1647188 w 1664188"/>
                <a:gd name="connsiteY147" fmla="*/ 3016 h 1664230"/>
                <a:gd name="connsiteX148" fmla="*/ 1647311 w 1664188"/>
                <a:gd name="connsiteY148" fmla="*/ 2894 h 1664230"/>
                <a:gd name="connsiteX149" fmla="*/ 1661295 w 1664188"/>
                <a:gd name="connsiteY149" fmla="*/ 2894 h 1664230"/>
                <a:gd name="connsiteX150" fmla="*/ 1661295 w 1664188"/>
                <a:gd name="connsiteY150" fmla="*/ 16879 h 1664230"/>
                <a:gd name="connsiteX151" fmla="*/ 1654207 w 1664188"/>
                <a:gd name="connsiteY151" fmla="*/ 19812 h 166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1664188" h="1664230">
                  <a:moveTo>
                    <a:pt x="9893" y="1664213"/>
                  </a:moveTo>
                  <a:cubicBezTo>
                    <a:pt x="7379" y="1664213"/>
                    <a:pt x="4865" y="1663270"/>
                    <a:pt x="2944" y="1661367"/>
                  </a:cubicBezTo>
                  <a:cubicBezTo>
                    <a:pt x="-949" y="1657526"/>
                    <a:pt x="-984" y="1651258"/>
                    <a:pt x="2857" y="1647382"/>
                  </a:cubicBezTo>
                  <a:lnTo>
                    <a:pt x="2979" y="1647260"/>
                  </a:lnTo>
                  <a:cubicBezTo>
                    <a:pt x="6820" y="1643367"/>
                    <a:pt x="13088" y="1643332"/>
                    <a:pt x="16964" y="1647173"/>
                  </a:cubicBezTo>
                  <a:cubicBezTo>
                    <a:pt x="20857" y="1651014"/>
                    <a:pt x="20892" y="1657282"/>
                    <a:pt x="17051" y="1661158"/>
                  </a:cubicBezTo>
                  <a:lnTo>
                    <a:pt x="16929" y="1661280"/>
                  </a:lnTo>
                  <a:cubicBezTo>
                    <a:pt x="14991" y="1663235"/>
                    <a:pt x="12442" y="1664230"/>
                    <a:pt x="9893" y="1664230"/>
                  </a:cubicBezTo>
                  <a:close/>
                  <a:moveTo>
                    <a:pt x="96439" y="1577668"/>
                  </a:moveTo>
                  <a:cubicBezTo>
                    <a:pt x="93907" y="1577668"/>
                    <a:pt x="91375" y="1576707"/>
                    <a:pt x="89438" y="1574769"/>
                  </a:cubicBezTo>
                  <a:cubicBezTo>
                    <a:pt x="85579" y="1570911"/>
                    <a:pt x="85579" y="1564643"/>
                    <a:pt x="89438" y="1560784"/>
                  </a:cubicBezTo>
                  <a:lnTo>
                    <a:pt x="89559" y="1560662"/>
                  </a:lnTo>
                  <a:cubicBezTo>
                    <a:pt x="93418" y="1556804"/>
                    <a:pt x="99686" y="1556804"/>
                    <a:pt x="103544" y="1560662"/>
                  </a:cubicBezTo>
                  <a:cubicBezTo>
                    <a:pt x="107403" y="1564521"/>
                    <a:pt x="107403" y="1570788"/>
                    <a:pt x="103544" y="1574647"/>
                  </a:cubicBezTo>
                  <a:lnTo>
                    <a:pt x="103422" y="1574769"/>
                  </a:lnTo>
                  <a:cubicBezTo>
                    <a:pt x="101484" y="1576707"/>
                    <a:pt x="98953" y="1577668"/>
                    <a:pt x="96421" y="1577668"/>
                  </a:cubicBezTo>
                  <a:close/>
                  <a:moveTo>
                    <a:pt x="182967" y="1491122"/>
                  </a:moveTo>
                  <a:cubicBezTo>
                    <a:pt x="180418" y="1491122"/>
                    <a:pt x="177851" y="1490144"/>
                    <a:pt x="175931" y="1488171"/>
                  </a:cubicBezTo>
                  <a:cubicBezTo>
                    <a:pt x="172089" y="1484278"/>
                    <a:pt x="172142" y="1478010"/>
                    <a:pt x="176018" y="1474187"/>
                  </a:cubicBezTo>
                  <a:lnTo>
                    <a:pt x="176140" y="1474064"/>
                  </a:lnTo>
                  <a:cubicBezTo>
                    <a:pt x="180033" y="1470223"/>
                    <a:pt x="186302" y="1470276"/>
                    <a:pt x="190125" y="1474152"/>
                  </a:cubicBezTo>
                  <a:cubicBezTo>
                    <a:pt x="193966" y="1478045"/>
                    <a:pt x="193914" y="1484313"/>
                    <a:pt x="190038" y="1488137"/>
                  </a:cubicBezTo>
                  <a:lnTo>
                    <a:pt x="189915" y="1488258"/>
                  </a:lnTo>
                  <a:cubicBezTo>
                    <a:pt x="187995" y="1490162"/>
                    <a:pt x="185481" y="1491105"/>
                    <a:pt x="182967" y="1491105"/>
                  </a:cubicBezTo>
                  <a:close/>
                  <a:moveTo>
                    <a:pt x="269547" y="1404489"/>
                  </a:moveTo>
                  <a:cubicBezTo>
                    <a:pt x="267016" y="1404489"/>
                    <a:pt x="264502" y="1403529"/>
                    <a:pt x="262581" y="1401626"/>
                  </a:cubicBezTo>
                  <a:cubicBezTo>
                    <a:pt x="258723" y="1397767"/>
                    <a:pt x="258653" y="1391552"/>
                    <a:pt x="262511" y="1387693"/>
                  </a:cubicBezTo>
                  <a:lnTo>
                    <a:pt x="262633" y="1387571"/>
                  </a:lnTo>
                  <a:cubicBezTo>
                    <a:pt x="266492" y="1383713"/>
                    <a:pt x="272760" y="1383713"/>
                    <a:pt x="276618" y="1387571"/>
                  </a:cubicBezTo>
                  <a:cubicBezTo>
                    <a:pt x="280477" y="1391429"/>
                    <a:pt x="280477" y="1397697"/>
                    <a:pt x="276618" y="1401556"/>
                  </a:cubicBezTo>
                  <a:cubicBezTo>
                    <a:pt x="274663" y="1403512"/>
                    <a:pt x="272096" y="1404489"/>
                    <a:pt x="269530" y="1404489"/>
                  </a:cubicBezTo>
                  <a:close/>
                  <a:moveTo>
                    <a:pt x="356093" y="1317944"/>
                  </a:moveTo>
                  <a:cubicBezTo>
                    <a:pt x="353561" y="1317944"/>
                    <a:pt x="351047" y="1317001"/>
                    <a:pt x="349127" y="1315080"/>
                  </a:cubicBezTo>
                  <a:cubicBezTo>
                    <a:pt x="345268" y="1311222"/>
                    <a:pt x="345198" y="1305006"/>
                    <a:pt x="349057" y="1301148"/>
                  </a:cubicBezTo>
                  <a:lnTo>
                    <a:pt x="349179" y="1301025"/>
                  </a:lnTo>
                  <a:cubicBezTo>
                    <a:pt x="353038" y="1297167"/>
                    <a:pt x="359305" y="1297167"/>
                    <a:pt x="363164" y="1301025"/>
                  </a:cubicBezTo>
                  <a:cubicBezTo>
                    <a:pt x="367022" y="1304884"/>
                    <a:pt x="367022" y="1311152"/>
                    <a:pt x="363164" y="1315010"/>
                  </a:cubicBezTo>
                  <a:cubicBezTo>
                    <a:pt x="361208" y="1316966"/>
                    <a:pt x="358642" y="1317944"/>
                    <a:pt x="356075" y="1317944"/>
                  </a:cubicBezTo>
                  <a:close/>
                  <a:moveTo>
                    <a:pt x="442604" y="1231503"/>
                  </a:moveTo>
                  <a:cubicBezTo>
                    <a:pt x="440089" y="1231503"/>
                    <a:pt x="437575" y="1230560"/>
                    <a:pt x="435654" y="1228657"/>
                  </a:cubicBezTo>
                  <a:cubicBezTo>
                    <a:pt x="431761" y="1224816"/>
                    <a:pt x="431726" y="1218548"/>
                    <a:pt x="435568" y="1214672"/>
                  </a:cubicBezTo>
                  <a:lnTo>
                    <a:pt x="435689" y="1214549"/>
                  </a:lnTo>
                  <a:cubicBezTo>
                    <a:pt x="439531" y="1210656"/>
                    <a:pt x="445798" y="1210621"/>
                    <a:pt x="449674" y="1214463"/>
                  </a:cubicBezTo>
                  <a:cubicBezTo>
                    <a:pt x="453568" y="1218303"/>
                    <a:pt x="453603" y="1224571"/>
                    <a:pt x="449762" y="1228447"/>
                  </a:cubicBezTo>
                  <a:lnTo>
                    <a:pt x="449639" y="1228569"/>
                  </a:lnTo>
                  <a:cubicBezTo>
                    <a:pt x="447702" y="1230525"/>
                    <a:pt x="445153" y="1231520"/>
                    <a:pt x="442604" y="1231520"/>
                  </a:cubicBezTo>
                  <a:close/>
                  <a:moveTo>
                    <a:pt x="529149" y="1144957"/>
                  </a:moveTo>
                  <a:cubicBezTo>
                    <a:pt x="526617" y="1144957"/>
                    <a:pt x="524086" y="1143997"/>
                    <a:pt x="522148" y="1142059"/>
                  </a:cubicBezTo>
                  <a:cubicBezTo>
                    <a:pt x="518289" y="1138200"/>
                    <a:pt x="518289" y="1131933"/>
                    <a:pt x="522148" y="1128074"/>
                  </a:cubicBezTo>
                  <a:lnTo>
                    <a:pt x="522270" y="1127952"/>
                  </a:lnTo>
                  <a:cubicBezTo>
                    <a:pt x="526129" y="1124093"/>
                    <a:pt x="532397" y="1124093"/>
                    <a:pt x="536255" y="1127952"/>
                  </a:cubicBezTo>
                  <a:cubicBezTo>
                    <a:pt x="540113" y="1131810"/>
                    <a:pt x="540113" y="1138078"/>
                    <a:pt x="536255" y="1141937"/>
                  </a:cubicBezTo>
                  <a:lnTo>
                    <a:pt x="536133" y="1142059"/>
                  </a:lnTo>
                  <a:cubicBezTo>
                    <a:pt x="534195" y="1143997"/>
                    <a:pt x="531663" y="1144957"/>
                    <a:pt x="529131" y="1144957"/>
                  </a:cubicBezTo>
                  <a:close/>
                  <a:moveTo>
                    <a:pt x="615695" y="1058411"/>
                  </a:moveTo>
                  <a:cubicBezTo>
                    <a:pt x="613146" y="1058411"/>
                    <a:pt x="610579" y="1057434"/>
                    <a:pt x="608659" y="1055461"/>
                  </a:cubicBezTo>
                  <a:cubicBezTo>
                    <a:pt x="604818" y="1051567"/>
                    <a:pt x="604870" y="1045299"/>
                    <a:pt x="608746" y="1041476"/>
                  </a:cubicBezTo>
                  <a:lnTo>
                    <a:pt x="608868" y="1041354"/>
                  </a:lnTo>
                  <a:cubicBezTo>
                    <a:pt x="612762" y="1037513"/>
                    <a:pt x="619029" y="1037565"/>
                    <a:pt x="622853" y="1041441"/>
                  </a:cubicBezTo>
                  <a:cubicBezTo>
                    <a:pt x="626677" y="1045317"/>
                    <a:pt x="626642" y="1051602"/>
                    <a:pt x="622766" y="1055426"/>
                  </a:cubicBezTo>
                  <a:lnTo>
                    <a:pt x="622643" y="1055548"/>
                  </a:lnTo>
                  <a:cubicBezTo>
                    <a:pt x="620723" y="1057451"/>
                    <a:pt x="618209" y="1058394"/>
                    <a:pt x="615695" y="1058394"/>
                  </a:cubicBezTo>
                  <a:close/>
                  <a:moveTo>
                    <a:pt x="702258" y="971779"/>
                  </a:moveTo>
                  <a:cubicBezTo>
                    <a:pt x="699726" y="971779"/>
                    <a:pt x="697212" y="970836"/>
                    <a:pt x="695292" y="968915"/>
                  </a:cubicBezTo>
                  <a:cubicBezTo>
                    <a:pt x="691433" y="965057"/>
                    <a:pt x="691363" y="958841"/>
                    <a:pt x="695222" y="954983"/>
                  </a:cubicBezTo>
                  <a:lnTo>
                    <a:pt x="695344" y="954860"/>
                  </a:lnTo>
                  <a:cubicBezTo>
                    <a:pt x="699202" y="951002"/>
                    <a:pt x="705470" y="951002"/>
                    <a:pt x="709328" y="954860"/>
                  </a:cubicBezTo>
                  <a:cubicBezTo>
                    <a:pt x="713187" y="958719"/>
                    <a:pt x="713187" y="964987"/>
                    <a:pt x="709328" y="968845"/>
                  </a:cubicBezTo>
                  <a:cubicBezTo>
                    <a:pt x="707373" y="970801"/>
                    <a:pt x="704807" y="971779"/>
                    <a:pt x="702240" y="971779"/>
                  </a:cubicBezTo>
                  <a:close/>
                  <a:moveTo>
                    <a:pt x="788803" y="885233"/>
                  </a:moveTo>
                  <a:cubicBezTo>
                    <a:pt x="786272" y="885233"/>
                    <a:pt x="783758" y="884290"/>
                    <a:pt x="781837" y="882369"/>
                  </a:cubicBezTo>
                  <a:cubicBezTo>
                    <a:pt x="777978" y="878511"/>
                    <a:pt x="777909" y="872296"/>
                    <a:pt x="781767" y="868437"/>
                  </a:cubicBezTo>
                  <a:lnTo>
                    <a:pt x="781889" y="868315"/>
                  </a:lnTo>
                  <a:cubicBezTo>
                    <a:pt x="785748" y="864457"/>
                    <a:pt x="792016" y="864457"/>
                    <a:pt x="795874" y="868315"/>
                  </a:cubicBezTo>
                  <a:cubicBezTo>
                    <a:pt x="799733" y="872173"/>
                    <a:pt x="799733" y="878441"/>
                    <a:pt x="795874" y="882300"/>
                  </a:cubicBezTo>
                  <a:cubicBezTo>
                    <a:pt x="793919" y="884255"/>
                    <a:pt x="791353" y="885233"/>
                    <a:pt x="788786" y="885233"/>
                  </a:cubicBezTo>
                  <a:close/>
                  <a:moveTo>
                    <a:pt x="875314" y="798792"/>
                  </a:moveTo>
                  <a:cubicBezTo>
                    <a:pt x="872800" y="798792"/>
                    <a:pt x="870286" y="797849"/>
                    <a:pt x="868365" y="795946"/>
                  </a:cubicBezTo>
                  <a:cubicBezTo>
                    <a:pt x="864472" y="792105"/>
                    <a:pt x="864437" y="785837"/>
                    <a:pt x="868278" y="781962"/>
                  </a:cubicBezTo>
                  <a:lnTo>
                    <a:pt x="868400" y="781839"/>
                  </a:lnTo>
                  <a:cubicBezTo>
                    <a:pt x="872241" y="777946"/>
                    <a:pt x="878492" y="777911"/>
                    <a:pt x="882385" y="781752"/>
                  </a:cubicBezTo>
                  <a:cubicBezTo>
                    <a:pt x="886278" y="785593"/>
                    <a:pt x="886313" y="791861"/>
                    <a:pt x="882472" y="795737"/>
                  </a:cubicBezTo>
                  <a:lnTo>
                    <a:pt x="882350" y="795859"/>
                  </a:lnTo>
                  <a:cubicBezTo>
                    <a:pt x="880412" y="797814"/>
                    <a:pt x="877863" y="798810"/>
                    <a:pt x="875314" y="798810"/>
                  </a:cubicBezTo>
                  <a:close/>
                  <a:moveTo>
                    <a:pt x="961860" y="712246"/>
                  </a:moveTo>
                  <a:cubicBezTo>
                    <a:pt x="959328" y="712246"/>
                    <a:pt x="956797" y="711286"/>
                    <a:pt x="954858" y="709348"/>
                  </a:cubicBezTo>
                  <a:cubicBezTo>
                    <a:pt x="951000" y="705490"/>
                    <a:pt x="951000" y="699222"/>
                    <a:pt x="954858" y="695363"/>
                  </a:cubicBezTo>
                  <a:lnTo>
                    <a:pt x="954981" y="695241"/>
                  </a:lnTo>
                  <a:cubicBezTo>
                    <a:pt x="958839" y="691383"/>
                    <a:pt x="965107" y="691383"/>
                    <a:pt x="968966" y="695241"/>
                  </a:cubicBezTo>
                  <a:cubicBezTo>
                    <a:pt x="972824" y="699100"/>
                    <a:pt x="972824" y="705368"/>
                    <a:pt x="968966" y="709226"/>
                  </a:cubicBezTo>
                  <a:lnTo>
                    <a:pt x="968843" y="709348"/>
                  </a:lnTo>
                  <a:cubicBezTo>
                    <a:pt x="966905" y="711286"/>
                    <a:pt x="964374" y="712246"/>
                    <a:pt x="961842" y="712246"/>
                  </a:cubicBezTo>
                  <a:close/>
                  <a:moveTo>
                    <a:pt x="1048405" y="625701"/>
                  </a:moveTo>
                  <a:cubicBezTo>
                    <a:pt x="1045856" y="625701"/>
                    <a:pt x="1043289" y="624723"/>
                    <a:pt x="1041369" y="622750"/>
                  </a:cubicBezTo>
                  <a:cubicBezTo>
                    <a:pt x="1037528" y="618857"/>
                    <a:pt x="1037580" y="612589"/>
                    <a:pt x="1041457" y="608765"/>
                  </a:cubicBezTo>
                  <a:lnTo>
                    <a:pt x="1041578" y="608643"/>
                  </a:lnTo>
                  <a:cubicBezTo>
                    <a:pt x="1045472" y="604802"/>
                    <a:pt x="1051740" y="604854"/>
                    <a:pt x="1055563" y="608730"/>
                  </a:cubicBezTo>
                  <a:cubicBezTo>
                    <a:pt x="1059404" y="612624"/>
                    <a:pt x="1059352" y="618892"/>
                    <a:pt x="1055476" y="622715"/>
                  </a:cubicBezTo>
                  <a:lnTo>
                    <a:pt x="1055354" y="622838"/>
                  </a:lnTo>
                  <a:cubicBezTo>
                    <a:pt x="1053433" y="624741"/>
                    <a:pt x="1050919" y="625684"/>
                    <a:pt x="1048405" y="625684"/>
                  </a:cubicBezTo>
                  <a:close/>
                  <a:moveTo>
                    <a:pt x="1134968" y="539068"/>
                  </a:moveTo>
                  <a:cubicBezTo>
                    <a:pt x="1132437" y="539068"/>
                    <a:pt x="1129922" y="538125"/>
                    <a:pt x="1128002" y="536205"/>
                  </a:cubicBezTo>
                  <a:cubicBezTo>
                    <a:pt x="1124144" y="532346"/>
                    <a:pt x="1124074" y="526131"/>
                    <a:pt x="1127932" y="522272"/>
                  </a:cubicBezTo>
                  <a:lnTo>
                    <a:pt x="1128054" y="522150"/>
                  </a:lnTo>
                  <a:cubicBezTo>
                    <a:pt x="1131913" y="518292"/>
                    <a:pt x="1138180" y="518292"/>
                    <a:pt x="1142040" y="522150"/>
                  </a:cubicBezTo>
                  <a:cubicBezTo>
                    <a:pt x="1145898" y="526009"/>
                    <a:pt x="1145898" y="532277"/>
                    <a:pt x="1142040" y="536135"/>
                  </a:cubicBezTo>
                  <a:cubicBezTo>
                    <a:pt x="1140084" y="538090"/>
                    <a:pt x="1137517" y="539068"/>
                    <a:pt x="1134951" y="539068"/>
                  </a:cubicBezTo>
                  <a:close/>
                  <a:moveTo>
                    <a:pt x="1221514" y="452522"/>
                  </a:moveTo>
                  <a:cubicBezTo>
                    <a:pt x="1218982" y="452522"/>
                    <a:pt x="1216468" y="451562"/>
                    <a:pt x="1214548" y="449659"/>
                  </a:cubicBezTo>
                  <a:cubicBezTo>
                    <a:pt x="1210689" y="445801"/>
                    <a:pt x="1210619" y="439585"/>
                    <a:pt x="1214478" y="435727"/>
                  </a:cubicBezTo>
                  <a:lnTo>
                    <a:pt x="1214600" y="435604"/>
                  </a:lnTo>
                  <a:cubicBezTo>
                    <a:pt x="1218459" y="431746"/>
                    <a:pt x="1224726" y="431746"/>
                    <a:pt x="1228585" y="435604"/>
                  </a:cubicBezTo>
                  <a:cubicBezTo>
                    <a:pt x="1232443" y="439463"/>
                    <a:pt x="1232443" y="445731"/>
                    <a:pt x="1228585" y="449589"/>
                  </a:cubicBezTo>
                  <a:cubicBezTo>
                    <a:pt x="1226629" y="451545"/>
                    <a:pt x="1224063" y="452522"/>
                    <a:pt x="1221496" y="452522"/>
                  </a:cubicBezTo>
                  <a:close/>
                  <a:moveTo>
                    <a:pt x="1308025" y="366081"/>
                  </a:moveTo>
                  <a:cubicBezTo>
                    <a:pt x="1305510" y="366081"/>
                    <a:pt x="1302996" y="365139"/>
                    <a:pt x="1301076" y="363236"/>
                  </a:cubicBezTo>
                  <a:cubicBezTo>
                    <a:pt x="1297182" y="359395"/>
                    <a:pt x="1297147" y="353127"/>
                    <a:pt x="1300988" y="349251"/>
                  </a:cubicBezTo>
                  <a:lnTo>
                    <a:pt x="1301111" y="349129"/>
                  </a:lnTo>
                  <a:cubicBezTo>
                    <a:pt x="1304951" y="345235"/>
                    <a:pt x="1311202" y="345200"/>
                    <a:pt x="1315095" y="349041"/>
                  </a:cubicBezTo>
                  <a:cubicBezTo>
                    <a:pt x="1318989" y="352883"/>
                    <a:pt x="1319024" y="359150"/>
                    <a:pt x="1315183" y="363026"/>
                  </a:cubicBezTo>
                  <a:lnTo>
                    <a:pt x="1315060" y="363148"/>
                  </a:lnTo>
                  <a:cubicBezTo>
                    <a:pt x="1313123" y="365104"/>
                    <a:pt x="1310574" y="366099"/>
                    <a:pt x="1308025" y="366099"/>
                  </a:cubicBezTo>
                  <a:close/>
                  <a:moveTo>
                    <a:pt x="1394570" y="279536"/>
                  </a:moveTo>
                  <a:cubicBezTo>
                    <a:pt x="1392039" y="279536"/>
                    <a:pt x="1389507" y="278576"/>
                    <a:pt x="1387569" y="276638"/>
                  </a:cubicBezTo>
                  <a:cubicBezTo>
                    <a:pt x="1383711" y="272779"/>
                    <a:pt x="1383711" y="266511"/>
                    <a:pt x="1387569" y="262653"/>
                  </a:cubicBezTo>
                  <a:lnTo>
                    <a:pt x="1387691" y="262531"/>
                  </a:lnTo>
                  <a:cubicBezTo>
                    <a:pt x="1391549" y="258672"/>
                    <a:pt x="1397818" y="258672"/>
                    <a:pt x="1401676" y="262531"/>
                  </a:cubicBezTo>
                  <a:cubicBezTo>
                    <a:pt x="1405535" y="266389"/>
                    <a:pt x="1405535" y="272657"/>
                    <a:pt x="1401676" y="276516"/>
                  </a:cubicBezTo>
                  <a:lnTo>
                    <a:pt x="1401554" y="276638"/>
                  </a:lnTo>
                  <a:cubicBezTo>
                    <a:pt x="1399616" y="278576"/>
                    <a:pt x="1397084" y="279536"/>
                    <a:pt x="1394553" y="279536"/>
                  </a:cubicBezTo>
                  <a:close/>
                  <a:moveTo>
                    <a:pt x="1481116" y="192990"/>
                  </a:moveTo>
                  <a:cubicBezTo>
                    <a:pt x="1478567" y="192990"/>
                    <a:pt x="1476000" y="192013"/>
                    <a:pt x="1474079" y="190040"/>
                  </a:cubicBezTo>
                  <a:cubicBezTo>
                    <a:pt x="1470239" y="186147"/>
                    <a:pt x="1470291" y="179879"/>
                    <a:pt x="1474167" y="176055"/>
                  </a:cubicBezTo>
                  <a:lnTo>
                    <a:pt x="1474289" y="175933"/>
                  </a:lnTo>
                  <a:cubicBezTo>
                    <a:pt x="1478182" y="172092"/>
                    <a:pt x="1484450" y="172144"/>
                    <a:pt x="1488274" y="176020"/>
                  </a:cubicBezTo>
                  <a:cubicBezTo>
                    <a:pt x="1492115" y="179914"/>
                    <a:pt x="1492063" y="186181"/>
                    <a:pt x="1488187" y="190005"/>
                  </a:cubicBezTo>
                  <a:lnTo>
                    <a:pt x="1488065" y="190127"/>
                  </a:lnTo>
                  <a:cubicBezTo>
                    <a:pt x="1486144" y="192030"/>
                    <a:pt x="1483630" y="192973"/>
                    <a:pt x="1481116" y="192973"/>
                  </a:cubicBezTo>
                  <a:close/>
                  <a:moveTo>
                    <a:pt x="1567678" y="106357"/>
                  </a:moveTo>
                  <a:cubicBezTo>
                    <a:pt x="1565147" y="106357"/>
                    <a:pt x="1562633" y="105415"/>
                    <a:pt x="1560712" y="103494"/>
                  </a:cubicBezTo>
                  <a:cubicBezTo>
                    <a:pt x="1556854" y="99636"/>
                    <a:pt x="1556784" y="93420"/>
                    <a:pt x="1560643" y="89562"/>
                  </a:cubicBezTo>
                  <a:lnTo>
                    <a:pt x="1560764" y="89439"/>
                  </a:lnTo>
                  <a:cubicBezTo>
                    <a:pt x="1564623" y="85581"/>
                    <a:pt x="1570891" y="85581"/>
                    <a:pt x="1574750" y="89439"/>
                  </a:cubicBezTo>
                  <a:cubicBezTo>
                    <a:pt x="1578608" y="93298"/>
                    <a:pt x="1578608" y="99566"/>
                    <a:pt x="1574750" y="103424"/>
                  </a:cubicBezTo>
                  <a:cubicBezTo>
                    <a:pt x="1572794" y="105380"/>
                    <a:pt x="1570228" y="106357"/>
                    <a:pt x="1567661" y="106357"/>
                  </a:cubicBezTo>
                  <a:close/>
                  <a:moveTo>
                    <a:pt x="1654224" y="19812"/>
                  </a:moveTo>
                  <a:cubicBezTo>
                    <a:pt x="1651692" y="19812"/>
                    <a:pt x="1649178" y="18869"/>
                    <a:pt x="1647258" y="16949"/>
                  </a:cubicBezTo>
                  <a:cubicBezTo>
                    <a:pt x="1643399" y="13090"/>
                    <a:pt x="1643329" y="6875"/>
                    <a:pt x="1647188" y="3016"/>
                  </a:cubicBezTo>
                  <a:lnTo>
                    <a:pt x="1647311" y="2894"/>
                  </a:lnTo>
                  <a:cubicBezTo>
                    <a:pt x="1651169" y="-965"/>
                    <a:pt x="1657437" y="-965"/>
                    <a:pt x="1661295" y="2894"/>
                  </a:cubicBezTo>
                  <a:cubicBezTo>
                    <a:pt x="1665153" y="6752"/>
                    <a:pt x="1665153" y="13020"/>
                    <a:pt x="1661295" y="16879"/>
                  </a:cubicBezTo>
                  <a:cubicBezTo>
                    <a:pt x="1659339" y="18834"/>
                    <a:pt x="1656773" y="19812"/>
                    <a:pt x="1654207" y="19812"/>
                  </a:cubicBezTo>
                  <a:close/>
                </a:path>
              </a:pathLst>
            </a:custGeom>
            <a:grpFill/>
            <a:ln w="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5C0EA63-1B1E-AC7D-BE88-C087A12B36B1}"/>
                </a:ext>
              </a:extLst>
            </p:cNvPr>
            <p:cNvSpPr/>
            <p:nvPr/>
          </p:nvSpPr>
          <p:spPr>
            <a:xfrm>
              <a:off x="7320053" y="3636250"/>
              <a:ext cx="1578837" cy="1578832"/>
            </a:xfrm>
            <a:custGeom>
              <a:avLst/>
              <a:gdLst>
                <a:gd name="connsiteX0" fmla="*/ 10474 w 1578837"/>
                <a:gd name="connsiteY0" fmla="*/ 1578833 h 1578832"/>
                <a:gd name="connsiteX1" fmla="*/ 3123 w 1578837"/>
                <a:gd name="connsiteY1" fmla="*/ 1575812 h 1578832"/>
                <a:gd name="connsiteX2" fmla="*/ 3019 w 1578837"/>
                <a:gd name="connsiteY2" fmla="*/ 1561007 h 1578832"/>
                <a:gd name="connsiteX3" fmla="*/ 3141 w 1578837"/>
                <a:gd name="connsiteY3" fmla="*/ 1560885 h 1578832"/>
                <a:gd name="connsiteX4" fmla="*/ 17946 w 1578837"/>
                <a:gd name="connsiteY4" fmla="*/ 1560780 h 1578832"/>
                <a:gd name="connsiteX5" fmla="*/ 18051 w 1578837"/>
                <a:gd name="connsiteY5" fmla="*/ 1575585 h 1578832"/>
                <a:gd name="connsiteX6" fmla="*/ 17929 w 1578837"/>
                <a:gd name="connsiteY6" fmla="*/ 1575707 h 1578832"/>
                <a:gd name="connsiteX7" fmla="*/ 10474 w 1578837"/>
                <a:gd name="connsiteY7" fmla="*/ 1578833 h 1578832"/>
                <a:gd name="connsiteX8" fmla="*/ 97019 w 1578837"/>
                <a:gd name="connsiteY8" fmla="*/ 1492287 h 1578832"/>
                <a:gd name="connsiteX9" fmla="*/ 89616 w 1578837"/>
                <a:gd name="connsiteY9" fmla="*/ 1489214 h 1578832"/>
                <a:gd name="connsiteX10" fmla="*/ 89616 w 1578837"/>
                <a:gd name="connsiteY10" fmla="*/ 1474409 h 1578832"/>
                <a:gd name="connsiteX11" fmla="*/ 89739 w 1578837"/>
                <a:gd name="connsiteY11" fmla="*/ 1474287 h 1578832"/>
                <a:gd name="connsiteX12" fmla="*/ 104562 w 1578837"/>
                <a:gd name="connsiteY12" fmla="*/ 1474287 h 1578832"/>
                <a:gd name="connsiteX13" fmla="*/ 104562 w 1578837"/>
                <a:gd name="connsiteY13" fmla="*/ 1489092 h 1578832"/>
                <a:gd name="connsiteX14" fmla="*/ 104439 w 1578837"/>
                <a:gd name="connsiteY14" fmla="*/ 1489214 h 1578832"/>
                <a:gd name="connsiteX15" fmla="*/ 97037 w 1578837"/>
                <a:gd name="connsiteY15" fmla="*/ 1492287 h 1578832"/>
                <a:gd name="connsiteX16" fmla="*/ 183565 w 1578837"/>
                <a:gd name="connsiteY16" fmla="*/ 1405759 h 1578832"/>
                <a:gd name="connsiteX17" fmla="*/ 176110 w 1578837"/>
                <a:gd name="connsiteY17" fmla="*/ 1402634 h 1578832"/>
                <a:gd name="connsiteX18" fmla="*/ 176215 w 1578837"/>
                <a:gd name="connsiteY18" fmla="*/ 1387828 h 1578832"/>
                <a:gd name="connsiteX19" fmla="*/ 176337 w 1578837"/>
                <a:gd name="connsiteY19" fmla="*/ 1387706 h 1578832"/>
                <a:gd name="connsiteX20" fmla="*/ 191160 w 1578837"/>
                <a:gd name="connsiteY20" fmla="*/ 1387811 h 1578832"/>
                <a:gd name="connsiteX21" fmla="*/ 191055 w 1578837"/>
                <a:gd name="connsiteY21" fmla="*/ 1402616 h 1578832"/>
                <a:gd name="connsiteX22" fmla="*/ 190933 w 1578837"/>
                <a:gd name="connsiteY22" fmla="*/ 1402738 h 1578832"/>
                <a:gd name="connsiteX23" fmla="*/ 183582 w 1578837"/>
                <a:gd name="connsiteY23" fmla="*/ 1405759 h 1578832"/>
                <a:gd name="connsiteX24" fmla="*/ 270128 w 1578837"/>
                <a:gd name="connsiteY24" fmla="*/ 1319126 h 1578832"/>
                <a:gd name="connsiteX25" fmla="*/ 262760 w 1578837"/>
                <a:gd name="connsiteY25" fmla="*/ 1316088 h 1578832"/>
                <a:gd name="connsiteX26" fmla="*/ 262690 w 1578837"/>
                <a:gd name="connsiteY26" fmla="*/ 1301335 h 1578832"/>
                <a:gd name="connsiteX27" fmla="*/ 262813 w 1578837"/>
                <a:gd name="connsiteY27" fmla="*/ 1301213 h 1578832"/>
                <a:gd name="connsiteX28" fmla="*/ 277618 w 1578837"/>
                <a:gd name="connsiteY28" fmla="*/ 1301213 h 1578832"/>
                <a:gd name="connsiteX29" fmla="*/ 277618 w 1578837"/>
                <a:gd name="connsiteY29" fmla="*/ 1316018 h 1578832"/>
                <a:gd name="connsiteX30" fmla="*/ 270128 w 1578837"/>
                <a:gd name="connsiteY30" fmla="*/ 1319126 h 1578832"/>
                <a:gd name="connsiteX31" fmla="*/ 356673 w 1578837"/>
                <a:gd name="connsiteY31" fmla="*/ 1232580 h 1578832"/>
                <a:gd name="connsiteX32" fmla="*/ 349306 w 1578837"/>
                <a:gd name="connsiteY32" fmla="*/ 1229542 h 1578832"/>
                <a:gd name="connsiteX33" fmla="*/ 349236 w 1578837"/>
                <a:gd name="connsiteY33" fmla="*/ 1214790 h 1578832"/>
                <a:gd name="connsiteX34" fmla="*/ 349358 w 1578837"/>
                <a:gd name="connsiteY34" fmla="*/ 1214667 h 1578832"/>
                <a:gd name="connsiteX35" fmla="*/ 364181 w 1578837"/>
                <a:gd name="connsiteY35" fmla="*/ 1214667 h 1578832"/>
                <a:gd name="connsiteX36" fmla="*/ 364181 w 1578837"/>
                <a:gd name="connsiteY36" fmla="*/ 1229473 h 1578832"/>
                <a:gd name="connsiteX37" fmla="*/ 356673 w 1578837"/>
                <a:gd name="connsiteY37" fmla="*/ 1232580 h 1578832"/>
                <a:gd name="connsiteX38" fmla="*/ 443184 w 1578837"/>
                <a:gd name="connsiteY38" fmla="*/ 1146122 h 1578832"/>
                <a:gd name="connsiteX39" fmla="*/ 435834 w 1578837"/>
                <a:gd name="connsiteY39" fmla="*/ 1143102 h 1578832"/>
                <a:gd name="connsiteX40" fmla="*/ 435729 w 1578837"/>
                <a:gd name="connsiteY40" fmla="*/ 1128296 h 1578832"/>
                <a:gd name="connsiteX41" fmla="*/ 435851 w 1578837"/>
                <a:gd name="connsiteY41" fmla="*/ 1128174 h 1578832"/>
                <a:gd name="connsiteX42" fmla="*/ 450657 w 1578837"/>
                <a:gd name="connsiteY42" fmla="*/ 1128069 h 1578832"/>
                <a:gd name="connsiteX43" fmla="*/ 450762 w 1578837"/>
                <a:gd name="connsiteY43" fmla="*/ 1142875 h 1578832"/>
                <a:gd name="connsiteX44" fmla="*/ 450639 w 1578837"/>
                <a:gd name="connsiteY44" fmla="*/ 1142997 h 1578832"/>
                <a:gd name="connsiteX45" fmla="*/ 443184 w 1578837"/>
                <a:gd name="connsiteY45" fmla="*/ 1146122 h 1578832"/>
                <a:gd name="connsiteX46" fmla="*/ 529730 w 1578837"/>
                <a:gd name="connsiteY46" fmla="*/ 1059577 h 1578832"/>
                <a:gd name="connsiteX47" fmla="*/ 522327 w 1578837"/>
                <a:gd name="connsiteY47" fmla="*/ 1056504 h 1578832"/>
                <a:gd name="connsiteX48" fmla="*/ 522327 w 1578837"/>
                <a:gd name="connsiteY48" fmla="*/ 1041698 h 1578832"/>
                <a:gd name="connsiteX49" fmla="*/ 522449 w 1578837"/>
                <a:gd name="connsiteY49" fmla="*/ 1041576 h 1578832"/>
                <a:gd name="connsiteX50" fmla="*/ 537255 w 1578837"/>
                <a:gd name="connsiteY50" fmla="*/ 1041576 h 1578832"/>
                <a:gd name="connsiteX51" fmla="*/ 537255 w 1578837"/>
                <a:gd name="connsiteY51" fmla="*/ 1056399 h 1578832"/>
                <a:gd name="connsiteX52" fmla="*/ 537132 w 1578837"/>
                <a:gd name="connsiteY52" fmla="*/ 1056521 h 1578832"/>
                <a:gd name="connsiteX53" fmla="*/ 529730 w 1578837"/>
                <a:gd name="connsiteY53" fmla="*/ 1059594 h 1578832"/>
                <a:gd name="connsiteX54" fmla="*/ 616275 w 1578837"/>
                <a:gd name="connsiteY54" fmla="*/ 973049 h 1578832"/>
                <a:gd name="connsiteX55" fmla="*/ 608820 w 1578837"/>
                <a:gd name="connsiteY55" fmla="*/ 969923 h 1578832"/>
                <a:gd name="connsiteX56" fmla="*/ 608925 w 1578837"/>
                <a:gd name="connsiteY56" fmla="*/ 955118 h 1578832"/>
                <a:gd name="connsiteX57" fmla="*/ 609047 w 1578837"/>
                <a:gd name="connsiteY57" fmla="*/ 954995 h 1578832"/>
                <a:gd name="connsiteX58" fmla="*/ 623853 w 1578837"/>
                <a:gd name="connsiteY58" fmla="*/ 955100 h 1578832"/>
                <a:gd name="connsiteX59" fmla="*/ 623748 w 1578837"/>
                <a:gd name="connsiteY59" fmla="*/ 969906 h 1578832"/>
                <a:gd name="connsiteX60" fmla="*/ 623626 w 1578837"/>
                <a:gd name="connsiteY60" fmla="*/ 970028 h 1578832"/>
                <a:gd name="connsiteX61" fmla="*/ 616275 w 1578837"/>
                <a:gd name="connsiteY61" fmla="*/ 973049 h 1578832"/>
                <a:gd name="connsiteX62" fmla="*/ 702838 w 1578837"/>
                <a:gd name="connsiteY62" fmla="*/ 886398 h 1578832"/>
                <a:gd name="connsiteX63" fmla="*/ 695470 w 1578837"/>
                <a:gd name="connsiteY63" fmla="*/ 883360 h 1578832"/>
                <a:gd name="connsiteX64" fmla="*/ 695401 w 1578837"/>
                <a:gd name="connsiteY64" fmla="*/ 868607 h 1578832"/>
                <a:gd name="connsiteX65" fmla="*/ 695523 w 1578837"/>
                <a:gd name="connsiteY65" fmla="*/ 868485 h 1578832"/>
                <a:gd name="connsiteX66" fmla="*/ 710346 w 1578837"/>
                <a:gd name="connsiteY66" fmla="*/ 868485 h 1578832"/>
                <a:gd name="connsiteX67" fmla="*/ 710346 w 1578837"/>
                <a:gd name="connsiteY67" fmla="*/ 883291 h 1578832"/>
                <a:gd name="connsiteX68" fmla="*/ 702838 w 1578837"/>
                <a:gd name="connsiteY68" fmla="*/ 886398 h 1578832"/>
                <a:gd name="connsiteX69" fmla="*/ 789384 w 1578837"/>
                <a:gd name="connsiteY69" fmla="*/ 799870 h 1578832"/>
                <a:gd name="connsiteX70" fmla="*/ 781999 w 1578837"/>
                <a:gd name="connsiteY70" fmla="*/ 796832 h 1578832"/>
                <a:gd name="connsiteX71" fmla="*/ 781946 w 1578837"/>
                <a:gd name="connsiteY71" fmla="*/ 782079 h 1578832"/>
                <a:gd name="connsiteX72" fmla="*/ 782069 w 1578837"/>
                <a:gd name="connsiteY72" fmla="*/ 781957 h 1578832"/>
                <a:gd name="connsiteX73" fmla="*/ 796891 w 1578837"/>
                <a:gd name="connsiteY73" fmla="*/ 781957 h 1578832"/>
                <a:gd name="connsiteX74" fmla="*/ 796891 w 1578837"/>
                <a:gd name="connsiteY74" fmla="*/ 796780 h 1578832"/>
                <a:gd name="connsiteX75" fmla="*/ 789401 w 1578837"/>
                <a:gd name="connsiteY75" fmla="*/ 799870 h 1578832"/>
                <a:gd name="connsiteX76" fmla="*/ 875895 w 1578837"/>
                <a:gd name="connsiteY76" fmla="*/ 713412 h 1578832"/>
                <a:gd name="connsiteX77" fmla="*/ 868544 w 1578837"/>
                <a:gd name="connsiteY77" fmla="*/ 710391 h 1578832"/>
                <a:gd name="connsiteX78" fmla="*/ 868440 w 1578837"/>
                <a:gd name="connsiteY78" fmla="*/ 695586 h 1578832"/>
                <a:gd name="connsiteX79" fmla="*/ 868562 w 1578837"/>
                <a:gd name="connsiteY79" fmla="*/ 695464 h 1578832"/>
                <a:gd name="connsiteX80" fmla="*/ 883367 w 1578837"/>
                <a:gd name="connsiteY80" fmla="*/ 695359 h 1578832"/>
                <a:gd name="connsiteX81" fmla="*/ 883472 w 1578837"/>
                <a:gd name="connsiteY81" fmla="*/ 710164 h 1578832"/>
                <a:gd name="connsiteX82" fmla="*/ 883350 w 1578837"/>
                <a:gd name="connsiteY82" fmla="*/ 710287 h 1578832"/>
                <a:gd name="connsiteX83" fmla="*/ 875895 w 1578837"/>
                <a:gd name="connsiteY83" fmla="*/ 713412 h 1578832"/>
                <a:gd name="connsiteX84" fmla="*/ 962440 w 1578837"/>
                <a:gd name="connsiteY84" fmla="*/ 626866 h 1578832"/>
                <a:gd name="connsiteX85" fmla="*/ 955038 w 1578837"/>
                <a:gd name="connsiteY85" fmla="*/ 623793 h 1578832"/>
                <a:gd name="connsiteX86" fmla="*/ 955038 w 1578837"/>
                <a:gd name="connsiteY86" fmla="*/ 608970 h 1578832"/>
                <a:gd name="connsiteX87" fmla="*/ 955160 w 1578837"/>
                <a:gd name="connsiteY87" fmla="*/ 608848 h 1578832"/>
                <a:gd name="connsiteX88" fmla="*/ 969965 w 1578837"/>
                <a:gd name="connsiteY88" fmla="*/ 608848 h 1578832"/>
                <a:gd name="connsiteX89" fmla="*/ 969965 w 1578837"/>
                <a:gd name="connsiteY89" fmla="*/ 623653 h 1578832"/>
                <a:gd name="connsiteX90" fmla="*/ 969843 w 1578837"/>
                <a:gd name="connsiteY90" fmla="*/ 623776 h 1578832"/>
                <a:gd name="connsiteX91" fmla="*/ 962440 w 1578837"/>
                <a:gd name="connsiteY91" fmla="*/ 626849 h 1578832"/>
                <a:gd name="connsiteX92" fmla="*/ 1048986 w 1578837"/>
                <a:gd name="connsiteY92" fmla="*/ 540320 h 1578832"/>
                <a:gd name="connsiteX93" fmla="*/ 1041531 w 1578837"/>
                <a:gd name="connsiteY93" fmla="*/ 537195 h 1578832"/>
                <a:gd name="connsiteX94" fmla="*/ 1041635 w 1578837"/>
                <a:gd name="connsiteY94" fmla="*/ 522390 h 1578832"/>
                <a:gd name="connsiteX95" fmla="*/ 1041758 w 1578837"/>
                <a:gd name="connsiteY95" fmla="*/ 522268 h 1578832"/>
                <a:gd name="connsiteX96" fmla="*/ 1056563 w 1578837"/>
                <a:gd name="connsiteY96" fmla="*/ 522372 h 1578832"/>
                <a:gd name="connsiteX97" fmla="*/ 1056458 w 1578837"/>
                <a:gd name="connsiteY97" fmla="*/ 537195 h 1578832"/>
                <a:gd name="connsiteX98" fmla="*/ 1056336 w 1578837"/>
                <a:gd name="connsiteY98" fmla="*/ 537317 h 1578832"/>
                <a:gd name="connsiteX99" fmla="*/ 1048986 w 1578837"/>
                <a:gd name="connsiteY99" fmla="*/ 540338 h 1578832"/>
                <a:gd name="connsiteX100" fmla="*/ 1135566 w 1578837"/>
                <a:gd name="connsiteY100" fmla="*/ 453688 h 1578832"/>
                <a:gd name="connsiteX101" fmla="*/ 1128181 w 1578837"/>
                <a:gd name="connsiteY101" fmla="*/ 450650 h 1578832"/>
                <a:gd name="connsiteX102" fmla="*/ 1128129 w 1578837"/>
                <a:gd name="connsiteY102" fmla="*/ 435897 h 1578832"/>
                <a:gd name="connsiteX103" fmla="*/ 1128251 w 1578837"/>
                <a:gd name="connsiteY103" fmla="*/ 435775 h 1578832"/>
                <a:gd name="connsiteX104" fmla="*/ 1143056 w 1578837"/>
                <a:gd name="connsiteY104" fmla="*/ 435775 h 1578832"/>
                <a:gd name="connsiteX105" fmla="*/ 1143056 w 1578837"/>
                <a:gd name="connsiteY105" fmla="*/ 450597 h 1578832"/>
                <a:gd name="connsiteX106" fmla="*/ 1135566 w 1578837"/>
                <a:gd name="connsiteY106" fmla="*/ 453688 h 1578832"/>
                <a:gd name="connsiteX107" fmla="*/ 1222095 w 1578837"/>
                <a:gd name="connsiteY107" fmla="*/ 367160 h 1578832"/>
                <a:gd name="connsiteX108" fmla="*/ 1214726 w 1578837"/>
                <a:gd name="connsiteY108" fmla="*/ 364122 h 1578832"/>
                <a:gd name="connsiteX109" fmla="*/ 1214657 w 1578837"/>
                <a:gd name="connsiteY109" fmla="*/ 349369 h 1578832"/>
                <a:gd name="connsiteX110" fmla="*/ 1214779 w 1578837"/>
                <a:gd name="connsiteY110" fmla="*/ 349246 h 1578832"/>
                <a:gd name="connsiteX111" fmla="*/ 1229585 w 1578837"/>
                <a:gd name="connsiteY111" fmla="*/ 349246 h 1578832"/>
                <a:gd name="connsiteX112" fmla="*/ 1229585 w 1578837"/>
                <a:gd name="connsiteY112" fmla="*/ 364052 h 1578832"/>
                <a:gd name="connsiteX113" fmla="*/ 1222095 w 1578837"/>
                <a:gd name="connsiteY113" fmla="*/ 367160 h 1578832"/>
                <a:gd name="connsiteX114" fmla="*/ 1308605 w 1578837"/>
                <a:gd name="connsiteY114" fmla="*/ 280701 h 1578832"/>
                <a:gd name="connsiteX115" fmla="*/ 1301255 w 1578837"/>
                <a:gd name="connsiteY115" fmla="*/ 277681 h 1578832"/>
                <a:gd name="connsiteX116" fmla="*/ 1301150 w 1578837"/>
                <a:gd name="connsiteY116" fmla="*/ 262875 h 1578832"/>
                <a:gd name="connsiteX117" fmla="*/ 1301273 w 1578837"/>
                <a:gd name="connsiteY117" fmla="*/ 262753 h 1578832"/>
                <a:gd name="connsiteX118" fmla="*/ 1316078 w 1578837"/>
                <a:gd name="connsiteY118" fmla="*/ 262648 h 1578832"/>
                <a:gd name="connsiteX119" fmla="*/ 1316183 w 1578837"/>
                <a:gd name="connsiteY119" fmla="*/ 277454 h 1578832"/>
                <a:gd name="connsiteX120" fmla="*/ 1316060 w 1578837"/>
                <a:gd name="connsiteY120" fmla="*/ 277576 h 1578832"/>
                <a:gd name="connsiteX121" fmla="*/ 1308605 w 1578837"/>
                <a:gd name="connsiteY121" fmla="*/ 280701 h 1578832"/>
                <a:gd name="connsiteX122" fmla="*/ 1395151 w 1578837"/>
                <a:gd name="connsiteY122" fmla="*/ 194155 h 1578832"/>
                <a:gd name="connsiteX123" fmla="*/ 1387748 w 1578837"/>
                <a:gd name="connsiteY123" fmla="*/ 191083 h 1578832"/>
                <a:gd name="connsiteX124" fmla="*/ 1387748 w 1578837"/>
                <a:gd name="connsiteY124" fmla="*/ 176277 h 1578832"/>
                <a:gd name="connsiteX125" fmla="*/ 1387870 w 1578837"/>
                <a:gd name="connsiteY125" fmla="*/ 176155 h 1578832"/>
                <a:gd name="connsiteX126" fmla="*/ 1402693 w 1578837"/>
                <a:gd name="connsiteY126" fmla="*/ 176155 h 1578832"/>
                <a:gd name="connsiteX127" fmla="*/ 1402693 w 1578837"/>
                <a:gd name="connsiteY127" fmla="*/ 190961 h 1578832"/>
                <a:gd name="connsiteX128" fmla="*/ 1402571 w 1578837"/>
                <a:gd name="connsiteY128" fmla="*/ 191083 h 1578832"/>
                <a:gd name="connsiteX129" fmla="*/ 1395168 w 1578837"/>
                <a:gd name="connsiteY129" fmla="*/ 194155 h 1578832"/>
                <a:gd name="connsiteX130" fmla="*/ 1481696 w 1578837"/>
                <a:gd name="connsiteY130" fmla="*/ 107610 h 1578832"/>
                <a:gd name="connsiteX131" fmla="*/ 1474241 w 1578837"/>
                <a:gd name="connsiteY131" fmla="*/ 104485 h 1578832"/>
                <a:gd name="connsiteX132" fmla="*/ 1474346 w 1578837"/>
                <a:gd name="connsiteY132" fmla="*/ 89680 h 1578832"/>
                <a:gd name="connsiteX133" fmla="*/ 1474468 w 1578837"/>
                <a:gd name="connsiteY133" fmla="*/ 89557 h 1578832"/>
                <a:gd name="connsiteX134" fmla="*/ 1489273 w 1578837"/>
                <a:gd name="connsiteY134" fmla="*/ 89662 h 1578832"/>
                <a:gd name="connsiteX135" fmla="*/ 1489169 w 1578837"/>
                <a:gd name="connsiteY135" fmla="*/ 104467 h 1578832"/>
                <a:gd name="connsiteX136" fmla="*/ 1489047 w 1578837"/>
                <a:gd name="connsiteY136" fmla="*/ 104590 h 1578832"/>
                <a:gd name="connsiteX137" fmla="*/ 1481696 w 1578837"/>
                <a:gd name="connsiteY137" fmla="*/ 107610 h 1578832"/>
                <a:gd name="connsiteX138" fmla="*/ 1568260 w 1578837"/>
                <a:gd name="connsiteY138" fmla="*/ 20977 h 1578832"/>
                <a:gd name="connsiteX139" fmla="*/ 1560891 w 1578837"/>
                <a:gd name="connsiteY139" fmla="*/ 17939 h 1578832"/>
                <a:gd name="connsiteX140" fmla="*/ 1560821 w 1578837"/>
                <a:gd name="connsiteY140" fmla="*/ 3186 h 1578832"/>
                <a:gd name="connsiteX141" fmla="*/ 1560944 w 1578837"/>
                <a:gd name="connsiteY141" fmla="*/ 3064 h 1578832"/>
                <a:gd name="connsiteX142" fmla="*/ 1575767 w 1578837"/>
                <a:gd name="connsiteY142" fmla="*/ 3064 h 1578832"/>
                <a:gd name="connsiteX143" fmla="*/ 1575767 w 1578837"/>
                <a:gd name="connsiteY143" fmla="*/ 17869 h 1578832"/>
                <a:gd name="connsiteX144" fmla="*/ 1568260 w 1578837"/>
                <a:gd name="connsiteY144" fmla="*/ 20977 h 1578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578837" h="1578832">
                  <a:moveTo>
                    <a:pt x="10474" y="1578833"/>
                  </a:moveTo>
                  <a:cubicBezTo>
                    <a:pt x="7820" y="1578833"/>
                    <a:pt x="5166" y="1577820"/>
                    <a:pt x="3123" y="1575812"/>
                  </a:cubicBezTo>
                  <a:cubicBezTo>
                    <a:pt x="-997" y="1571744"/>
                    <a:pt x="-1049" y="1565110"/>
                    <a:pt x="3019" y="1561007"/>
                  </a:cubicBezTo>
                  <a:lnTo>
                    <a:pt x="3141" y="1560885"/>
                  </a:lnTo>
                  <a:cubicBezTo>
                    <a:pt x="7209" y="1556764"/>
                    <a:pt x="13826" y="1556712"/>
                    <a:pt x="17946" y="1560780"/>
                  </a:cubicBezTo>
                  <a:cubicBezTo>
                    <a:pt x="22067" y="1564848"/>
                    <a:pt x="22119" y="1571482"/>
                    <a:pt x="18051" y="1575585"/>
                  </a:cubicBezTo>
                  <a:lnTo>
                    <a:pt x="17929" y="1575707"/>
                  </a:lnTo>
                  <a:cubicBezTo>
                    <a:pt x="15886" y="1577785"/>
                    <a:pt x="13180" y="1578833"/>
                    <a:pt x="10474" y="1578833"/>
                  </a:cubicBezTo>
                  <a:close/>
                  <a:moveTo>
                    <a:pt x="97019" y="1492287"/>
                  </a:moveTo>
                  <a:cubicBezTo>
                    <a:pt x="94331" y="1492287"/>
                    <a:pt x="91659" y="1491257"/>
                    <a:pt x="89616" y="1489214"/>
                  </a:cubicBezTo>
                  <a:cubicBezTo>
                    <a:pt x="85531" y="1485129"/>
                    <a:pt x="85531" y="1478494"/>
                    <a:pt x="89616" y="1474409"/>
                  </a:cubicBezTo>
                  <a:lnTo>
                    <a:pt x="89739" y="1474287"/>
                  </a:lnTo>
                  <a:cubicBezTo>
                    <a:pt x="93824" y="1470201"/>
                    <a:pt x="100459" y="1470201"/>
                    <a:pt x="104562" y="1474287"/>
                  </a:cubicBezTo>
                  <a:cubicBezTo>
                    <a:pt x="108665" y="1478372"/>
                    <a:pt x="108647" y="1485007"/>
                    <a:pt x="104562" y="1489092"/>
                  </a:cubicBezTo>
                  <a:lnTo>
                    <a:pt x="104439" y="1489214"/>
                  </a:lnTo>
                  <a:cubicBezTo>
                    <a:pt x="102397" y="1491257"/>
                    <a:pt x="99708" y="1492287"/>
                    <a:pt x="97037" y="1492287"/>
                  </a:cubicBezTo>
                  <a:close/>
                  <a:moveTo>
                    <a:pt x="183565" y="1405759"/>
                  </a:moveTo>
                  <a:cubicBezTo>
                    <a:pt x="180859" y="1405759"/>
                    <a:pt x="178152" y="1404711"/>
                    <a:pt x="176110" y="1402634"/>
                  </a:cubicBezTo>
                  <a:cubicBezTo>
                    <a:pt x="172042" y="1398513"/>
                    <a:pt x="172094" y="1391879"/>
                    <a:pt x="176215" y="1387828"/>
                  </a:cubicBezTo>
                  <a:lnTo>
                    <a:pt x="176337" y="1387706"/>
                  </a:lnTo>
                  <a:cubicBezTo>
                    <a:pt x="180457" y="1383638"/>
                    <a:pt x="187092" y="1383690"/>
                    <a:pt x="191160" y="1387811"/>
                  </a:cubicBezTo>
                  <a:cubicBezTo>
                    <a:pt x="195227" y="1391931"/>
                    <a:pt x="195175" y="1398566"/>
                    <a:pt x="191055" y="1402616"/>
                  </a:cubicBezTo>
                  <a:lnTo>
                    <a:pt x="190933" y="1402738"/>
                  </a:lnTo>
                  <a:cubicBezTo>
                    <a:pt x="188890" y="1404746"/>
                    <a:pt x="186236" y="1405759"/>
                    <a:pt x="183582" y="1405759"/>
                  </a:cubicBezTo>
                  <a:close/>
                  <a:moveTo>
                    <a:pt x="270128" y="1319126"/>
                  </a:moveTo>
                  <a:cubicBezTo>
                    <a:pt x="267457" y="1319126"/>
                    <a:pt x="264785" y="1318113"/>
                    <a:pt x="262760" y="1316088"/>
                  </a:cubicBezTo>
                  <a:cubicBezTo>
                    <a:pt x="258675" y="1312003"/>
                    <a:pt x="258605" y="1305420"/>
                    <a:pt x="262690" y="1301335"/>
                  </a:cubicBezTo>
                  <a:lnTo>
                    <a:pt x="262813" y="1301213"/>
                  </a:lnTo>
                  <a:cubicBezTo>
                    <a:pt x="266898" y="1297127"/>
                    <a:pt x="273532" y="1297127"/>
                    <a:pt x="277618" y="1301213"/>
                  </a:cubicBezTo>
                  <a:cubicBezTo>
                    <a:pt x="281703" y="1305298"/>
                    <a:pt x="281703" y="1311933"/>
                    <a:pt x="277618" y="1316018"/>
                  </a:cubicBezTo>
                  <a:cubicBezTo>
                    <a:pt x="275558" y="1318078"/>
                    <a:pt x="272834" y="1319126"/>
                    <a:pt x="270128" y="1319126"/>
                  </a:cubicBezTo>
                  <a:close/>
                  <a:moveTo>
                    <a:pt x="356673" y="1232580"/>
                  </a:moveTo>
                  <a:cubicBezTo>
                    <a:pt x="354002" y="1232580"/>
                    <a:pt x="351331" y="1231568"/>
                    <a:pt x="349306" y="1229542"/>
                  </a:cubicBezTo>
                  <a:cubicBezTo>
                    <a:pt x="345220" y="1225457"/>
                    <a:pt x="345150" y="1218875"/>
                    <a:pt x="349236" y="1214790"/>
                  </a:cubicBezTo>
                  <a:lnTo>
                    <a:pt x="349358" y="1214667"/>
                  </a:lnTo>
                  <a:cubicBezTo>
                    <a:pt x="353444" y="1210582"/>
                    <a:pt x="360078" y="1210582"/>
                    <a:pt x="364181" y="1214667"/>
                  </a:cubicBezTo>
                  <a:cubicBezTo>
                    <a:pt x="368284" y="1218753"/>
                    <a:pt x="368266" y="1225387"/>
                    <a:pt x="364181" y="1229473"/>
                  </a:cubicBezTo>
                  <a:cubicBezTo>
                    <a:pt x="362121" y="1231533"/>
                    <a:pt x="359397" y="1232580"/>
                    <a:pt x="356673" y="1232580"/>
                  </a:cubicBezTo>
                  <a:close/>
                  <a:moveTo>
                    <a:pt x="443184" y="1146122"/>
                  </a:moveTo>
                  <a:cubicBezTo>
                    <a:pt x="440530" y="1146122"/>
                    <a:pt x="437876" y="1145110"/>
                    <a:pt x="435834" y="1143102"/>
                  </a:cubicBezTo>
                  <a:cubicBezTo>
                    <a:pt x="431714" y="1139034"/>
                    <a:pt x="431661" y="1132417"/>
                    <a:pt x="435729" y="1128296"/>
                  </a:cubicBezTo>
                  <a:lnTo>
                    <a:pt x="435851" y="1128174"/>
                  </a:lnTo>
                  <a:cubicBezTo>
                    <a:pt x="439919" y="1124054"/>
                    <a:pt x="446554" y="1124019"/>
                    <a:pt x="450657" y="1128069"/>
                  </a:cubicBezTo>
                  <a:cubicBezTo>
                    <a:pt x="454777" y="1132137"/>
                    <a:pt x="454830" y="1138754"/>
                    <a:pt x="450762" y="1142875"/>
                  </a:cubicBezTo>
                  <a:lnTo>
                    <a:pt x="450639" y="1142997"/>
                  </a:lnTo>
                  <a:cubicBezTo>
                    <a:pt x="448597" y="1145075"/>
                    <a:pt x="445890" y="1146122"/>
                    <a:pt x="443184" y="1146122"/>
                  </a:cubicBezTo>
                  <a:close/>
                  <a:moveTo>
                    <a:pt x="529730" y="1059577"/>
                  </a:moveTo>
                  <a:cubicBezTo>
                    <a:pt x="527041" y="1059577"/>
                    <a:pt x="524370" y="1058547"/>
                    <a:pt x="522327" y="1056504"/>
                  </a:cubicBezTo>
                  <a:cubicBezTo>
                    <a:pt x="518241" y="1052418"/>
                    <a:pt x="518241" y="1045784"/>
                    <a:pt x="522327" y="1041698"/>
                  </a:cubicBezTo>
                  <a:lnTo>
                    <a:pt x="522449" y="1041576"/>
                  </a:lnTo>
                  <a:cubicBezTo>
                    <a:pt x="526535" y="1037491"/>
                    <a:pt x="533169" y="1037491"/>
                    <a:pt x="537255" y="1041576"/>
                  </a:cubicBezTo>
                  <a:cubicBezTo>
                    <a:pt x="541340" y="1045662"/>
                    <a:pt x="541340" y="1052296"/>
                    <a:pt x="537255" y="1056399"/>
                  </a:cubicBezTo>
                  <a:lnTo>
                    <a:pt x="537132" y="1056521"/>
                  </a:lnTo>
                  <a:cubicBezTo>
                    <a:pt x="535090" y="1058564"/>
                    <a:pt x="532401" y="1059594"/>
                    <a:pt x="529730" y="1059594"/>
                  </a:cubicBezTo>
                  <a:close/>
                  <a:moveTo>
                    <a:pt x="616275" y="973049"/>
                  </a:moveTo>
                  <a:cubicBezTo>
                    <a:pt x="613569" y="973049"/>
                    <a:pt x="610863" y="972001"/>
                    <a:pt x="608820" y="969923"/>
                  </a:cubicBezTo>
                  <a:cubicBezTo>
                    <a:pt x="604752" y="965803"/>
                    <a:pt x="604805" y="959169"/>
                    <a:pt x="608925" y="955118"/>
                  </a:cubicBezTo>
                  <a:lnTo>
                    <a:pt x="609047" y="954995"/>
                  </a:lnTo>
                  <a:cubicBezTo>
                    <a:pt x="613168" y="950928"/>
                    <a:pt x="619802" y="950980"/>
                    <a:pt x="623853" y="955100"/>
                  </a:cubicBezTo>
                  <a:cubicBezTo>
                    <a:pt x="627921" y="959221"/>
                    <a:pt x="627868" y="965855"/>
                    <a:pt x="623748" y="969906"/>
                  </a:cubicBezTo>
                  <a:lnTo>
                    <a:pt x="623626" y="970028"/>
                  </a:lnTo>
                  <a:cubicBezTo>
                    <a:pt x="621583" y="972036"/>
                    <a:pt x="618929" y="973049"/>
                    <a:pt x="616275" y="973049"/>
                  </a:cubicBezTo>
                  <a:close/>
                  <a:moveTo>
                    <a:pt x="702838" y="886398"/>
                  </a:moveTo>
                  <a:cubicBezTo>
                    <a:pt x="700167" y="886398"/>
                    <a:pt x="697496" y="885386"/>
                    <a:pt x="695470" y="883360"/>
                  </a:cubicBezTo>
                  <a:cubicBezTo>
                    <a:pt x="691385" y="879275"/>
                    <a:pt x="691315" y="872693"/>
                    <a:pt x="695401" y="868607"/>
                  </a:cubicBezTo>
                  <a:lnTo>
                    <a:pt x="695523" y="868485"/>
                  </a:lnTo>
                  <a:cubicBezTo>
                    <a:pt x="699609" y="864400"/>
                    <a:pt x="706243" y="864400"/>
                    <a:pt x="710346" y="868485"/>
                  </a:cubicBezTo>
                  <a:cubicBezTo>
                    <a:pt x="714449" y="872570"/>
                    <a:pt x="714431" y="879205"/>
                    <a:pt x="710346" y="883291"/>
                  </a:cubicBezTo>
                  <a:cubicBezTo>
                    <a:pt x="708286" y="885351"/>
                    <a:pt x="705562" y="886398"/>
                    <a:pt x="702838" y="886398"/>
                  </a:cubicBezTo>
                  <a:close/>
                  <a:moveTo>
                    <a:pt x="789384" y="799870"/>
                  </a:moveTo>
                  <a:cubicBezTo>
                    <a:pt x="786713" y="799870"/>
                    <a:pt x="784041" y="798857"/>
                    <a:pt x="781999" y="796832"/>
                  </a:cubicBezTo>
                  <a:cubicBezTo>
                    <a:pt x="777913" y="792747"/>
                    <a:pt x="777844" y="786164"/>
                    <a:pt x="781946" y="782079"/>
                  </a:cubicBezTo>
                  <a:lnTo>
                    <a:pt x="782069" y="781957"/>
                  </a:lnTo>
                  <a:cubicBezTo>
                    <a:pt x="786154" y="777871"/>
                    <a:pt x="792788" y="777871"/>
                    <a:pt x="796891" y="781957"/>
                  </a:cubicBezTo>
                  <a:cubicBezTo>
                    <a:pt x="800977" y="786042"/>
                    <a:pt x="800977" y="792677"/>
                    <a:pt x="796891" y="796780"/>
                  </a:cubicBezTo>
                  <a:cubicBezTo>
                    <a:pt x="794831" y="798840"/>
                    <a:pt x="792108" y="799870"/>
                    <a:pt x="789401" y="799870"/>
                  </a:cubicBezTo>
                  <a:close/>
                  <a:moveTo>
                    <a:pt x="875895" y="713412"/>
                  </a:moveTo>
                  <a:cubicBezTo>
                    <a:pt x="873241" y="713412"/>
                    <a:pt x="870587" y="712399"/>
                    <a:pt x="868544" y="710391"/>
                  </a:cubicBezTo>
                  <a:cubicBezTo>
                    <a:pt x="864424" y="706323"/>
                    <a:pt x="864371" y="699689"/>
                    <a:pt x="868440" y="695586"/>
                  </a:cubicBezTo>
                  <a:lnTo>
                    <a:pt x="868562" y="695464"/>
                  </a:lnTo>
                  <a:cubicBezTo>
                    <a:pt x="872630" y="691343"/>
                    <a:pt x="879247" y="691291"/>
                    <a:pt x="883367" y="695359"/>
                  </a:cubicBezTo>
                  <a:cubicBezTo>
                    <a:pt x="887487" y="699427"/>
                    <a:pt x="887540" y="706062"/>
                    <a:pt x="883472" y="710164"/>
                  </a:cubicBezTo>
                  <a:lnTo>
                    <a:pt x="883350" y="710287"/>
                  </a:lnTo>
                  <a:cubicBezTo>
                    <a:pt x="881307" y="712364"/>
                    <a:pt x="878601" y="713412"/>
                    <a:pt x="875895" y="713412"/>
                  </a:cubicBezTo>
                  <a:close/>
                  <a:moveTo>
                    <a:pt x="962440" y="626866"/>
                  </a:moveTo>
                  <a:cubicBezTo>
                    <a:pt x="959752" y="626866"/>
                    <a:pt x="957080" y="625836"/>
                    <a:pt x="955038" y="623793"/>
                  </a:cubicBezTo>
                  <a:cubicBezTo>
                    <a:pt x="950952" y="619708"/>
                    <a:pt x="950952" y="613073"/>
                    <a:pt x="955038" y="608970"/>
                  </a:cubicBezTo>
                  <a:lnTo>
                    <a:pt x="955160" y="608848"/>
                  </a:lnTo>
                  <a:cubicBezTo>
                    <a:pt x="959245" y="604763"/>
                    <a:pt x="965880" y="604763"/>
                    <a:pt x="969965" y="608848"/>
                  </a:cubicBezTo>
                  <a:cubicBezTo>
                    <a:pt x="974051" y="612934"/>
                    <a:pt x="974051" y="619568"/>
                    <a:pt x="969965" y="623653"/>
                  </a:cubicBezTo>
                  <a:lnTo>
                    <a:pt x="969843" y="623776"/>
                  </a:lnTo>
                  <a:cubicBezTo>
                    <a:pt x="967800" y="625818"/>
                    <a:pt x="965112" y="626849"/>
                    <a:pt x="962440" y="626849"/>
                  </a:cubicBezTo>
                  <a:close/>
                  <a:moveTo>
                    <a:pt x="1048986" y="540320"/>
                  </a:moveTo>
                  <a:cubicBezTo>
                    <a:pt x="1046280" y="540320"/>
                    <a:pt x="1043574" y="539273"/>
                    <a:pt x="1041531" y="537195"/>
                  </a:cubicBezTo>
                  <a:cubicBezTo>
                    <a:pt x="1037463" y="533075"/>
                    <a:pt x="1037515" y="526440"/>
                    <a:pt x="1041635" y="522390"/>
                  </a:cubicBezTo>
                  <a:lnTo>
                    <a:pt x="1041758" y="522268"/>
                  </a:lnTo>
                  <a:cubicBezTo>
                    <a:pt x="1045878" y="518200"/>
                    <a:pt x="1052513" y="518252"/>
                    <a:pt x="1056563" y="522372"/>
                  </a:cubicBezTo>
                  <a:cubicBezTo>
                    <a:pt x="1060631" y="526493"/>
                    <a:pt x="1060578" y="533127"/>
                    <a:pt x="1056458" y="537195"/>
                  </a:cubicBezTo>
                  <a:lnTo>
                    <a:pt x="1056336" y="537317"/>
                  </a:lnTo>
                  <a:cubicBezTo>
                    <a:pt x="1054293" y="539326"/>
                    <a:pt x="1051640" y="540338"/>
                    <a:pt x="1048986" y="540338"/>
                  </a:cubicBezTo>
                  <a:close/>
                  <a:moveTo>
                    <a:pt x="1135566" y="453688"/>
                  </a:moveTo>
                  <a:cubicBezTo>
                    <a:pt x="1132895" y="453688"/>
                    <a:pt x="1130224" y="452675"/>
                    <a:pt x="1128181" y="450650"/>
                  </a:cubicBezTo>
                  <a:cubicBezTo>
                    <a:pt x="1124096" y="446564"/>
                    <a:pt x="1124026" y="439982"/>
                    <a:pt x="1128129" y="435897"/>
                  </a:cubicBezTo>
                  <a:lnTo>
                    <a:pt x="1128251" y="435775"/>
                  </a:lnTo>
                  <a:cubicBezTo>
                    <a:pt x="1132336" y="431689"/>
                    <a:pt x="1138971" y="431689"/>
                    <a:pt x="1143056" y="435775"/>
                  </a:cubicBezTo>
                  <a:cubicBezTo>
                    <a:pt x="1147142" y="439860"/>
                    <a:pt x="1147142" y="446494"/>
                    <a:pt x="1143056" y="450597"/>
                  </a:cubicBezTo>
                  <a:cubicBezTo>
                    <a:pt x="1140996" y="452658"/>
                    <a:pt x="1138272" y="453688"/>
                    <a:pt x="1135566" y="453688"/>
                  </a:cubicBezTo>
                  <a:close/>
                  <a:moveTo>
                    <a:pt x="1222095" y="367160"/>
                  </a:moveTo>
                  <a:cubicBezTo>
                    <a:pt x="1219423" y="367160"/>
                    <a:pt x="1216752" y="366147"/>
                    <a:pt x="1214726" y="364122"/>
                  </a:cubicBezTo>
                  <a:cubicBezTo>
                    <a:pt x="1210641" y="360036"/>
                    <a:pt x="1210571" y="353454"/>
                    <a:pt x="1214657" y="349369"/>
                  </a:cubicBezTo>
                  <a:lnTo>
                    <a:pt x="1214779" y="349246"/>
                  </a:lnTo>
                  <a:cubicBezTo>
                    <a:pt x="1218864" y="345161"/>
                    <a:pt x="1225499" y="345161"/>
                    <a:pt x="1229585" y="349246"/>
                  </a:cubicBezTo>
                  <a:cubicBezTo>
                    <a:pt x="1233670" y="353332"/>
                    <a:pt x="1233670" y="359966"/>
                    <a:pt x="1229585" y="364052"/>
                  </a:cubicBezTo>
                  <a:cubicBezTo>
                    <a:pt x="1227524" y="366112"/>
                    <a:pt x="1224800" y="367160"/>
                    <a:pt x="1222095" y="367160"/>
                  </a:cubicBezTo>
                  <a:close/>
                  <a:moveTo>
                    <a:pt x="1308605" y="280701"/>
                  </a:moveTo>
                  <a:cubicBezTo>
                    <a:pt x="1305951" y="280701"/>
                    <a:pt x="1303297" y="279688"/>
                    <a:pt x="1301255" y="277681"/>
                  </a:cubicBezTo>
                  <a:cubicBezTo>
                    <a:pt x="1297134" y="273613"/>
                    <a:pt x="1297082" y="266978"/>
                    <a:pt x="1301150" y="262875"/>
                  </a:cubicBezTo>
                  <a:lnTo>
                    <a:pt x="1301273" y="262753"/>
                  </a:lnTo>
                  <a:cubicBezTo>
                    <a:pt x="1305341" y="258633"/>
                    <a:pt x="1311975" y="258598"/>
                    <a:pt x="1316078" y="262648"/>
                  </a:cubicBezTo>
                  <a:cubicBezTo>
                    <a:pt x="1320198" y="266716"/>
                    <a:pt x="1320250" y="273333"/>
                    <a:pt x="1316183" y="277454"/>
                  </a:cubicBezTo>
                  <a:lnTo>
                    <a:pt x="1316060" y="277576"/>
                  </a:lnTo>
                  <a:cubicBezTo>
                    <a:pt x="1314017" y="279653"/>
                    <a:pt x="1311312" y="280701"/>
                    <a:pt x="1308605" y="280701"/>
                  </a:cubicBezTo>
                  <a:close/>
                  <a:moveTo>
                    <a:pt x="1395151" y="194155"/>
                  </a:moveTo>
                  <a:cubicBezTo>
                    <a:pt x="1392462" y="194155"/>
                    <a:pt x="1389791" y="193126"/>
                    <a:pt x="1387748" y="191083"/>
                  </a:cubicBezTo>
                  <a:cubicBezTo>
                    <a:pt x="1383663" y="186997"/>
                    <a:pt x="1383663" y="180363"/>
                    <a:pt x="1387748" y="176277"/>
                  </a:cubicBezTo>
                  <a:lnTo>
                    <a:pt x="1387870" y="176155"/>
                  </a:lnTo>
                  <a:cubicBezTo>
                    <a:pt x="1391956" y="172070"/>
                    <a:pt x="1398590" y="172070"/>
                    <a:pt x="1402693" y="176155"/>
                  </a:cubicBezTo>
                  <a:cubicBezTo>
                    <a:pt x="1406796" y="180241"/>
                    <a:pt x="1406778" y="186875"/>
                    <a:pt x="1402693" y="190961"/>
                  </a:cubicBezTo>
                  <a:lnTo>
                    <a:pt x="1402571" y="191083"/>
                  </a:lnTo>
                  <a:cubicBezTo>
                    <a:pt x="1400528" y="193126"/>
                    <a:pt x="1397840" y="194155"/>
                    <a:pt x="1395168" y="194155"/>
                  </a:cubicBezTo>
                  <a:close/>
                  <a:moveTo>
                    <a:pt x="1481696" y="107610"/>
                  </a:moveTo>
                  <a:cubicBezTo>
                    <a:pt x="1478990" y="107610"/>
                    <a:pt x="1476284" y="106562"/>
                    <a:pt x="1474241" y="104485"/>
                  </a:cubicBezTo>
                  <a:cubicBezTo>
                    <a:pt x="1470173" y="100364"/>
                    <a:pt x="1470226" y="93730"/>
                    <a:pt x="1474346" y="89680"/>
                  </a:cubicBezTo>
                  <a:lnTo>
                    <a:pt x="1474468" y="89557"/>
                  </a:lnTo>
                  <a:cubicBezTo>
                    <a:pt x="1478589" y="85489"/>
                    <a:pt x="1485223" y="85541"/>
                    <a:pt x="1489273" y="89662"/>
                  </a:cubicBezTo>
                  <a:cubicBezTo>
                    <a:pt x="1493342" y="93782"/>
                    <a:pt x="1493290" y="100417"/>
                    <a:pt x="1489169" y="104467"/>
                  </a:cubicBezTo>
                  <a:lnTo>
                    <a:pt x="1489047" y="104590"/>
                  </a:lnTo>
                  <a:cubicBezTo>
                    <a:pt x="1487004" y="106597"/>
                    <a:pt x="1484350" y="107610"/>
                    <a:pt x="1481696" y="107610"/>
                  </a:cubicBezTo>
                  <a:close/>
                  <a:moveTo>
                    <a:pt x="1568260" y="20977"/>
                  </a:moveTo>
                  <a:cubicBezTo>
                    <a:pt x="1565588" y="20977"/>
                    <a:pt x="1562917" y="19964"/>
                    <a:pt x="1560891" y="17939"/>
                  </a:cubicBezTo>
                  <a:cubicBezTo>
                    <a:pt x="1556806" y="13854"/>
                    <a:pt x="1556736" y="7272"/>
                    <a:pt x="1560821" y="3186"/>
                  </a:cubicBezTo>
                  <a:lnTo>
                    <a:pt x="1560944" y="3064"/>
                  </a:lnTo>
                  <a:cubicBezTo>
                    <a:pt x="1565029" y="-1021"/>
                    <a:pt x="1571664" y="-1021"/>
                    <a:pt x="1575767" y="3064"/>
                  </a:cubicBezTo>
                  <a:cubicBezTo>
                    <a:pt x="1579870" y="7150"/>
                    <a:pt x="1579853" y="13784"/>
                    <a:pt x="1575767" y="17869"/>
                  </a:cubicBezTo>
                  <a:cubicBezTo>
                    <a:pt x="1573707" y="19930"/>
                    <a:pt x="1570983" y="20977"/>
                    <a:pt x="1568260" y="20977"/>
                  </a:cubicBezTo>
                  <a:close/>
                </a:path>
              </a:pathLst>
            </a:custGeom>
            <a:grpFill/>
            <a:ln w="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F3AC6190-E553-961A-4906-4E655F1D9D7A}"/>
                </a:ext>
              </a:extLst>
            </p:cNvPr>
            <p:cNvSpPr/>
            <p:nvPr/>
          </p:nvSpPr>
          <p:spPr>
            <a:xfrm>
              <a:off x="7468555" y="3695877"/>
              <a:ext cx="1493463" cy="1493452"/>
            </a:xfrm>
            <a:custGeom>
              <a:avLst/>
              <a:gdLst>
                <a:gd name="connsiteX0" fmla="*/ 11056 w 1493463"/>
                <a:gd name="connsiteY0" fmla="*/ 1493453 h 1493452"/>
                <a:gd name="connsiteX1" fmla="*/ 3234 w 1493463"/>
                <a:gd name="connsiteY1" fmla="*/ 1490223 h 1493452"/>
                <a:gd name="connsiteX2" fmla="*/ 3234 w 1493463"/>
                <a:gd name="connsiteY2" fmla="*/ 1474579 h 1493452"/>
                <a:gd name="connsiteX3" fmla="*/ 3357 w 1493463"/>
                <a:gd name="connsiteY3" fmla="*/ 1474457 h 1493452"/>
                <a:gd name="connsiteX4" fmla="*/ 19000 w 1493463"/>
                <a:gd name="connsiteY4" fmla="*/ 1474457 h 1493452"/>
                <a:gd name="connsiteX5" fmla="*/ 19000 w 1493463"/>
                <a:gd name="connsiteY5" fmla="*/ 1490101 h 1493452"/>
                <a:gd name="connsiteX6" fmla="*/ 18878 w 1493463"/>
                <a:gd name="connsiteY6" fmla="*/ 1490223 h 1493452"/>
                <a:gd name="connsiteX7" fmla="*/ 11056 w 1493463"/>
                <a:gd name="connsiteY7" fmla="*/ 1493453 h 1493452"/>
                <a:gd name="connsiteX8" fmla="*/ 97637 w 1493463"/>
                <a:gd name="connsiteY8" fmla="*/ 1406820 h 1493452"/>
                <a:gd name="connsiteX9" fmla="*/ 89850 w 1493463"/>
                <a:gd name="connsiteY9" fmla="*/ 1403607 h 1493452"/>
                <a:gd name="connsiteX10" fmla="*/ 89780 w 1493463"/>
                <a:gd name="connsiteY10" fmla="*/ 1388034 h 1493452"/>
                <a:gd name="connsiteX11" fmla="*/ 89902 w 1493463"/>
                <a:gd name="connsiteY11" fmla="*/ 1387911 h 1493452"/>
                <a:gd name="connsiteX12" fmla="*/ 105546 w 1493463"/>
                <a:gd name="connsiteY12" fmla="*/ 1387911 h 1493452"/>
                <a:gd name="connsiteX13" fmla="*/ 105546 w 1493463"/>
                <a:gd name="connsiteY13" fmla="*/ 1403555 h 1493452"/>
                <a:gd name="connsiteX14" fmla="*/ 97637 w 1493463"/>
                <a:gd name="connsiteY14" fmla="*/ 1406820 h 1493452"/>
                <a:gd name="connsiteX15" fmla="*/ 184164 w 1493463"/>
                <a:gd name="connsiteY15" fmla="*/ 1320274 h 1493452"/>
                <a:gd name="connsiteX16" fmla="*/ 176378 w 1493463"/>
                <a:gd name="connsiteY16" fmla="*/ 1317062 h 1493452"/>
                <a:gd name="connsiteX17" fmla="*/ 176308 w 1493463"/>
                <a:gd name="connsiteY17" fmla="*/ 1301488 h 1493452"/>
                <a:gd name="connsiteX18" fmla="*/ 176430 w 1493463"/>
                <a:gd name="connsiteY18" fmla="*/ 1301366 h 1493452"/>
                <a:gd name="connsiteX19" fmla="*/ 192074 w 1493463"/>
                <a:gd name="connsiteY19" fmla="*/ 1301366 h 1493452"/>
                <a:gd name="connsiteX20" fmla="*/ 192074 w 1493463"/>
                <a:gd name="connsiteY20" fmla="*/ 1317009 h 1493452"/>
                <a:gd name="connsiteX21" fmla="*/ 184164 w 1493463"/>
                <a:gd name="connsiteY21" fmla="*/ 1320274 h 1493452"/>
                <a:gd name="connsiteX22" fmla="*/ 270710 w 1493463"/>
                <a:gd name="connsiteY22" fmla="*/ 1233729 h 1493452"/>
                <a:gd name="connsiteX23" fmla="*/ 262923 w 1493463"/>
                <a:gd name="connsiteY23" fmla="*/ 1230516 h 1493452"/>
                <a:gd name="connsiteX24" fmla="*/ 262854 w 1493463"/>
                <a:gd name="connsiteY24" fmla="*/ 1214942 h 1493452"/>
                <a:gd name="connsiteX25" fmla="*/ 262976 w 1493463"/>
                <a:gd name="connsiteY25" fmla="*/ 1214820 h 1493452"/>
                <a:gd name="connsiteX26" fmla="*/ 278619 w 1493463"/>
                <a:gd name="connsiteY26" fmla="*/ 1214820 h 1493452"/>
                <a:gd name="connsiteX27" fmla="*/ 278619 w 1493463"/>
                <a:gd name="connsiteY27" fmla="*/ 1230464 h 1493452"/>
                <a:gd name="connsiteX28" fmla="*/ 270710 w 1493463"/>
                <a:gd name="connsiteY28" fmla="*/ 1233729 h 1493452"/>
                <a:gd name="connsiteX29" fmla="*/ 357221 w 1493463"/>
                <a:gd name="connsiteY29" fmla="*/ 1147288 h 1493452"/>
                <a:gd name="connsiteX30" fmla="*/ 349399 w 1493463"/>
                <a:gd name="connsiteY30" fmla="*/ 1144058 h 1493452"/>
                <a:gd name="connsiteX31" fmla="*/ 349399 w 1493463"/>
                <a:gd name="connsiteY31" fmla="*/ 1128414 h 1493452"/>
                <a:gd name="connsiteX32" fmla="*/ 349522 w 1493463"/>
                <a:gd name="connsiteY32" fmla="*/ 1128292 h 1493452"/>
                <a:gd name="connsiteX33" fmla="*/ 365165 w 1493463"/>
                <a:gd name="connsiteY33" fmla="*/ 1128292 h 1493452"/>
                <a:gd name="connsiteX34" fmla="*/ 365165 w 1493463"/>
                <a:gd name="connsiteY34" fmla="*/ 1143936 h 1493452"/>
                <a:gd name="connsiteX35" fmla="*/ 365043 w 1493463"/>
                <a:gd name="connsiteY35" fmla="*/ 1144058 h 1493452"/>
                <a:gd name="connsiteX36" fmla="*/ 357221 w 1493463"/>
                <a:gd name="connsiteY36" fmla="*/ 1147288 h 1493452"/>
                <a:gd name="connsiteX37" fmla="*/ 443767 w 1493463"/>
                <a:gd name="connsiteY37" fmla="*/ 1060742 h 1493452"/>
                <a:gd name="connsiteX38" fmla="*/ 435945 w 1493463"/>
                <a:gd name="connsiteY38" fmla="*/ 1057512 h 1493452"/>
                <a:gd name="connsiteX39" fmla="*/ 435945 w 1493463"/>
                <a:gd name="connsiteY39" fmla="*/ 1041869 h 1493452"/>
                <a:gd name="connsiteX40" fmla="*/ 436067 w 1493463"/>
                <a:gd name="connsiteY40" fmla="*/ 1041747 h 1493452"/>
                <a:gd name="connsiteX41" fmla="*/ 451711 w 1493463"/>
                <a:gd name="connsiteY41" fmla="*/ 1041747 h 1493452"/>
                <a:gd name="connsiteX42" fmla="*/ 451711 w 1493463"/>
                <a:gd name="connsiteY42" fmla="*/ 1057390 h 1493452"/>
                <a:gd name="connsiteX43" fmla="*/ 451588 w 1493463"/>
                <a:gd name="connsiteY43" fmla="*/ 1057512 h 1493452"/>
                <a:gd name="connsiteX44" fmla="*/ 443767 w 1493463"/>
                <a:gd name="connsiteY44" fmla="*/ 1060742 h 1493452"/>
                <a:gd name="connsiteX45" fmla="*/ 530347 w 1493463"/>
                <a:gd name="connsiteY45" fmla="*/ 974109 h 1493452"/>
                <a:gd name="connsiteX46" fmla="*/ 522560 w 1493463"/>
                <a:gd name="connsiteY46" fmla="*/ 970897 h 1493452"/>
                <a:gd name="connsiteX47" fmla="*/ 522490 w 1493463"/>
                <a:gd name="connsiteY47" fmla="*/ 955323 h 1493452"/>
                <a:gd name="connsiteX48" fmla="*/ 522613 w 1493463"/>
                <a:gd name="connsiteY48" fmla="*/ 955201 h 1493452"/>
                <a:gd name="connsiteX49" fmla="*/ 538256 w 1493463"/>
                <a:gd name="connsiteY49" fmla="*/ 955201 h 1493452"/>
                <a:gd name="connsiteX50" fmla="*/ 538256 w 1493463"/>
                <a:gd name="connsiteY50" fmla="*/ 970844 h 1493452"/>
                <a:gd name="connsiteX51" fmla="*/ 530347 w 1493463"/>
                <a:gd name="connsiteY51" fmla="*/ 974109 h 1493452"/>
                <a:gd name="connsiteX52" fmla="*/ 616893 w 1493463"/>
                <a:gd name="connsiteY52" fmla="*/ 887564 h 1493452"/>
                <a:gd name="connsiteX53" fmla="*/ 609106 w 1493463"/>
                <a:gd name="connsiteY53" fmla="*/ 884351 h 1493452"/>
                <a:gd name="connsiteX54" fmla="*/ 609036 w 1493463"/>
                <a:gd name="connsiteY54" fmla="*/ 868777 h 1493452"/>
                <a:gd name="connsiteX55" fmla="*/ 609158 w 1493463"/>
                <a:gd name="connsiteY55" fmla="*/ 868655 h 1493452"/>
                <a:gd name="connsiteX56" fmla="*/ 624802 w 1493463"/>
                <a:gd name="connsiteY56" fmla="*/ 868655 h 1493452"/>
                <a:gd name="connsiteX57" fmla="*/ 624802 w 1493463"/>
                <a:gd name="connsiteY57" fmla="*/ 884299 h 1493452"/>
                <a:gd name="connsiteX58" fmla="*/ 616893 w 1493463"/>
                <a:gd name="connsiteY58" fmla="*/ 887564 h 1493452"/>
                <a:gd name="connsiteX59" fmla="*/ 703421 w 1493463"/>
                <a:gd name="connsiteY59" fmla="*/ 801018 h 1493452"/>
                <a:gd name="connsiteX60" fmla="*/ 695634 w 1493463"/>
                <a:gd name="connsiteY60" fmla="*/ 797806 h 1493452"/>
                <a:gd name="connsiteX61" fmla="*/ 695564 w 1493463"/>
                <a:gd name="connsiteY61" fmla="*/ 782232 h 1493452"/>
                <a:gd name="connsiteX62" fmla="*/ 695687 w 1493463"/>
                <a:gd name="connsiteY62" fmla="*/ 782110 h 1493452"/>
                <a:gd name="connsiteX63" fmla="*/ 711330 w 1493463"/>
                <a:gd name="connsiteY63" fmla="*/ 782110 h 1493452"/>
                <a:gd name="connsiteX64" fmla="*/ 711330 w 1493463"/>
                <a:gd name="connsiteY64" fmla="*/ 797753 h 1493452"/>
                <a:gd name="connsiteX65" fmla="*/ 703421 w 1493463"/>
                <a:gd name="connsiteY65" fmla="*/ 801018 h 1493452"/>
                <a:gd name="connsiteX66" fmla="*/ 789932 w 1493463"/>
                <a:gd name="connsiteY66" fmla="*/ 714577 h 1493452"/>
                <a:gd name="connsiteX67" fmla="*/ 782110 w 1493463"/>
                <a:gd name="connsiteY67" fmla="*/ 711347 h 1493452"/>
                <a:gd name="connsiteX68" fmla="*/ 782110 w 1493463"/>
                <a:gd name="connsiteY68" fmla="*/ 695704 h 1493452"/>
                <a:gd name="connsiteX69" fmla="*/ 782232 w 1493463"/>
                <a:gd name="connsiteY69" fmla="*/ 695582 h 1493452"/>
                <a:gd name="connsiteX70" fmla="*/ 797875 w 1493463"/>
                <a:gd name="connsiteY70" fmla="*/ 695582 h 1493452"/>
                <a:gd name="connsiteX71" fmla="*/ 797875 w 1493463"/>
                <a:gd name="connsiteY71" fmla="*/ 711225 h 1493452"/>
                <a:gd name="connsiteX72" fmla="*/ 797753 w 1493463"/>
                <a:gd name="connsiteY72" fmla="*/ 711347 h 1493452"/>
                <a:gd name="connsiteX73" fmla="*/ 789932 w 1493463"/>
                <a:gd name="connsiteY73" fmla="*/ 714577 h 1493452"/>
                <a:gd name="connsiteX74" fmla="*/ 876477 w 1493463"/>
                <a:gd name="connsiteY74" fmla="*/ 628032 h 1493452"/>
                <a:gd name="connsiteX75" fmla="*/ 868655 w 1493463"/>
                <a:gd name="connsiteY75" fmla="*/ 624802 h 1493452"/>
                <a:gd name="connsiteX76" fmla="*/ 868655 w 1493463"/>
                <a:gd name="connsiteY76" fmla="*/ 609158 h 1493452"/>
                <a:gd name="connsiteX77" fmla="*/ 868777 w 1493463"/>
                <a:gd name="connsiteY77" fmla="*/ 609036 h 1493452"/>
                <a:gd name="connsiteX78" fmla="*/ 884421 w 1493463"/>
                <a:gd name="connsiteY78" fmla="*/ 609036 h 1493452"/>
                <a:gd name="connsiteX79" fmla="*/ 884421 w 1493463"/>
                <a:gd name="connsiteY79" fmla="*/ 624679 h 1493452"/>
                <a:gd name="connsiteX80" fmla="*/ 884299 w 1493463"/>
                <a:gd name="connsiteY80" fmla="*/ 624802 h 1493452"/>
                <a:gd name="connsiteX81" fmla="*/ 876477 w 1493463"/>
                <a:gd name="connsiteY81" fmla="*/ 628032 h 1493452"/>
                <a:gd name="connsiteX82" fmla="*/ 963023 w 1493463"/>
                <a:gd name="connsiteY82" fmla="*/ 541486 h 1493452"/>
                <a:gd name="connsiteX83" fmla="*/ 955201 w 1493463"/>
                <a:gd name="connsiteY83" fmla="*/ 538256 h 1493452"/>
                <a:gd name="connsiteX84" fmla="*/ 955201 w 1493463"/>
                <a:gd name="connsiteY84" fmla="*/ 522613 h 1493452"/>
                <a:gd name="connsiteX85" fmla="*/ 955323 w 1493463"/>
                <a:gd name="connsiteY85" fmla="*/ 522491 h 1493452"/>
                <a:gd name="connsiteX86" fmla="*/ 970966 w 1493463"/>
                <a:gd name="connsiteY86" fmla="*/ 522491 h 1493452"/>
                <a:gd name="connsiteX87" fmla="*/ 970966 w 1493463"/>
                <a:gd name="connsiteY87" fmla="*/ 538134 h 1493452"/>
                <a:gd name="connsiteX88" fmla="*/ 970844 w 1493463"/>
                <a:gd name="connsiteY88" fmla="*/ 538256 h 1493452"/>
                <a:gd name="connsiteX89" fmla="*/ 963023 w 1493463"/>
                <a:gd name="connsiteY89" fmla="*/ 541486 h 1493452"/>
                <a:gd name="connsiteX90" fmla="*/ 1049603 w 1493463"/>
                <a:gd name="connsiteY90" fmla="*/ 454853 h 1493452"/>
                <a:gd name="connsiteX91" fmla="*/ 1041816 w 1493463"/>
                <a:gd name="connsiteY91" fmla="*/ 451641 h 1493452"/>
                <a:gd name="connsiteX92" fmla="*/ 1041746 w 1493463"/>
                <a:gd name="connsiteY92" fmla="*/ 436067 h 1493452"/>
                <a:gd name="connsiteX93" fmla="*/ 1041869 w 1493463"/>
                <a:gd name="connsiteY93" fmla="*/ 435945 h 1493452"/>
                <a:gd name="connsiteX94" fmla="*/ 1057512 w 1493463"/>
                <a:gd name="connsiteY94" fmla="*/ 435945 h 1493452"/>
                <a:gd name="connsiteX95" fmla="*/ 1057512 w 1493463"/>
                <a:gd name="connsiteY95" fmla="*/ 451588 h 1493452"/>
                <a:gd name="connsiteX96" fmla="*/ 1049603 w 1493463"/>
                <a:gd name="connsiteY96" fmla="*/ 454853 h 1493452"/>
                <a:gd name="connsiteX97" fmla="*/ 1136131 w 1493463"/>
                <a:gd name="connsiteY97" fmla="*/ 368308 h 1493452"/>
                <a:gd name="connsiteX98" fmla="*/ 1128344 w 1493463"/>
                <a:gd name="connsiteY98" fmla="*/ 365095 h 1493452"/>
                <a:gd name="connsiteX99" fmla="*/ 1128274 w 1493463"/>
                <a:gd name="connsiteY99" fmla="*/ 349522 h 1493452"/>
                <a:gd name="connsiteX100" fmla="*/ 1128397 w 1493463"/>
                <a:gd name="connsiteY100" fmla="*/ 349399 h 1493452"/>
                <a:gd name="connsiteX101" fmla="*/ 1144041 w 1493463"/>
                <a:gd name="connsiteY101" fmla="*/ 349399 h 1493452"/>
                <a:gd name="connsiteX102" fmla="*/ 1144041 w 1493463"/>
                <a:gd name="connsiteY102" fmla="*/ 365043 h 1493452"/>
                <a:gd name="connsiteX103" fmla="*/ 1136131 w 1493463"/>
                <a:gd name="connsiteY103" fmla="*/ 368308 h 1493452"/>
                <a:gd name="connsiteX104" fmla="*/ 1222642 w 1493463"/>
                <a:gd name="connsiteY104" fmla="*/ 281867 h 1493452"/>
                <a:gd name="connsiteX105" fmla="*/ 1214821 w 1493463"/>
                <a:gd name="connsiteY105" fmla="*/ 278637 h 1493452"/>
                <a:gd name="connsiteX106" fmla="*/ 1214821 w 1493463"/>
                <a:gd name="connsiteY106" fmla="*/ 262993 h 1493452"/>
                <a:gd name="connsiteX107" fmla="*/ 1214942 w 1493463"/>
                <a:gd name="connsiteY107" fmla="*/ 262871 h 1493452"/>
                <a:gd name="connsiteX108" fmla="*/ 1230586 w 1493463"/>
                <a:gd name="connsiteY108" fmla="*/ 262871 h 1493452"/>
                <a:gd name="connsiteX109" fmla="*/ 1230586 w 1493463"/>
                <a:gd name="connsiteY109" fmla="*/ 278514 h 1493452"/>
                <a:gd name="connsiteX110" fmla="*/ 1230464 w 1493463"/>
                <a:gd name="connsiteY110" fmla="*/ 278637 h 1493452"/>
                <a:gd name="connsiteX111" fmla="*/ 1222642 w 1493463"/>
                <a:gd name="connsiteY111" fmla="*/ 281867 h 1493452"/>
                <a:gd name="connsiteX112" fmla="*/ 1309188 w 1493463"/>
                <a:gd name="connsiteY112" fmla="*/ 195321 h 1493452"/>
                <a:gd name="connsiteX113" fmla="*/ 1301366 w 1493463"/>
                <a:gd name="connsiteY113" fmla="*/ 192091 h 1493452"/>
                <a:gd name="connsiteX114" fmla="*/ 1301366 w 1493463"/>
                <a:gd name="connsiteY114" fmla="*/ 176448 h 1493452"/>
                <a:gd name="connsiteX115" fmla="*/ 1301488 w 1493463"/>
                <a:gd name="connsiteY115" fmla="*/ 176326 h 1493452"/>
                <a:gd name="connsiteX116" fmla="*/ 1317131 w 1493463"/>
                <a:gd name="connsiteY116" fmla="*/ 176326 h 1493452"/>
                <a:gd name="connsiteX117" fmla="*/ 1317131 w 1493463"/>
                <a:gd name="connsiteY117" fmla="*/ 191969 h 1493452"/>
                <a:gd name="connsiteX118" fmla="*/ 1317009 w 1493463"/>
                <a:gd name="connsiteY118" fmla="*/ 192091 h 1493452"/>
                <a:gd name="connsiteX119" fmla="*/ 1309188 w 1493463"/>
                <a:gd name="connsiteY119" fmla="*/ 195321 h 1493452"/>
                <a:gd name="connsiteX120" fmla="*/ 1395768 w 1493463"/>
                <a:gd name="connsiteY120" fmla="*/ 108689 h 1493452"/>
                <a:gd name="connsiteX121" fmla="*/ 1387981 w 1493463"/>
                <a:gd name="connsiteY121" fmla="*/ 105476 h 1493452"/>
                <a:gd name="connsiteX122" fmla="*/ 1387911 w 1493463"/>
                <a:gd name="connsiteY122" fmla="*/ 89902 h 1493452"/>
                <a:gd name="connsiteX123" fmla="*/ 1388034 w 1493463"/>
                <a:gd name="connsiteY123" fmla="*/ 89780 h 1493452"/>
                <a:gd name="connsiteX124" fmla="*/ 1403677 w 1493463"/>
                <a:gd name="connsiteY124" fmla="*/ 89780 h 1493452"/>
                <a:gd name="connsiteX125" fmla="*/ 1403677 w 1493463"/>
                <a:gd name="connsiteY125" fmla="*/ 105423 h 1493452"/>
                <a:gd name="connsiteX126" fmla="*/ 1395768 w 1493463"/>
                <a:gd name="connsiteY126" fmla="*/ 108689 h 1493452"/>
                <a:gd name="connsiteX127" fmla="*/ 1482314 w 1493463"/>
                <a:gd name="connsiteY127" fmla="*/ 22143 h 1493452"/>
                <a:gd name="connsiteX128" fmla="*/ 1474527 w 1493463"/>
                <a:gd name="connsiteY128" fmla="*/ 18930 h 1493452"/>
                <a:gd name="connsiteX129" fmla="*/ 1474457 w 1493463"/>
                <a:gd name="connsiteY129" fmla="*/ 3357 h 1493452"/>
                <a:gd name="connsiteX130" fmla="*/ 1474579 w 1493463"/>
                <a:gd name="connsiteY130" fmla="*/ 3234 h 1493452"/>
                <a:gd name="connsiteX131" fmla="*/ 1490223 w 1493463"/>
                <a:gd name="connsiteY131" fmla="*/ 3234 h 1493452"/>
                <a:gd name="connsiteX132" fmla="*/ 1490223 w 1493463"/>
                <a:gd name="connsiteY132" fmla="*/ 18878 h 1493452"/>
                <a:gd name="connsiteX133" fmla="*/ 1482314 w 1493463"/>
                <a:gd name="connsiteY133" fmla="*/ 22143 h 149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493463" h="1493452">
                  <a:moveTo>
                    <a:pt x="11056" y="1493453"/>
                  </a:moveTo>
                  <a:cubicBezTo>
                    <a:pt x="8228" y="1493453"/>
                    <a:pt x="5399" y="1492370"/>
                    <a:pt x="3234" y="1490223"/>
                  </a:cubicBezTo>
                  <a:cubicBezTo>
                    <a:pt x="-1078" y="1485910"/>
                    <a:pt x="-1078" y="1478909"/>
                    <a:pt x="3234" y="1474579"/>
                  </a:cubicBezTo>
                  <a:lnTo>
                    <a:pt x="3357" y="1474457"/>
                  </a:lnTo>
                  <a:cubicBezTo>
                    <a:pt x="7669" y="1470144"/>
                    <a:pt x="14670" y="1470144"/>
                    <a:pt x="19000" y="1474457"/>
                  </a:cubicBezTo>
                  <a:cubicBezTo>
                    <a:pt x="23330" y="1478770"/>
                    <a:pt x="23312" y="1485771"/>
                    <a:pt x="19000" y="1490101"/>
                  </a:cubicBezTo>
                  <a:lnTo>
                    <a:pt x="18878" y="1490223"/>
                  </a:lnTo>
                  <a:cubicBezTo>
                    <a:pt x="16713" y="1492387"/>
                    <a:pt x="13885" y="1493453"/>
                    <a:pt x="11056" y="1493453"/>
                  </a:cubicBezTo>
                  <a:close/>
                  <a:moveTo>
                    <a:pt x="97637" y="1406820"/>
                  </a:moveTo>
                  <a:cubicBezTo>
                    <a:pt x="94808" y="1406820"/>
                    <a:pt x="91997" y="1405755"/>
                    <a:pt x="89850" y="1403607"/>
                  </a:cubicBezTo>
                  <a:cubicBezTo>
                    <a:pt x="85537" y="1399295"/>
                    <a:pt x="85468" y="1392346"/>
                    <a:pt x="89780" y="1388034"/>
                  </a:cubicBezTo>
                  <a:lnTo>
                    <a:pt x="89902" y="1387911"/>
                  </a:lnTo>
                  <a:cubicBezTo>
                    <a:pt x="94215" y="1383599"/>
                    <a:pt x="101216" y="1383599"/>
                    <a:pt x="105546" y="1387911"/>
                  </a:cubicBezTo>
                  <a:cubicBezTo>
                    <a:pt x="109858" y="1392224"/>
                    <a:pt x="109858" y="1399225"/>
                    <a:pt x="105546" y="1403555"/>
                  </a:cubicBezTo>
                  <a:cubicBezTo>
                    <a:pt x="103363" y="1405737"/>
                    <a:pt x="100500" y="1406820"/>
                    <a:pt x="97637" y="1406820"/>
                  </a:cubicBezTo>
                  <a:close/>
                  <a:moveTo>
                    <a:pt x="184164" y="1320274"/>
                  </a:moveTo>
                  <a:cubicBezTo>
                    <a:pt x="181336" y="1320274"/>
                    <a:pt x="178525" y="1319209"/>
                    <a:pt x="176378" y="1317062"/>
                  </a:cubicBezTo>
                  <a:cubicBezTo>
                    <a:pt x="172065" y="1312749"/>
                    <a:pt x="171995" y="1305801"/>
                    <a:pt x="176308" y="1301488"/>
                  </a:cubicBezTo>
                  <a:lnTo>
                    <a:pt x="176430" y="1301366"/>
                  </a:lnTo>
                  <a:cubicBezTo>
                    <a:pt x="180743" y="1297053"/>
                    <a:pt x="187744" y="1297053"/>
                    <a:pt x="192074" y="1301366"/>
                  </a:cubicBezTo>
                  <a:cubicBezTo>
                    <a:pt x="196386" y="1305678"/>
                    <a:pt x="196386" y="1312679"/>
                    <a:pt x="192074" y="1317009"/>
                  </a:cubicBezTo>
                  <a:cubicBezTo>
                    <a:pt x="189891" y="1319192"/>
                    <a:pt x="187028" y="1320274"/>
                    <a:pt x="184164" y="1320274"/>
                  </a:cubicBezTo>
                  <a:close/>
                  <a:moveTo>
                    <a:pt x="270710" y="1233729"/>
                  </a:moveTo>
                  <a:cubicBezTo>
                    <a:pt x="267882" y="1233729"/>
                    <a:pt x="265071" y="1232663"/>
                    <a:pt x="262923" y="1230516"/>
                  </a:cubicBezTo>
                  <a:cubicBezTo>
                    <a:pt x="258611" y="1226204"/>
                    <a:pt x="258541" y="1219255"/>
                    <a:pt x="262854" y="1214942"/>
                  </a:cubicBezTo>
                  <a:lnTo>
                    <a:pt x="262976" y="1214820"/>
                  </a:lnTo>
                  <a:cubicBezTo>
                    <a:pt x="267288" y="1210508"/>
                    <a:pt x="274289" y="1210508"/>
                    <a:pt x="278619" y="1214820"/>
                  </a:cubicBezTo>
                  <a:cubicBezTo>
                    <a:pt x="282949" y="1219132"/>
                    <a:pt x="282932" y="1226134"/>
                    <a:pt x="278619" y="1230464"/>
                  </a:cubicBezTo>
                  <a:cubicBezTo>
                    <a:pt x="276437" y="1232646"/>
                    <a:pt x="273574" y="1233729"/>
                    <a:pt x="270710" y="1233729"/>
                  </a:cubicBezTo>
                  <a:close/>
                  <a:moveTo>
                    <a:pt x="357221" y="1147288"/>
                  </a:moveTo>
                  <a:cubicBezTo>
                    <a:pt x="354392" y="1147288"/>
                    <a:pt x="351564" y="1146206"/>
                    <a:pt x="349399" y="1144058"/>
                  </a:cubicBezTo>
                  <a:cubicBezTo>
                    <a:pt x="345087" y="1139745"/>
                    <a:pt x="345087" y="1132744"/>
                    <a:pt x="349399" y="1128414"/>
                  </a:cubicBezTo>
                  <a:lnTo>
                    <a:pt x="349522" y="1128292"/>
                  </a:lnTo>
                  <a:cubicBezTo>
                    <a:pt x="353834" y="1123979"/>
                    <a:pt x="360835" y="1123979"/>
                    <a:pt x="365165" y="1128292"/>
                  </a:cubicBezTo>
                  <a:cubicBezTo>
                    <a:pt x="369477" y="1132605"/>
                    <a:pt x="369477" y="1139606"/>
                    <a:pt x="365165" y="1143936"/>
                  </a:cubicBezTo>
                  <a:lnTo>
                    <a:pt x="365043" y="1144058"/>
                  </a:lnTo>
                  <a:cubicBezTo>
                    <a:pt x="362878" y="1146223"/>
                    <a:pt x="360050" y="1147288"/>
                    <a:pt x="357221" y="1147288"/>
                  </a:cubicBezTo>
                  <a:close/>
                  <a:moveTo>
                    <a:pt x="443767" y="1060742"/>
                  </a:moveTo>
                  <a:cubicBezTo>
                    <a:pt x="440938" y="1060742"/>
                    <a:pt x="438110" y="1059660"/>
                    <a:pt x="435945" y="1057512"/>
                  </a:cubicBezTo>
                  <a:cubicBezTo>
                    <a:pt x="431633" y="1053200"/>
                    <a:pt x="431633" y="1046199"/>
                    <a:pt x="435945" y="1041869"/>
                  </a:cubicBezTo>
                  <a:lnTo>
                    <a:pt x="436067" y="1041747"/>
                  </a:lnTo>
                  <a:cubicBezTo>
                    <a:pt x="440379" y="1037434"/>
                    <a:pt x="447380" y="1037434"/>
                    <a:pt x="451711" y="1041747"/>
                  </a:cubicBezTo>
                  <a:cubicBezTo>
                    <a:pt x="456023" y="1046059"/>
                    <a:pt x="456023" y="1053060"/>
                    <a:pt x="451711" y="1057390"/>
                  </a:cubicBezTo>
                  <a:lnTo>
                    <a:pt x="451588" y="1057512"/>
                  </a:lnTo>
                  <a:cubicBezTo>
                    <a:pt x="449423" y="1059677"/>
                    <a:pt x="446595" y="1060742"/>
                    <a:pt x="443767" y="1060742"/>
                  </a:cubicBezTo>
                  <a:close/>
                  <a:moveTo>
                    <a:pt x="530347" y="974109"/>
                  </a:moveTo>
                  <a:cubicBezTo>
                    <a:pt x="527519" y="974109"/>
                    <a:pt x="524708" y="973044"/>
                    <a:pt x="522560" y="970897"/>
                  </a:cubicBezTo>
                  <a:cubicBezTo>
                    <a:pt x="518248" y="966584"/>
                    <a:pt x="518178" y="959636"/>
                    <a:pt x="522490" y="955323"/>
                  </a:cubicBezTo>
                  <a:lnTo>
                    <a:pt x="522613" y="955201"/>
                  </a:lnTo>
                  <a:cubicBezTo>
                    <a:pt x="526925" y="950888"/>
                    <a:pt x="533926" y="950888"/>
                    <a:pt x="538256" y="955201"/>
                  </a:cubicBezTo>
                  <a:cubicBezTo>
                    <a:pt x="542586" y="959513"/>
                    <a:pt x="542568" y="966514"/>
                    <a:pt x="538256" y="970844"/>
                  </a:cubicBezTo>
                  <a:cubicBezTo>
                    <a:pt x="536074" y="973027"/>
                    <a:pt x="533210" y="974109"/>
                    <a:pt x="530347" y="974109"/>
                  </a:cubicBezTo>
                  <a:close/>
                  <a:moveTo>
                    <a:pt x="616893" y="887564"/>
                  </a:moveTo>
                  <a:cubicBezTo>
                    <a:pt x="614064" y="887564"/>
                    <a:pt x="611253" y="886499"/>
                    <a:pt x="609106" y="884351"/>
                  </a:cubicBezTo>
                  <a:cubicBezTo>
                    <a:pt x="604793" y="880039"/>
                    <a:pt x="604724" y="873090"/>
                    <a:pt x="609036" y="868777"/>
                  </a:cubicBezTo>
                  <a:lnTo>
                    <a:pt x="609158" y="868655"/>
                  </a:lnTo>
                  <a:cubicBezTo>
                    <a:pt x="613471" y="864343"/>
                    <a:pt x="620472" y="864343"/>
                    <a:pt x="624802" y="868655"/>
                  </a:cubicBezTo>
                  <a:cubicBezTo>
                    <a:pt x="629114" y="872968"/>
                    <a:pt x="629114" y="879969"/>
                    <a:pt x="624802" y="884299"/>
                  </a:cubicBezTo>
                  <a:cubicBezTo>
                    <a:pt x="622619" y="886481"/>
                    <a:pt x="619756" y="887564"/>
                    <a:pt x="616893" y="887564"/>
                  </a:cubicBezTo>
                  <a:close/>
                  <a:moveTo>
                    <a:pt x="703421" y="801018"/>
                  </a:moveTo>
                  <a:cubicBezTo>
                    <a:pt x="700592" y="801018"/>
                    <a:pt x="697782" y="799953"/>
                    <a:pt x="695634" y="797806"/>
                  </a:cubicBezTo>
                  <a:cubicBezTo>
                    <a:pt x="691322" y="793493"/>
                    <a:pt x="691252" y="786545"/>
                    <a:pt x="695564" y="782232"/>
                  </a:cubicBezTo>
                  <a:lnTo>
                    <a:pt x="695687" y="782110"/>
                  </a:lnTo>
                  <a:cubicBezTo>
                    <a:pt x="699999" y="777797"/>
                    <a:pt x="707000" y="777797"/>
                    <a:pt x="711330" y="782110"/>
                  </a:cubicBezTo>
                  <a:cubicBezTo>
                    <a:pt x="715642" y="786422"/>
                    <a:pt x="715642" y="793423"/>
                    <a:pt x="711330" y="797753"/>
                  </a:cubicBezTo>
                  <a:cubicBezTo>
                    <a:pt x="709148" y="799936"/>
                    <a:pt x="706284" y="801018"/>
                    <a:pt x="703421" y="801018"/>
                  </a:cubicBezTo>
                  <a:close/>
                  <a:moveTo>
                    <a:pt x="789932" y="714577"/>
                  </a:moveTo>
                  <a:cubicBezTo>
                    <a:pt x="787103" y="714577"/>
                    <a:pt x="784275" y="713495"/>
                    <a:pt x="782110" y="711347"/>
                  </a:cubicBezTo>
                  <a:cubicBezTo>
                    <a:pt x="777797" y="707035"/>
                    <a:pt x="777797" y="700034"/>
                    <a:pt x="782110" y="695704"/>
                  </a:cubicBezTo>
                  <a:lnTo>
                    <a:pt x="782232" y="695582"/>
                  </a:lnTo>
                  <a:cubicBezTo>
                    <a:pt x="786544" y="691269"/>
                    <a:pt x="793545" y="691269"/>
                    <a:pt x="797875" y="695582"/>
                  </a:cubicBezTo>
                  <a:cubicBezTo>
                    <a:pt x="802188" y="699894"/>
                    <a:pt x="802188" y="706895"/>
                    <a:pt x="797875" y="711225"/>
                  </a:cubicBezTo>
                  <a:lnTo>
                    <a:pt x="797753" y="711347"/>
                  </a:lnTo>
                  <a:cubicBezTo>
                    <a:pt x="795588" y="713512"/>
                    <a:pt x="792760" y="714577"/>
                    <a:pt x="789932" y="714577"/>
                  </a:cubicBezTo>
                  <a:close/>
                  <a:moveTo>
                    <a:pt x="876477" y="628032"/>
                  </a:moveTo>
                  <a:cubicBezTo>
                    <a:pt x="873649" y="628032"/>
                    <a:pt x="870820" y="626949"/>
                    <a:pt x="868655" y="624802"/>
                  </a:cubicBezTo>
                  <a:cubicBezTo>
                    <a:pt x="864343" y="620489"/>
                    <a:pt x="864343" y="613488"/>
                    <a:pt x="868655" y="609158"/>
                  </a:cubicBezTo>
                  <a:lnTo>
                    <a:pt x="868777" y="609036"/>
                  </a:lnTo>
                  <a:cubicBezTo>
                    <a:pt x="873090" y="604724"/>
                    <a:pt x="880091" y="604724"/>
                    <a:pt x="884421" y="609036"/>
                  </a:cubicBezTo>
                  <a:cubicBezTo>
                    <a:pt x="888733" y="613348"/>
                    <a:pt x="888733" y="620349"/>
                    <a:pt x="884421" y="624679"/>
                  </a:cubicBezTo>
                  <a:lnTo>
                    <a:pt x="884299" y="624802"/>
                  </a:lnTo>
                  <a:cubicBezTo>
                    <a:pt x="882134" y="626967"/>
                    <a:pt x="879305" y="628032"/>
                    <a:pt x="876477" y="628032"/>
                  </a:cubicBezTo>
                  <a:close/>
                  <a:moveTo>
                    <a:pt x="963023" y="541486"/>
                  </a:moveTo>
                  <a:cubicBezTo>
                    <a:pt x="960194" y="541486"/>
                    <a:pt x="957366" y="540403"/>
                    <a:pt x="955201" y="538256"/>
                  </a:cubicBezTo>
                  <a:cubicBezTo>
                    <a:pt x="950888" y="533944"/>
                    <a:pt x="950888" y="526942"/>
                    <a:pt x="955201" y="522613"/>
                  </a:cubicBezTo>
                  <a:lnTo>
                    <a:pt x="955323" y="522491"/>
                  </a:lnTo>
                  <a:cubicBezTo>
                    <a:pt x="959636" y="518178"/>
                    <a:pt x="966636" y="518178"/>
                    <a:pt x="970966" y="522491"/>
                  </a:cubicBezTo>
                  <a:cubicBezTo>
                    <a:pt x="975296" y="526803"/>
                    <a:pt x="975279" y="533804"/>
                    <a:pt x="970966" y="538134"/>
                  </a:cubicBezTo>
                  <a:lnTo>
                    <a:pt x="970844" y="538256"/>
                  </a:lnTo>
                  <a:cubicBezTo>
                    <a:pt x="968680" y="540421"/>
                    <a:pt x="965851" y="541486"/>
                    <a:pt x="963023" y="541486"/>
                  </a:cubicBezTo>
                  <a:close/>
                  <a:moveTo>
                    <a:pt x="1049603" y="454853"/>
                  </a:moveTo>
                  <a:cubicBezTo>
                    <a:pt x="1046775" y="454853"/>
                    <a:pt x="1043964" y="453788"/>
                    <a:pt x="1041816" y="451641"/>
                  </a:cubicBezTo>
                  <a:cubicBezTo>
                    <a:pt x="1037504" y="447328"/>
                    <a:pt x="1037434" y="440380"/>
                    <a:pt x="1041746" y="436067"/>
                  </a:cubicBezTo>
                  <a:lnTo>
                    <a:pt x="1041869" y="435945"/>
                  </a:lnTo>
                  <a:cubicBezTo>
                    <a:pt x="1046181" y="431633"/>
                    <a:pt x="1053183" y="431633"/>
                    <a:pt x="1057512" y="435945"/>
                  </a:cubicBezTo>
                  <a:cubicBezTo>
                    <a:pt x="1061824" y="440257"/>
                    <a:pt x="1061824" y="447258"/>
                    <a:pt x="1057512" y="451588"/>
                  </a:cubicBezTo>
                  <a:cubicBezTo>
                    <a:pt x="1055330" y="453771"/>
                    <a:pt x="1052466" y="454853"/>
                    <a:pt x="1049603" y="454853"/>
                  </a:cubicBezTo>
                  <a:close/>
                  <a:moveTo>
                    <a:pt x="1136131" y="368308"/>
                  </a:moveTo>
                  <a:cubicBezTo>
                    <a:pt x="1133302" y="368308"/>
                    <a:pt x="1130492" y="367243"/>
                    <a:pt x="1128344" y="365095"/>
                  </a:cubicBezTo>
                  <a:cubicBezTo>
                    <a:pt x="1124032" y="360783"/>
                    <a:pt x="1123962" y="353834"/>
                    <a:pt x="1128274" y="349522"/>
                  </a:cubicBezTo>
                  <a:lnTo>
                    <a:pt x="1128397" y="349399"/>
                  </a:lnTo>
                  <a:cubicBezTo>
                    <a:pt x="1132709" y="345087"/>
                    <a:pt x="1139711" y="345087"/>
                    <a:pt x="1144041" y="349399"/>
                  </a:cubicBezTo>
                  <a:cubicBezTo>
                    <a:pt x="1148353" y="353712"/>
                    <a:pt x="1148353" y="360713"/>
                    <a:pt x="1144041" y="365043"/>
                  </a:cubicBezTo>
                  <a:cubicBezTo>
                    <a:pt x="1141858" y="367225"/>
                    <a:pt x="1138995" y="368308"/>
                    <a:pt x="1136131" y="368308"/>
                  </a:cubicBezTo>
                  <a:close/>
                  <a:moveTo>
                    <a:pt x="1222642" y="281867"/>
                  </a:moveTo>
                  <a:cubicBezTo>
                    <a:pt x="1219814" y="281867"/>
                    <a:pt x="1216985" y="280784"/>
                    <a:pt x="1214821" y="278637"/>
                  </a:cubicBezTo>
                  <a:cubicBezTo>
                    <a:pt x="1210508" y="274324"/>
                    <a:pt x="1210508" y="267323"/>
                    <a:pt x="1214821" y="262993"/>
                  </a:cubicBezTo>
                  <a:lnTo>
                    <a:pt x="1214942" y="262871"/>
                  </a:lnTo>
                  <a:cubicBezTo>
                    <a:pt x="1219255" y="258559"/>
                    <a:pt x="1226256" y="258559"/>
                    <a:pt x="1230586" y="262871"/>
                  </a:cubicBezTo>
                  <a:cubicBezTo>
                    <a:pt x="1234916" y="267183"/>
                    <a:pt x="1234899" y="274185"/>
                    <a:pt x="1230586" y="278514"/>
                  </a:cubicBezTo>
                  <a:lnTo>
                    <a:pt x="1230464" y="278637"/>
                  </a:lnTo>
                  <a:cubicBezTo>
                    <a:pt x="1228299" y="280802"/>
                    <a:pt x="1225470" y="281867"/>
                    <a:pt x="1222642" y="281867"/>
                  </a:cubicBezTo>
                  <a:close/>
                  <a:moveTo>
                    <a:pt x="1309188" y="195321"/>
                  </a:moveTo>
                  <a:cubicBezTo>
                    <a:pt x="1306359" y="195321"/>
                    <a:pt x="1303530" y="194239"/>
                    <a:pt x="1301366" y="192091"/>
                  </a:cubicBezTo>
                  <a:cubicBezTo>
                    <a:pt x="1297053" y="187779"/>
                    <a:pt x="1297053" y="180777"/>
                    <a:pt x="1301366" y="176448"/>
                  </a:cubicBezTo>
                  <a:lnTo>
                    <a:pt x="1301488" y="176326"/>
                  </a:lnTo>
                  <a:cubicBezTo>
                    <a:pt x="1305801" y="172013"/>
                    <a:pt x="1312801" y="172013"/>
                    <a:pt x="1317131" y="176326"/>
                  </a:cubicBezTo>
                  <a:cubicBezTo>
                    <a:pt x="1321444" y="180638"/>
                    <a:pt x="1321444" y="187639"/>
                    <a:pt x="1317131" y="191969"/>
                  </a:cubicBezTo>
                  <a:lnTo>
                    <a:pt x="1317009" y="192091"/>
                  </a:lnTo>
                  <a:cubicBezTo>
                    <a:pt x="1314845" y="194256"/>
                    <a:pt x="1312016" y="195321"/>
                    <a:pt x="1309188" y="195321"/>
                  </a:cubicBezTo>
                  <a:close/>
                  <a:moveTo>
                    <a:pt x="1395768" y="108689"/>
                  </a:moveTo>
                  <a:cubicBezTo>
                    <a:pt x="1392940" y="108689"/>
                    <a:pt x="1390128" y="107623"/>
                    <a:pt x="1387981" y="105476"/>
                  </a:cubicBezTo>
                  <a:cubicBezTo>
                    <a:pt x="1383669" y="101163"/>
                    <a:pt x="1383599" y="94215"/>
                    <a:pt x="1387911" y="89902"/>
                  </a:cubicBezTo>
                  <a:lnTo>
                    <a:pt x="1388034" y="89780"/>
                  </a:lnTo>
                  <a:cubicBezTo>
                    <a:pt x="1392346" y="85468"/>
                    <a:pt x="1399347" y="85468"/>
                    <a:pt x="1403677" y="89780"/>
                  </a:cubicBezTo>
                  <a:cubicBezTo>
                    <a:pt x="1407989" y="94092"/>
                    <a:pt x="1407989" y="101094"/>
                    <a:pt x="1403677" y="105423"/>
                  </a:cubicBezTo>
                  <a:cubicBezTo>
                    <a:pt x="1401495" y="107606"/>
                    <a:pt x="1398631" y="108689"/>
                    <a:pt x="1395768" y="108689"/>
                  </a:cubicBezTo>
                  <a:close/>
                  <a:moveTo>
                    <a:pt x="1482314" y="22143"/>
                  </a:moveTo>
                  <a:cubicBezTo>
                    <a:pt x="1479485" y="22143"/>
                    <a:pt x="1476675" y="21078"/>
                    <a:pt x="1474527" y="18930"/>
                  </a:cubicBezTo>
                  <a:cubicBezTo>
                    <a:pt x="1470214" y="14618"/>
                    <a:pt x="1470144" y="7669"/>
                    <a:pt x="1474457" y="3357"/>
                  </a:cubicBezTo>
                  <a:lnTo>
                    <a:pt x="1474579" y="3234"/>
                  </a:lnTo>
                  <a:cubicBezTo>
                    <a:pt x="1478892" y="-1078"/>
                    <a:pt x="1485893" y="-1078"/>
                    <a:pt x="1490223" y="3234"/>
                  </a:cubicBezTo>
                  <a:cubicBezTo>
                    <a:pt x="1494552" y="7547"/>
                    <a:pt x="1494535" y="14548"/>
                    <a:pt x="1490223" y="18878"/>
                  </a:cubicBezTo>
                  <a:cubicBezTo>
                    <a:pt x="1488040" y="21060"/>
                    <a:pt x="1485177" y="22143"/>
                    <a:pt x="1482314" y="22143"/>
                  </a:cubicBezTo>
                  <a:close/>
                </a:path>
              </a:pathLst>
            </a:custGeom>
            <a:grpFill/>
            <a:ln w="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66B5D3-94F6-5009-E16F-9B650B1715C8}"/>
                </a:ext>
              </a:extLst>
            </p:cNvPr>
            <p:cNvSpPr/>
            <p:nvPr/>
          </p:nvSpPr>
          <p:spPr>
            <a:xfrm>
              <a:off x="7617061" y="3842033"/>
              <a:ext cx="1321516" cy="1321561"/>
            </a:xfrm>
            <a:custGeom>
              <a:avLst/>
              <a:gdLst>
                <a:gd name="connsiteX0" fmla="*/ 11635 w 1321516"/>
                <a:gd name="connsiteY0" fmla="*/ 1321544 h 1321561"/>
                <a:gd name="connsiteX1" fmla="*/ 3464 w 1321516"/>
                <a:gd name="connsiteY1" fmla="*/ 1318192 h 1321561"/>
                <a:gd name="connsiteX2" fmla="*/ 3359 w 1321516"/>
                <a:gd name="connsiteY2" fmla="*/ 1301728 h 1321561"/>
                <a:gd name="connsiteX3" fmla="*/ 3481 w 1321516"/>
                <a:gd name="connsiteY3" fmla="*/ 1301606 h 1321561"/>
                <a:gd name="connsiteX4" fmla="*/ 19945 w 1321516"/>
                <a:gd name="connsiteY4" fmla="*/ 1301501 h 1321561"/>
                <a:gd name="connsiteX5" fmla="*/ 20050 w 1321516"/>
                <a:gd name="connsiteY5" fmla="*/ 1317965 h 1321561"/>
                <a:gd name="connsiteX6" fmla="*/ 19928 w 1321516"/>
                <a:gd name="connsiteY6" fmla="*/ 1318088 h 1321561"/>
                <a:gd name="connsiteX7" fmla="*/ 11635 w 1321516"/>
                <a:gd name="connsiteY7" fmla="*/ 1321562 h 1321561"/>
                <a:gd name="connsiteX8" fmla="*/ 98215 w 1321516"/>
                <a:gd name="connsiteY8" fmla="*/ 1234911 h 1321561"/>
                <a:gd name="connsiteX9" fmla="*/ 90009 w 1321516"/>
                <a:gd name="connsiteY9" fmla="*/ 1231524 h 1321561"/>
                <a:gd name="connsiteX10" fmla="*/ 89939 w 1321516"/>
                <a:gd name="connsiteY10" fmla="*/ 1215130 h 1321561"/>
                <a:gd name="connsiteX11" fmla="*/ 90062 w 1321516"/>
                <a:gd name="connsiteY11" fmla="*/ 1215008 h 1321561"/>
                <a:gd name="connsiteX12" fmla="*/ 106526 w 1321516"/>
                <a:gd name="connsiteY12" fmla="*/ 1215008 h 1321561"/>
                <a:gd name="connsiteX13" fmla="*/ 106526 w 1321516"/>
                <a:gd name="connsiteY13" fmla="*/ 1231472 h 1321561"/>
                <a:gd name="connsiteX14" fmla="*/ 98198 w 1321516"/>
                <a:gd name="connsiteY14" fmla="*/ 1234911 h 1321561"/>
                <a:gd name="connsiteX15" fmla="*/ 184726 w 1321516"/>
                <a:gd name="connsiteY15" fmla="*/ 1148453 h 1321561"/>
                <a:gd name="connsiteX16" fmla="*/ 176433 w 1321516"/>
                <a:gd name="connsiteY16" fmla="*/ 1144979 h 1321561"/>
                <a:gd name="connsiteX17" fmla="*/ 176538 w 1321516"/>
                <a:gd name="connsiteY17" fmla="*/ 1128515 h 1321561"/>
                <a:gd name="connsiteX18" fmla="*/ 176659 w 1321516"/>
                <a:gd name="connsiteY18" fmla="*/ 1128393 h 1321561"/>
                <a:gd name="connsiteX19" fmla="*/ 193124 w 1321516"/>
                <a:gd name="connsiteY19" fmla="*/ 1128497 h 1321561"/>
                <a:gd name="connsiteX20" fmla="*/ 193019 w 1321516"/>
                <a:gd name="connsiteY20" fmla="*/ 1144962 h 1321561"/>
                <a:gd name="connsiteX21" fmla="*/ 192897 w 1321516"/>
                <a:gd name="connsiteY21" fmla="*/ 1145084 h 1321561"/>
                <a:gd name="connsiteX22" fmla="*/ 184726 w 1321516"/>
                <a:gd name="connsiteY22" fmla="*/ 1148436 h 1321561"/>
                <a:gd name="connsiteX23" fmla="*/ 271272 w 1321516"/>
                <a:gd name="connsiteY23" fmla="*/ 1061908 h 1321561"/>
                <a:gd name="connsiteX24" fmla="*/ 262978 w 1321516"/>
                <a:gd name="connsiteY24" fmla="*/ 1058433 h 1321561"/>
                <a:gd name="connsiteX25" fmla="*/ 263083 w 1321516"/>
                <a:gd name="connsiteY25" fmla="*/ 1041969 h 1321561"/>
                <a:gd name="connsiteX26" fmla="*/ 263205 w 1321516"/>
                <a:gd name="connsiteY26" fmla="*/ 1041847 h 1321561"/>
                <a:gd name="connsiteX27" fmla="*/ 279669 w 1321516"/>
                <a:gd name="connsiteY27" fmla="*/ 1041952 h 1321561"/>
                <a:gd name="connsiteX28" fmla="*/ 279565 w 1321516"/>
                <a:gd name="connsiteY28" fmla="*/ 1058416 h 1321561"/>
                <a:gd name="connsiteX29" fmla="*/ 279442 w 1321516"/>
                <a:gd name="connsiteY29" fmla="*/ 1058538 h 1321561"/>
                <a:gd name="connsiteX30" fmla="*/ 271272 w 1321516"/>
                <a:gd name="connsiteY30" fmla="*/ 1061890 h 1321561"/>
                <a:gd name="connsiteX31" fmla="*/ 357834 w 1321516"/>
                <a:gd name="connsiteY31" fmla="*/ 975275 h 1321561"/>
                <a:gd name="connsiteX32" fmla="*/ 349629 w 1321516"/>
                <a:gd name="connsiteY32" fmla="*/ 971888 h 1321561"/>
                <a:gd name="connsiteX33" fmla="*/ 349559 w 1321516"/>
                <a:gd name="connsiteY33" fmla="*/ 955494 h 1321561"/>
                <a:gd name="connsiteX34" fmla="*/ 349681 w 1321516"/>
                <a:gd name="connsiteY34" fmla="*/ 955371 h 1321561"/>
                <a:gd name="connsiteX35" fmla="*/ 366145 w 1321516"/>
                <a:gd name="connsiteY35" fmla="*/ 955371 h 1321561"/>
                <a:gd name="connsiteX36" fmla="*/ 366145 w 1321516"/>
                <a:gd name="connsiteY36" fmla="*/ 971835 h 1321561"/>
                <a:gd name="connsiteX37" fmla="*/ 357817 w 1321516"/>
                <a:gd name="connsiteY37" fmla="*/ 975275 h 1321561"/>
                <a:gd name="connsiteX38" fmla="*/ 444345 w 1321516"/>
                <a:gd name="connsiteY38" fmla="*/ 888834 h 1321561"/>
                <a:gd name="connsiteX39" fmla="*/ 436174 w 1321516"/>
                <a:gd name="connsiteY39" fmla="*/ 885482 h 1321561"/>
                <a:gd name="connsiteX40" fmla="*/ 436069 w 1321516"/>
                <a:gd name="connsiteY40" fmla="*/ 869018 h 1321561"/>
                <a:gd name="connsiteX41" fmla="*/ 436192 w 1321516"/>
                <a:gd name="connsiteY41" fmla="*/ 868895 h 1321561"/>
                <a:gd name="connsiteX42" fmla="*/ 452656 w 1321516"/>
                <a:gd name="connsiteY42" fmla="*/ 868791 h 1321561"/>
                <a:gd name="connsiteX43" fmla="*/ 452761 w 1321516"/>
                <a:gd name="connsiteY43" fmla="*/ 885255 h 1321561"/>
                <a:gd name="connsiteX44" fmla="*/ 452638 w 1321516"/>
                <a:gd name="connsiteY44" fmla="*/ 885377 h 1321561"/>
                <a:gd name="connsiteX45" fmla="*/ 444345 w 1321516"/>
                <a:gd name="connsiteY45" fmla="*/ 888851 h 1321561"/>
                <a:gd name="connsiteX46" fmla="*/ 530891 w 1321516"/>
                <a:gd name="connsiteY46" fmla="*/ 802289 h 1321561"/>
                <a:gd name="connsiteX47" fmla="*/ 522720 w 1321516"/>
                <a:gd name="connsiteY47" fmla="*/ 798936 h 1321561"/>
                <a:gd name="connsiteX48" fmla="*/ 522615 w 1321516"/>
                <a:gd name="connsiteY48" fmla="*/ 782472 h 1321561"/>
                <a:gd name="connsiteX49" fmla="*/ 522737 w 1321516"/>
                <a:gd name="connsiteY49" fmla="*/ 782350 h 1321561"/>
                <a:gd name="connsiteX50" fmla="*/ 539201 w 1321516"/>
                <a:gd name="connsiteY50" fmla="*/ 782245 h 1321561"/>
                <a:gd name="connsiteX51" fmla="*/ 539306 w 1321516"/>
                <a:gd name="connsiteY51" fmla="*/ 798709 h 1321561"/>
                <a:gd name="connsiteX52" fmla="*/ 539184 w 1321516"/>
                <a:gd name="connsiteY52" fmla="*/ 798832 h 1321561"/>
                <a:gd name="connsiteX53" fmla="*/ 530891 w 1321516"/>
                <a:gd name="connsiteY53" fmla="*/ 802306 h 1321561"/>
                <a:gd name="connsiteX54" fmla="*/ 617436 w 1321516"/>
                <a:gd name="connsiteY54" fmla="*/ 715743 h 1321561"/>
                <a:gd name="connsiteX55" fmla="*/ 609143 w 1321516"/>
                <a:gd name="connsiteY55" fmla="*/ 712268 h 1321561"/>
                <a:gd name="connsiteX56" fmla="*/ 609248 w 1321516"/>
                <a:gd name="connsiteY56" fmla="*/ 695804 h 1321561"/>
                <a:gd name="connsiteX57" fmla="*/ 609370 w 1321516"/>
                <a:gd name="connsiteY57" fmla="*/ 695682 h 1321561"/>
                <a:gd name="connsiteX58" fmla="*/ 625834 w 1321516"/>
                <a:gd name="connsiteY58" fmla="*/ 695787 h 1321561"/>
                <a:gd name="connsiteX59" fmla="*/ 625730 w 1321516"/>
                <a:gd name="connsiteY59" fmla="*/ 712251 h 1321561"/>
                <a:gd name="connsiteX60" fmla="*/ 625607 w 1321516"/>
                <a:gd name="connsiteY60" fmla="*/ 712373 h 1321561"/>
                <a:gd name="connsiteX61" fmla="*/ 617436 w 1321516"/>
                <a:gd name="connsiteY61" fmla="*/ 715725 h 1321561"/>
                <a:gd name="connsiteX62" fmla="*/ 703982 w 1321516"/>
                <a:gd name="connsiteY62" fmla="*/ 629197 h 1321561"/>
                <a:gd name="connsiteX63" fmla="*/ 695689 w 1321516"/>
                <a:gd name="connsiteY63" fmla="*/ 625723 h 1321561"/>
                <a:gd name="connsiteX64" fmla="*/ 695793 w 1321516"/>
                <a:gd name="connsiteY64" fmla="*/ 609259 h 1321561"/>
                <a:gd name="connsiteX65" fmla="*/ 695916 w 1321516"/>
                <a:gd name="connsiteY65" fmla="*/ 609136 h 1321561"/>
                <a:gd name="connsiteX66" fmla="*/ 712380 w 1321516"/>
                <a:gd name="connsiteY66" fmla="*/ 609241 h 1321561"/>
                <a:gd name="connsiteX67" fmla="*/ 712275 w 1321516"/>
                <a:gd name="connsiteY67" fmla="*/ 625705 h 1321561"/>
                <a:gd name="connsiteX68" fmla="*/ 712153 w 1321516"/>
                <a:gd name="connsiteY68" fmla="*/ 625828 h 1321561"/>
                <a:gd name="connsiteX69" fmla="*/ 703982 w 1321516"/>
                <a:gd name="connsiteY69" fmla="*/ 629180 h 1321561"/>
                <a:gd name="connsiteX70" fmla="*/ 790510 w 1321516"/>
                <a:gd name="connsiteY70" fmla="*/ 542669 h 1321561"/>
                <a:gd name="connsiteX71" fmla="*/ 782339 w 1321516"/>
                <a:gd name="connsiteY71" fmla="*/ 539317 h 1321561"/>
                <a:gd name="connsiteX72" fmla="*/ 782235 w 1321516"/>
                <a:gd name="connsiteY72" fmla="*/ 522853 h 1321561"/>
                <a:gd name="connsiteX73" fmla="*/ 782357 w 1321516"/>
                <a:gd name="connsiteY73" fmla="*/ 522731 h 1321561"/>
                <a:gd name="connsiteX74" fmla="*/ 798821 w 1321516"/>
                <a:gd name="connsiteY74" fmla="*/ 522626 h 1321561"/>
                <a:gd name="connsiteX75" fmla="*/ 798925 w 1321516"/>
                <a:gd name="connsiteY75" fmla="*/ 539090 h 1321561"/>
                <a:gd name="connsiteX76" fmla="*/ 798803 w 1321516"/>
                <a:gd name="connsiteY76" fmla="*/ 539212 h 1321561"/>
                <a:gd name="connsiteX77" fmla="*/ 790510 w 1321516"/>
                <a:gd name="connsiteY77" fmla="*/ 542686 h 1321561"/>
                <a:gd name="connsiteX78" fmla="*/ 877055 w 1321516"/>
                <a:gd name="connsiteY78" fmla="*/ 456124 h 1321561"/>
                <a:gd name="connsiteX79" fmla="*/ 868885 w 1321516"/>
                <a:gd name="connsiteY79" fmla="*/ 452771 h 1321561"/>
                <a:gd name="connsiteX80" fmla="*/ 868780 w 1321516"/>
                <a:gd name="connsiteY80" fmla="*/ 436307 h 1321561"/>
                <a:gd name="connsiteX81" fmla="*/ 868902 w 1321516"/>
                <a:gd name="connsiteY81" fmla="*/ 436185 h 1321561"/>
                <a:gd name="connsiteX82" fmla="*/ 885366 w 1321516"/>
                <a:gd name="connsiteY82" fmla="*/ 436080 h 1321561"/>
                <a:gd name="connsiteX83" fmla="*/ 885471 w 1321516"/>
                <a:gd name="connsiteY83" fmla="*/ 452544 h 1321561"/>
                <a:gd name="connsiteX84" fmla="*/ 885348 w 1321516"/>
                <a:gd name="connsiteY84" fmla="*/ 452667 h 1321561"/>
                <a:gd name="connsiteX85" fmla="*/ 877055 w 1321516"/>
                <a:gd name="connsiteY85" fmla="*/ 456141 h 1321561"/>
                <a:gd name="connsiteX86" fmla="*/ 963601 w 1321516"/>
                <a:gd name="connsiteY86" fmla="*/ 369578 h 1321561"/>
                <a:gd name="connsiteX87" fmla="*/ 955308 w 1321516"/>
                <a:gd name="connsiteY87" fmla="*/ 366103 h 1321561"/>
                <a:gd name="connsiteX88" fmla="*/ 955413 w 1321516"/>
                <a:gd name="connsiteY88" fmla="*/ 349640 h 1321561"/>
                <a:gd name="connsiteX89" fmla="*/ 955535 w 1321516"/>
                <a:gd name="connsiteY89" fmla="*/ 349517 h 1321561"/>
                <a:gd name="connsiteX90" fmla="*/ 971999 w 1321516"/>
                <a:gd name="connsiteY90" fmla="*/ 349622 h 1321561"/>
                <a:gd name="connsiteX91" fmla="*/ 971895 w 1321516"/>
                <a:gd name="connsiteY91" fmla="*/ 366086 h 1321561"/>
                <a:gd name="connsiteX92" fmla="*/ 971772 w 1321516"/>
                <a:gd name="connsiteY92" fmla="*/ 366208 h 1321561"/>
                <a:gd name="connsiteX93" fmla="*/ 963601 w 1321516"/>
                <a:gd name="connsiteY93" fmla="*/ 369560 h 1321561"/>
                <a:gd name="connsiteX94" fmla="*/ 1050147 w 1321516"/>
                <a:gd name="connsiteY94" fmla="*/ 283032 h 1321561"/>
                <a:gd name="connsiteX95" fmla="*/ 1041854 w 1321516"/>
                <a:gd name="connsiteY95" fmla="*/ 279558 h 1321561"/>
                <a:gd name="connsiteX96" fmla="*/ 1041958 w 1321516"/>
                <a:gd name="connsiteY96" fmla="*/ 263094 h 1321561"/>
                <a:gd name="connsiteX97" fmla="*/ 1042080 w 1321516"/>
                <a:gd name="connsiteY97" fmla="*/ 262971 h 1321561"/>
                <a:gd name="connsiteX98" fmla="*/ 1058545 w 1321516"/>
                <a:gd name="connsiteY98" fmla="*/ 263076 h 1321561"/>
                <a:gd name="connsiteX99" fmla="*/ 1058440 w 1321516"/>
                <a:gd name="connsiteY99" fmla="*/ 279540 h 1321561"/>
                <a:gd name="connsiteX100" fmla="*/ 1058318 w 1321516"/>
                <a:gd name="connsiteY100" fmla="*/ 279663 h 1321561"/>
                <a:gd name="connsiteX101" fmla="*/ 1050147 w 1321516"/>
                <a:gd name="connsiteY101" fmla="*/ 283015 h 1321561"/>
                <a:gd name="connsiteX102" fmla="*/ 1136727 w 1321516"/>
                <a:gd name="connsiteY102" fmla="*/ 196399 h 1321561"/>
                <a:gd name="connsiteX103" fmla="*/ 1128522 w 1321516"/>
                <a:gd name="connsiteY103" fmla="*/ 193013 h 1321561"/>
                <a:gd name="connsiteX104" fmla="*/ 1128452 w 1321516"/>
                <a:gd name="connsiteY104" fmla="*/ 176618 h 1321561"/>
                <a:gd name="connsiteX105" fmla="*/ 1128574 w 1321516"/>
                <a:gd name="connsiteY105" fmla="*/ 176496 h 1321561"/>
                <a:gd name="connsiteX106" fmla="*/ 1145038 w 1321516"/>
                <a:gd name="connsiteY106" fmla="*/ 176496 h 1321561"/>
                <a:gd name="connsiteX107" fmla="*/ 1145038 w 1321516"/>
                <a:gd name="connsiteY107" fmla="*/ 192960 h 1321561"/>
                <a:gd name="connsiteX108" fmla="*/ 1136710 w 1321516"/>
                <a:gd name="connsiteY108" fmla="*/ 196399 h 1321561"/>
                <a:gd name="connsiteX109" fmla="*/ 1223255 w 1321516"/>
                <a:gd name="connsiteY109" fmla="*/ 109854 h 1321561"/>
                <a:gd name="connsiteX110" fmla="*/ 1215050 w 1321516"/>
                <a:gd name="connsiteY110" fmla="*/ 106467 h 1321561"/>
                <a:gd name="connsiteX111" fmla="*/ 1214980 w 1321516"/>
                <a:gd name="connsiteY111" fmla="*/ 90072 h 1321561"/>
                <a:gd name="connsiteX112" fmla="*/ 1215102 w 1321516"/>
                <a:gd name="connsiteY112" fmla="*/ 89950 h 1321561"/>
                <a:gd name="connsiteX113" fmla="*/ 1231566 w 1321516"/>
                <a:gd name="connsiteY113" fmla="*/ 89950 h 1321561"/>
                <a:gd name="connsiteX114" fmla="*/ 1231566 w 1321516"/>
                <a:gd name="connsiteY114" fmla="*/ 106414 h 1321561"/>
                <a:gd name="connsiteX115" fmla="*/ 1223238 w 1321516"/>
                <a:gd name="connsiteY115" fmla="*/ 109854 h 1321561"/>
                <a:gd name="connsiteX116" fmla="*/ 1309801 w 1321516"/>
                <a:gd name="connsiteY116" fmla="*/ 23308 h 1321561"/>
                <a:gd name="connsiteX117" fmla="*/ 1301595 w 1321516"/>
                <a:gd name="connsiteY117" fmla="*/ 19921 h 1321561"/>
                <a:gd name="connsiteX118" fmla="*/ 1301525 w 1321516"/>
                <a:gd name="connsiteY118" fmla="*/ 3527 h 1321561"/>
                <a:gd name="connsiteX119" fmla="*/ 1301648 w 1321516"/>
                <a:gd name="connsiteY119" fmla="*/ 3405 h 1321561"/>
                <a:gd name="connsiteX120" fmla="*/ 1318112 w 1321516"/>
                <a:gd name="connsiteY120" fmla="*/ 3405 h 1321561"/>
                <a:gd name="connsiteX121" fmla="*/ 1318112 w 1321516"/>
                <a:gd name="connsiteY121" fmla="*/ 19869 h 1321561"/>
                <a:gd name="connsiteX122" fmla="*/ 1309783 w 1321516"/>
                <a:gd name="connsiteY122" fmla="*/ 23308 h 132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321516" h="1321561">
                  <a:moveTo>
                    <a:pt x="11635" y="1321544"/>
                  </a:moveTo>
                  <a:cubicBezTo>
                    <a:pt x="8684" y="1321544"/>
                    <a:pt x="5733" y="1320427"/>
                    <a:pt x="3464" y="1318192"/>
                  </a:cubicBezTo>
                  <a:cubicBezTo>
                    <a:pt x="-1111" y="1313688"/>
                    <a:pt x="-1163" y="1306303"/>
                    <a:pt x="3359" y="1301728"/>
                  </a:cubicBezTo>
                  <a:lnTo>
                    <a:pt x="3481" y="1301606"/>
                  </a:lnTo>
                  <a:cubicBezTo>
                    <a:pt x="8003" y="1297032"/>
                    <a:pt x="15371" y="1296979"/>
                    <a:pt x="19945" y="1301501"/>
                  </a:cubicBezTo>
                  <a:cubicBezTo>
                    <a:pt x="24520" y="1306023"/>
                    <a:pt x="24572" y="1313391"/>
                    <a:pt x="20050" y="1317965"/>
                  </a:cubicBezTo>
                  <a:lnTo>
                    <a:pt x="19928" y="1318088"/>
                  </a:lnTo>
                  <a:cubicBezTo>
                    <a:pt x="17658" y="1320392"/>
                    <a:pt x="14655" y="1321562"/>
                    <a:pt x="11635" y="1321562"/>
                  </a:cubicBezTo>
                  <a:close/>
                  <a:moveTo>
                    <a:pt x="98215" y="1234911"/>
                  </a:moveTo>
                  <a:cubicBezTo>
                    <a:pt x="95247" y="1234911"/>
                    <a:pt x="92279" y="1233794"/>
                    <a:pt x="90009" y="1231524"/>
                  </a:cubicBezTo>
                  <a:cubicBezTo>
                    <a:pt x="85470" y="1226985"/>
                    <a:pt x="85400" y="1219669"/>
                    <a:pt x="89939" y="1215130"/>
                  </a:cubicBezTo>
                  <a:lnTo>
                    <a:pt x="90062" y="1215008"/>
                  </a:lnTo>
                  <a:cubicBezTo>
                    <a:pt x="94601" y="1210468"/>
                    <a:pt x="101969" y="1210468"/>
                    <a:pt x="106526" y="1215008"/>
                  </a:cubicBezTo>
                  <a:cubicBezTo>
                    <a:pt x="111065" y="1219548"/>
                    <a:pt x="111065" y="1226915"/>
                    <a:pt x="106526" y="1231472"/>
                  </a:cubicBezTo>
                  <a:cubicBezTo>
                    <a:pt x="104238" y="1233759"/>
                    <a:pt x="101218" y="1234911"/>
                    <a:pt x="98198" y="1234911"/>
                  </a:cubicBezTo>
                  <a:close/>
                  <a:moveTo>
                    <a:pt x="184726" y="1148453"/>
                  </a:moveTo>
                  <a:cubicBezTo>
                    <a:pt x="181723" y="1148453"/>
                    <a:pt x="178720" y="1147301"/>
                    <a:pt x="176433" y="1144979"/>
                  </a:cubicBezTo>
                  <a:cubicBezTo>
                    <a:pt x="171911" y="1140405"/>
                    <a:pt x="171963" y="1133037"/>
                    <a:pt x="176538" y="1128515"/>
                  </a:cubicBezTo>
                  <a:lnTo>
                    <a:pt x="176659" y="1128393"/>
                  </a:lnTo>
                  <a:cubicBezTo>
                    <a:pt x="181234" y="1123871"/>
                    <a:pt x="188602" y="1123923"/>
                    <a:pt x="193124" y="1128497"/>
                  </a:cubicBezTo>
                  <a:cubicBezTo>
                    <a:pt x="197646" y="1133072"/>
                    <a:pt x="197593" y="1140439"/>
                    <a:pt x="193019" y="1144962"/>
                  </a:cubicBezTo>
                  <a:lnTo>
                    <a:pt x="192897" y="1145084"/>
                  </a:lnTo>
                  <a:cubicBezTo>
                    <a:pt x="190627" y="1147318"/>
                    <a:pt x="187676" y="1148436"/>
                    <a:pt x="184726" y="1148436"/>
                  </a:cubicBezTo>
                  <a:close/>
                  <a:moveTo>
                    <a:pt x="271272" y="1061908"/>
                  </a:moveTo>
                  <a:cubicBezTo>
                    <a:pt x="268269" y="1061908"/>
                    <a:pt x="265265" y="1060755"/>
                    <a:pt x="262978" y="1058433"/>
                  </a:cubicBezTo>
                  <a:cubicBezTo>
                    <a:pt x="258456" y="1053859"/>
                    <a:pt x="258509" y="1046491"/>
                    <a:pt x="263083" y="1041969"/>
                  </a:cubicBezTo>
                  <a:lnTo>
                    <a:pt x="263205" y="1041847"/>
                  </a:lnTo>
                  <a:cubicBezTo>
                    <a:pt x="267780" y="1037325"/>
                    <a:pt x="275147" y="1037377"/>
                    <a:pt x="279669" y="1041952"/>
                  </a:cubicBezTo>
                  <a:cubicBezTo>
                    <a:pt x="284191" y="1046526"/>
                    <a:pt x="284139" y="1053894"/>
                    <a:pt x="279565" y="1058416"/>
                  </a:cubicBezTo>
                  <a:lnTo>
                    <a:pt x="279442" y="1058538"/>
                  </a:lnTo>
                  <a:cubicBezTo>
                    <a:pt x="277173" y="1060773"/>
                    <a:pt x="274222" y="1061890"/>
                    <a:pt x="271272" y="1061890"/>
                  </a:cubicBezTo>
                  <a:close/>
                  <a:moveTo>
                    <a:pt x="357834" y="975275"/>
                  </a:moveTo>
                  <a:cubicBezTo>
                    <a:pt x="354866" y="975275"/>
                    <a:pt x="351898" y="974157"/>
                    <a:pt x="349629" y="971888"/>
                  </a:cubicBezTo>
                  <a:cubicBezTo>
                    <a:pt x="345089" y="967348"/>
                    <a:pt x="345019" y="960033"/>
                    <a:pt x="349559" y="955494"/>
                  </a:cubicBezTo>
                  <a:lnTo>
                    <a:pt x="349681" y="955371"/>
                  </a:lnTo>
                  <a:cubicBezTo>
                    <a:pt x="354221" y="950832"/>
                    <a:pt x="361588" y="950832"/>
                    <a:pt x="366145" y="955371"/>
                  </a:cubicBezTo>
                  <a:cubicBezTo>
                    <a:pt x="370685" y="959911"/>
                    <a:pt x="370685" y="967279"/>
                    <a:pt x="366145" y="971835"/>
                  </a:cubicBezTo>
                  <a:cubicBezTo>
                    <a:pt x="363858" y="974122"/>
                    <a:pt x="360837" y="975275"/>
                    <a:pt x="357817" y="975275"/>
                  </a:cubicBezTo>
                  <a:close/>
                  <a:moveTo>
                    <a:pt x="444345" y="888834"/>
                  </a:moveTo>
                  <a:cubicBezTo>
                    <a:pt x="441395" y="888834"/>
                    <a:pt x="438444" y="887717"/>
                    <a:pt x="436174" y="885482"/>
                  </a:cubicBezTo>
                  <a:cubicBezTo>
                    <a:pt x="431600" y="880977"/>
                    <a:pt x="431547" y="873592"/>
                    <a:pt x="436069" y="869018"/>
                  </a:cubicBezTo>
                  <a:lnTo>
                    <a:pt x="436192" y="868895"/>
                  </a:lnTo>
                  <a:cubicBezTo>
                    <a:pt x="440696" y="864321"/>
                    <a:pt x="448082" y="864269"/>
                    <a:pt x="452656" y="868791"/>
                  </a:cubicBezTo>
                  <a:cubicBezTo>
                    <a:pt x="457230" y="873313"/>
                    <a:pt x="457283" y="880680"/>
                    <a:pt x="452761" y="885255"/>
                  </a:cubicBezTo>
                  <a:lnTo>
                    <a:pt x="452638" y="885377"/>
                  </a:lnTo>
                  <a:cubicBezTo>
                    <a:pt x="450368" y="887682"/>
                    <a:pt x="447365" y="888851"/>
                    <a:pt x="444345" y="888851"/>
                  </a:cubicBezTo>
                  <a:close/>
                  <a:moveTo>
                    <a:pt x="530891" y="802289"/>
                  </a:moveTo>
                  <a:cubicBezTo>
                    <a:pt x="527940" y="802289"/>
                    <a:pt x="524989" y="801171"/>
                    <a:pt x="522720" y="798936"/>
                  </a:cubicBezTo>
                  <a:cubicBezTo>
                    <a:pt x="518145" y="794432"/>
                    <a:pt x="518093" y="787047"/>
                    <a:pt x="522615" y="782472"/>
                  </a:cubicBezTo>
                  <a:lnTo>
                    <a:pt x="522737" y="782350"/>
                  </a:lnTo>
                  <a:cubicBezTo>
                    <a:pt x="527242" y="777776"/>
                    <a:pt x="534627" y="777723"/>
                    <a:pt x="539201" y="782245"/>
                  </a:cubicBezTo>
                  <a:cubicBezTo>
                    <a:pt x="543776" y="786767"/>
                    <a:pt x="543828" y="794135"/>
                    <a:pt x="539306" y="798709"/>
                  </a:cubicBezTo>
                  <a:lnTo>
                    <a:pt x="539184" y="798832"/>
                  </a:lnTo>
                  <a:cubicBezTo>
                    <a:pt x="536914" y="801136"/>
                    <a:pt x="533894" y="802306"/>
                    <a:pt x="530891" y="802306"/>
                  </a:cubicBezTo>
                  <a:close/>
                  <a:moveTo>
                    <a:pt x="617436" y="715743"/>
                  </a:moveTo>
                  <a:cubicBezTo>
                    <a:pt x="614433" y="715743"/>
                    <a:pt x="611430" y="714591"/>
                    <a:pt x="609143" y="712268"/>
                  </a:cubicBezTo>
                  <a:cubicBezTo>
                    <a:pt x="604621" y="707694"/>
                    <a:pt x="604674" y="700326"/>
                    <a:pt x="609248" y="695804"/>
                  </a:cubicBezTo>
                  <a:lnTo>
                    <a:pt x="609370" y="695682"/>
                  </a:lnTo>
                  <a:cubicBezTo>
                    <a:pt x="613945" y="691160"/>
                    <a:pt x="621312" y="691212"/>
                    <a:pt x="625834" y="695787"/>
                  </a:cubicBezTo>
                  <a:cubicBezTo>
                    <a:pt x="630356" y="700361"/>
                    <a:pt x="630304" y="707729"/>
                    <a:pt x="625730" y="712251"/>
                  </a:cubicBezTo>
                  <a:lnTo>
                    <a:pt x="625607" y="712373"/>
                  </a:lnTo>
                  <a:cubicBezTo>
                    <a:pt x="623338" y="714608"/>
                    <a:pt x="620387" y="715725"/>
                    <a:pt x="617436" y="715725"/>
                  </a:cubicBezTo>
                  <a:close/>
                  <a:moveTo>
                    <a:pt x="703982" y="629197"/>
                  </a:moveTo>
                  <a:cubicBezTo>
                    <a:pt x="700979" y="629197"/>
                    <a:pt x="697976" y="628045"/>
                    <a:pt x="695689" y="625723"/>
                  </a:cubicBezTo>
                  <a:cubicBezTo>
                    <a:pt x="691167" y="621149"/>
                    <a:pt x="691219" y="613781"/>
                    <a:pt x="695793" y="609259"/>
                  </a:cubicBezTo>
                  <a:lnTo>
                    <a:pt x="695916" y="609136"/>
                  </a:lnTo>
                  <a:cubicBezTo>
                    <a:pt x="700490" y="604615"/>
                    <a:pt x="707858" y="604667"/>
                    <a:pt x="712380" y="609241"/>
                  </a:cubicBezTo>
                  <a:cubicBezTo>
                    <a:pt x="716902" y="613815"/>
                    <a:pt x="716849" y="621184"/>
                    <a:pt x="712275" y="625705"/>
                  </a:cubicBezTo>
                  <a:lnTo>
                    <a:pt x="712153" y="625828"/>
                  </a:lnTo>
                  <a:cubicBezTo>
                    <a:pt x="709883" y="628062"/>
                    <a:pt x="706933" y="629180"/>
                    <a:pt x="703982" y="629180"/>
                  </a:cubicBezTo>
                  <a:close/>
                  <a:moveTo>
                    <a:pt x="790510" y="542669"/>
                  </a:moveTo>
                  <a:cubicBezTo>
                    <a:pt x="787559" y="542669"/>
                    <a:pt x="784609" y="541552"/>
                    <a:pt x="782339" y="539317"/>
                  </a:cubicBezTo>
                  <a:cubicBezTo>
                    <a:pt x="777765" y="534812"/>
                    <a:pt x="777712" y="527427"/>
                    <a:pt x="782235" y="522853"/>
                  </a:cubicBezTo>
                  <a:lnTo>
                    <a:pt x="782357" y="522731"/>
                  </a:lnTo>
                  <a:cubicBezTo>
                    <a:pt x="786861" y="518156"/>
                    <a:pt x="794247" y="518104"/>
                    <a:pt x="798821" y="522626"/>
                  </a:cubicBezTo>
                  <a:cubicBezTo>
                    <a:pt x="803395" y="527130"/>
                    <a:pt x="803448" y="534516"/>
                    <a:pt x="798925" y="539090"/>
                  </a:cubicBezTo>
                  <a:lnTo>
                    <a:pt x="798803" y="539212"/>
                  </a:lnTo>
                  <a:cubicBezTo>
                    <a:pt x="796534" y="541517"/>
                    <a:pt x="793530" y="542686"/>
                    <a:pt x="790510" y="542686"/>
                  </a:cubicBezTo>
                  <a:close/>
                  <a:moveTo>
                    <a:pt x="877055" y="456124"/>
                  </a:moveTo>
                  <a:cubicBezTo>
                    <a:pt x="874105" y="456124"/>
                    <a:pt x="871154" y="455006"/>
                    <a:pt x="868885" y="452771"/>
                  </a:cubicBezTo>
                  <a:cubicBezTo>
                    <a:pt x="864310" y="448267"/>
                    <a:pt x="864258" y="440882"/>
                    <a:pt x="868780" y="436307"/>
                  </a:cubicBezTo>
                  <a:lnTo>
                    <a:pt x="868902" y="436185"/>
                  </a:lnTo>
                  <a:cubicBezTo>
                    <a:pt x="873407" y="431611"/>
                    <a:pt x="880792" y="431558"/>
                    <a:pt x="885366" y="436080"/>
                  </a:cubicBezTo>
                  <a:cubicBezTo>
                    <a:pt x="889941" y="440585"/>
                    <a:pt x="889993" y="447970"/>
                    <a:pt x="885471" y="452544"/>
                  </a:cubicBezTo>
                  <a:lnTo>
                    <a:pt x="885348" y="452667"/>
                  </a:lnTo>
                  <a:cubicBezTo>
                    <a:pt x="883079" y="454971"/>
                    <a:pt x="880076" y="456141"/>
                    <a:pt x="877055" y="456141"/>
                  </a:cubicBezTo>
                  <a:close/>
                  <a:moveTo>
                    <a:pt x="963601" y="369578"/>
                  </a:moveTo>
                  <a:cubicBezTo>
                    <a:pt x="960598" y="369578"/>
                    <a:pt x="957596" y="368426"/>
                    <a:pt x="955308" y="366103"/>
                  </a:cubicBezTo>
                  <a:cubicBezTo>
                    <a:pt x="950786" y="361529"/>
                    <a:pt x="950839" y="354161"/>
                    <a:pt x="955413" y="349640"/>
                  </a:cubicBezTo>
                  <a:lnTo>
                    <a:pt x="955535" y="349517"/>
                  </a:lnTo>
                  <a:cubicBezTo>
                    <a:pt x="960110" y="344995"/>
                    <a:pt x="967477" y="345048"/>
                    <a:pt x="971999" y="349622"/>
                  </a:cubicBezTo>
                  <a:cubicBezTo>
                    <a:pt x="976521" y="354196"/>
                    <a:pt x="976469" y="361564"/>
                    <a:pt x="971895" y="366086"/>
                  </a:cubicBezTo>
                  <a:lnTo>
                    <a:pt x="971772" y="366208"/>
                  </a:lnTo>
                  <a:cubicBezTo>
                    <a:pt x="969502" y="368443"/>
                    <a:pt x="966552" y="369560"/>
                    <a:pt x="963601" y="369560"/>
                  </a:cubicBezTo>
                  <a:close/>
                  <a:moveTo>
                    <a:pt x="1050147" y="283032"/>
                  </a:moveTo>
                  <a:cubicBezTo>
                    <a:pt x="1047144" y="283032"/>
                    <a:pt x="1044141" y="281880"/>
                    <a:pt x="1041854" y="279558"/>
                  </a:cubicBezTo>
                  <a:cubicBezTo>
                    <a:pt x="1037332" y="274984"/>
                    <a:pt x="1037384" y="267616"/>
                    <a:pt x="1041958" y="263094"/>
                  </a:cubicBezTo>
                  <a:lnTo>
                    <a:pt x="1042080" y="262971"/>
                  </a:lnTo>
                  <a:cubicBezTo>
                    <a:pt x="1046655" y="258450"/>
                    <a:pt x="1054023" y="258502"/>
                    <a:pt x="1058545" y="263076"/>
                  </a:cubicBezTo>
                  <a:cubicBezTo>
                    <a:pt x="1063066" y="267651"/>
                    <a:pt x="1063014" y="275019"/>
                    <a:pt x="1058440" y="279540"/>
                  </a:cubicBezTo>
                  <a:lnTo>
                    <a:pt x="1058318" y="279663"/>
                  </a:lnTo>
                  <a:cubicBezTo>
                    <a:pt x="1056048" y="281897"/>
                    <a:pt x="1053097" y="283015"/>
                    <a:pt x="1050147" y="283015"/>
                  </a:cubicBezTo>
                  <a:close/>
                  <a:moveTo>
                    <a:pt x="1136727" y="196399"/>
                  </a:moveTo>
                  <a:cubicBezTo>
                    <a:pt x="1133759" y="196399"/>
                    <a:pt x="1130791" y="195282"/>
                    <a:pt x="1128522" y="193013"/>
                  </a:cubicBezTo>
                  <a:cubicBezTo>
                    <a:pt x="1123982" y="188473"/>
                    <a:pt x="1123912" y="181158"/>
                    <a:pt x="1128452" y="176618"/>
                  </a:cubicBezTo>
                  <a:lnTo>
                    <a:pt x="1128574" y="176496"/>
                  </a:lnTo>
                  <a:cubicBezTo>
                    <a:pt x="1133113" y="171957"/>
                    <a:pt x="1140481" y="171957"/>
                    <a:pt x="1145038" y="176496"/>
                  </a:cubicBezTo>
                  <a:cubicBezTo>
                    <a:pt x="1149595" y="181035"/>
                    <a:pt x="1149578" y="188403"/>
                    <a:pt x="1145038" y="192960"/>
                  </a:cubicBezTo>
                  <a:cubicBezTo>
                    <a:pt x="1142751" y="195247"/>
                    <a:pt x="1139730" y="196399"/>
                    <a:pt x="1136710" y="196399"/>
                  </a:cubicBezTo>
                  <a:close/>
                  <a:moveTo>
                    <a:pt x="1223255" y="109854"/>
                  </a:moveTo>
                  <a:cubicBezTo>
                    <a:pt x="1220288" y="109854"/>
                    <a:pt x="1217319" y="108737"/>
                    <a:pt x="1215050" y="106467"/>
                  </a:cubicBezTo>
                  <a:cubicBezTo>
                    <a:pt x="1210510" y="101927"/>
                    <a:pt x="1210440" y="94612"/>
                    <a:pt x="1214980" y="90072"/>
                  </a:cubicBezTo>
                  <a:lnTo>
                    <a:pt x="1215102" y="89950"/>
                  </a:lnTo>
                  <a:cubicBezTo>
                    <a:pt x="1219641" y="85411"/>
                    <a:pt x="1227010" y="85411"/>
                    <a:pt x="1231566" y="89950"/>
                  </a:cubicBezTo>
                  <a:cubicBezTo>
                    <a:pt x="1236106" y="94490"/>
                    <a:pt x="1236106" y="101857"/>
                    <a:pt x="1231566" y="106414"/>
                  </a:cubicBezTo>
                  <a:cubicBezTo>
                    <a:pt x="1229279" y="108702"/>
                    <a:pt x="1226259" y="109854"/>
                    <a:pt x="1223238" y="109854"/>
                  </a:cubicBezTo>
                  <a:close/>
                  <a:moveTo>
                    <a:pt x="1309801" y="23308"/>
                  </a:moveTo>
                  <a:cubicBezTo>
                    <a:pt x="1306833" y="23308"/>
                    <a:pt x="1303864" y="22191"/>
                    <a:pt x="1301595" y="19921"/>
                  </a:cubicBezTo>
                  <a:cubicBezTo>
                    <a:pt x="1297056" y="15382"/>
                    <a:pt x="1296986" y="8066"/>
                    <a:pt x="1301525" y="3527"/>
                  </a:cubicBezTo>
                  <a:lnTo>
                    <a:pt x="1301648" y="3405"/>
                  </a:lnTo>
                  <a:cubicBezTo>
                    <a:pt x="1306187" y="-1135"/>
                    <a:pt x="1313555" y="-1135"/>
                    <a:pt x="1318112" y="3405"/>
                  </a:cubicBezTo>
                  <a:cubicBezTo>
                    <a:pt x="1322651" y="7944"/>
                    <a:pt x="1322651" y="15312"/>
                    <a:pt x="1318112" y="19869"/>
                  </a:cubicBezTo>
                  <a:cubicBezTo>
                    <a:pt x="1315824" y="22156"/>
                    <a:pt x="1312804" y="23308"/>
                    <a:pt x="1309783" y="23308"/>
                  </a:cubicBezTo>
                  <a:close/>
                </a:path>
              </a:pathLst>
            </a:custGeom>
            <a:grpFill/>
            <a:ln w="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C6C30C5A-C578-F674-4A56-7EB73A275215}"/>
                </a:ext>
              </a:extLst>
            </p:cNvPr>
            <p:cNvSpPr/>
            <p:nvPr/>
          </p:nvSpPr>
          <p:spPr>
            <a:xfrm>
              <a:off x="7679055" y="3988191"/>
              <a:ext cx="1236114" cy="1236092"/>
            </a:xfrm>
            <a:custGeom>
              <a:avLst/>
              <a:gdLst>
                <a:gd name="connsiteX0" fmla="*/ 12215 w 1236114"/>
                <a:gd name="connsiteY0" fmla="*/ 1236075 h 1236092"/>
                <a:gd name="connsiteX1" fmla="*/ 3608 w 1236114"/>
                <a:gd name="connsiteY1" fmla="*/ 1232531 h 1236092"/>
                <a:gd name="connsiteX2" fmla="*/ 3555 w 1236114"/>
                <a:gd name="connsiteY2" fmla="*/ 1215316 h 1236092"/>
                <a:gd name="connsiteX3" fmla="*/ 3678 w 1236114"/>
                <a:gd name="connsiteY3" fmla="*/ 1215194 h 1236092"/>
                <a:gd name="connsiteX4" fmla="*/ 20962 w 1236114"/>
                <a:gd name="connsiteY4" fmla="*/ 1215194 h 1236092"/>
                <a:gd name="connsiteX5" fmla="*/ 20962 w 1236114"/>
                <a:gd name="connsiteY5" fmla="*/ 1232478 h 1236092"/>
                <a:gd name="connsiteX6" fmla="*/ 12232 w 1236114"/>
                <a:gd name="connsiteY6" fmla="*/ 1236092 h 1236092"/>
                <a:gd name="connsiteX7" fmla="*/ 98761 w 1236114"/>
                <a:gd name="connsiteY7" fmla="*/ 1149529 h 1236092"/>
                <a:gd name="connsiteX8" fmla="*/ 90153 w 1236114"/>
                <a:gd name="connsiteY8" fmla="*/ 1145985 h 1236092"/>
                <a:gd name="connsiteX9" fmla="*/ 90083 w 1236114"/>
                <a:gd name="connsiteY9" fmla="*/ 1128770 h 1236092"/>
                <a:gd name="connsiteX10" fmla="*/ 90205 w 1236114"/>
                <a:gd name="connsiteY10" fmla="*/ 1128648 h 1236092"/>
                <a:gd name="connsiteX11" fmla="*/ 107490 w 1236114"/>
                <a:gd name="connsiteY11" fmla="*/ 1128648 h 1236092"/>
                <a:gd name="connsiteX12" fmla="*/ 107490 w 1236114"/>
                <a:gd name="connsiteY12" fmla="*/ 1145932 h 1236092"/>
                <a:gd name="connsiteX13" fmla="*/ 98761 w 1236114"/>
                <a:gd name="connsiteY13" fmla="*/ 1149547 h 1236092"/>
                <a:gd name="connsiteX14" fmla="*/ 185271 w 1236114"/>
                <a:gd name="connsiteY14" fmla="*/ 1063088 h 1236092"/>
                <a:gd name="connsiteX15" fmla="*/ 176577 w 1236114"/>
                <a:gd name="connsiteY15" fmla="*/ 1059440 h 1236092"/>
                <a:gd name="connsiteX16" fmla="*/ 176699 w 1236114"/>
                <a:gd name="connsiteY16" fmla="*/ 1042155 h 1236092"/>
                <a:gd name="connsiteX17" fmla="*/ 176821 w 1236114"/>
                <a:gd name="connsiteY17" fmla="*/ 1042033 h 1236092"/>
                <a:gd name="connsiteX18" fmla="*/ 194106 w 1236114"/>
                <a:gd name="connsiteY18" fmla="*/ 1042155 h 1236092"/>
                <a:gd name="connsiteX19" fmla="*/ 193984 w 1236114"/>
                <a:gd name="connsiteY19" fmla="*/ 1059440 h 1236092"/>
                <a:gd name="connsiteX20" fmla="*/ 193861 w 1236114"/>
                <a:gd name="connsiteY20" fmla="*/ 1059562 h 1236092"/>
                <a:gd name="connsiteX21" fmla="*/ 185271 w 1236114"/>
                <a:gd name="connsiteY21" fmla="*/ 1063088 h 1236092"/>
                <a:gd name="connsiteX22" fmla="*/ 271817 w 1236114"/>
                <a:gd name="connsiteY22" fmla="*/ 976543 h 1236092"/>
                <a:gd name="connsiteX23" fmla="*/ 263122 w 1236114"/>
                <a:gd name="connsiteY23" fmla="*/ 972911 h 1236092"/>
                <a:gd name="connsiteX24" fmla="*/ 263244 w 1236114"/>
                <a:gd name="connsiteY24" fmla="*/ 955626 h 1236092"/>
                <a:gd name="connsiteX25" fmla="*/ 263367 w 1236114"/>
                <a:gd name="connsiteY25" fmla="*/ 955505 h 1236092"/>
                <a:gd name="connsiteX26" fmla="*/ 280651 w 1236114"/>
                <a:gd name="connsiteY26" fmla="*/ 955626 h 1236092"/>
                <a:gd name="connsiteX27" fmla="*/ 280529 w 1236114"/>
                <a:gd name="connsiteY27" fmla="*/ 972911 h 1236092"/>
                <a:gd name="connsiteX28" fmla="*/ 280407 w 1236114"/>
                <a:gd name="connsiteY28" fmla="*/ 973034 h 1236092"/>
                <a:gd name="connsiteX29" fmla="*/ 271817 w 1236114"/>
                <a:gd name="connsiteY29" fmla="*/ 976561 h 1236092"/>
                <a:gd name="connsiteX30" fmla="*/ 358362 w 1236114"/>
                <a:gd name="connsiteY30" fmla="*/ 889997 h 1236092"/>
                <a:gd name="connsiteX31" fmla="*/ 349773 w 1236114"/>
                <a:gd name="connsiteY31" fmla="*/ 886471 h 1236092"/>
                <a:gd name="connsiteX32" fmla="*/ 349650 w 1236114"/>
                <a:gd name="connsiteY32" fmla="*/ 869186 h 1236092"/>
                <a:gd name="connsiteX33" fmla="*/ 349773 w 1236114"/>
                <a:gd name="connsiteY33" fmla="*/ 869064 h 1236092"/>
                <a:gd name="connsiteX34" fmla="*/ 367057 w 1236114"/>
                <a:gd name="connsiteY34" fmla="*/ 868941 h 1236092"/>
                <a:gd name="connsiteX35" fmla="*/ 367179 w 1236114"/>
                <a:gd name="connsiteY35" fmla="*/ 886226 h 1236092"/>
                <a:gd name="connsiteX36" fmla="*/ 367057 w 1236114"/>
                <a:gd name="connsiteY36" fmla="*/ 886348 h 1236092"/>
                <a:gd name="connsiteX37" fmla="*/ 358362 w 1236114"/>
                <a:gd name="connsiteY37" fmla="*/ 889980 h 1236092"/>
                <a:gd name="connsiteX38" fmla="*/ 444891 w 1236114"/>
                <a:gd name="connsiteY38" fmla="*/ 803452 h 1236092"/>
                <a:gd name="connsiteX39" fmla="*/ 436301 w 1236114"/>
                <a:gd name="connsiteY39" fmla="*/ 799925 h 1236092"/>
                <a:gd name="connsiteX40" fmla="*/ 436179 w 1236114"/>
                <a:gd name="connsiteY40" fmla="*/ 782640 h 1236092"/>
                <a:gd name="connsiteX41" fmla="*/ 436301 w 1236114"/>
                <a:gd name="connsiteY41" fmla="*/ 782518 h 1236092"/>
                <a:gd name="connsiteX42" fmla="*/ 453585 w 1236114"/>
                <a:gd name="connsiteY42" fmla="*/ 782396 h 1236092"/>
                <a:gd name="connsiteX43" fmla="*/ 453708 w 1236114"/>
                <a:gd name="connsiteY43" fmla="*/ 799681 h 1236092"/>
                <a:gd name="connsiteX44" fmla="*/ 453585 w 1236114"/>
                <a:gd name="connsiteY44" fmla="*/ 799802 h 1236092"/>
                <a:gd name="connsiteX45" fmla="*/ 444891 w 1236114"/>
                <a:gd name="connsiteY45" fmla="*/ 803452 h 1236092"/>
                <a:gd name="connsiteX46" fmla="*/ 531471 w 1236114"/>
                <a:gd name="connsiteY46" fmla="*/ 716819 h 1236092"/>
                <a:gd name="connsiteX47" fmla="*/ 522864 w 1236114"/>
                <a:gd name="connsiteY47" fmla="*/ 713275 h 1236092"/>
                <a:gd name="connsiteX48" fmla="*/ 522794 w 1236114"/>
                <a:gd name="connsiteY48" fmla="*/ 696060 h 1236092"/>
                <a:gd name="connsiteX49" fmla="*/ 522916 w 1236114"/>
                <a:gd name="connsiteY49" fmla="*/ 695937 h 1236092"/>
                <a:gd name="connsiteX50" fmla="*/ 540201 w 1236114"/>
                <a:gd name="connsiteY50" fmla="*/ 695937 h 1236092"/>
                <a:gd name="connsiteX51" fmla="*/ 540201 w 1236114"/>
                <a:gd name="connsiteY51" fmla="*/ 713222 h 1236092"/>
                <a:gd name="connsiteX52" fmla="*/ 531471 w 1236114"/>
                <a:gd name="connsiteY52" fmla="*/ 716836 h 1236092"/>
                <a:gd name="connsiteX53" fmla="*/ 618017 w 1236114"/>
                <a:gd name="connsiteY53" fmla="*/ 630273 h 1236092"/>
                <a:gd name="connsiteX54" fmla="*/ 609409 w 1236114"/>
                <a:gd name="connsiteY54" fmla="*/ 626729 h 1236092"/>
                <a:gd name="connsiteX55" fmla="*/ 609339 w 1236114"/>
                <a:gd name="connsiteY55" fmla="*/ 609514 h 1236092"/>
                <a:gd name="connsiteX56" fmla="*/ 609462 w 1236114"/>
                <a:gd name="connsiteY56" fmla="*/ 609392 h 1236092"/>
                <a:gd name="connsiteX57" fmla="*/ 626746 w 1236114"/>
                <a:gd name="connsiteY57" fmla="*/ 609392 h 1236092"/>
                <a:gd name="connsiteX58" fmla="*/ 626746 w 1236114"/>
                <a:gd name="connsiteY58" fmla="*/ 626677 h 1236092"/>
                <a:gd name="connsiteX59" fmla="*/ 618017 w 1236114"/>
                <a:gd name="connsiteY59" fmla="*/ 630291 h 1236092"/>
                <a:gd name="connsiteX60" fmla="*/ 704528 w 1236114"/>
                <a:gd name="connsiteY60" fmla="*/ 543832 h 1236092"/>
                <a:gd name="connsiteX61" fmla="*/ 695885 w 1236114"/>
                <a:gd name="connsiteY61" fmla="*/ 540253 h 1236092"/>
                <a:gd name="connsiteX62" fmla="*/ 695885 w 1236114"/>
                <a:gd name="connsiteY62" fmla="*/ 522969 h 1236092"/>
                <a:gd name="connsiteX63" fmla="*/ 696007 w 1236114"/>
                <a:gd name="connsiteY63" fmla="*/ 522846 h 1236092"/>
                <a:gd name="connsiteX64" fmla="*/ 713292 w 1236114"/>
                <a:gd name="connsiteY64" fmla="*/ 522846 h 1236092"/>
                <a:gd name="connsiteX65" fmla="*/ 713292 w 1236114"/>
                <a:gd name="connsiteY65" fmla="*/ 540131 h 1236092"/>
                <a:gd name="connsiteX66" fmla="*/ 713170 w 1236114"/>
                <a:gd name="connsiteY66" fmla="*/ 540253 h 1236092"/>
                <a:gd name="connsiteX67" fmla="*/ 704528 w 1236114"/>
                <a:gd name="connsiteY67" fmla="*/ 543832 h 1236092"/>
                <a:gd name="connsiteX68" fmla="*/ 791073 w 1236114"/>
                <a:gd name="connsiteY68" fmla="*/ 457287 h 1236092"/>
                <a:gd name="connsiteX69" fmla="*/ 782430 w 1236114"/>
                <a:gd name="connsiteY69" fmla="*/ 453707 h 1236092"/>
                <a:gd name="connsiteX70" fmla="*/ 782430 w 1236114"/>
                <a:gd name="connsiteY70" fmla="*/ 436423 h 1236092"/>
                <a:gd name="connsiteX71" fmla="*/ 782553 w 1236114"/>
                <a:gd name="connsiteY71" fmla="*/ 436301 h 1236092"/>
                <a:gd name="connsiteX72" fmla="*/ 799838 w 1236114"/>
                <a:gd name="connsiteY72" fmla="*/ 436301 h 1236092"/>
                <a:gd name="connsiteX73" fmla="*/ 799838 w 1236114"/>
                <a:gd name="connsiteY73" fmla="*/ 453586 h 1236092"/>
                <a:gd name="connsiteX74" fmla="*/ 799715 w 1236114"/>
                <a:gd name="connsiteY74" fmla="*/ 453707 h 1236092"/>
                <a:gd name="connsiteX75" fmla="*/ 791073 w 1236114"/>
                <a:gd name="connsiteY75" fmla="*/ 457287 h 1236092"/>
                <a:gd name="connsiteX76" fmla="*/ 877601 w 1236114"/>
                <a:gd name="connsiteY76" fmla="*/ 370741 h 1236092"/>
                <a:gd name="connsiteX77" fmla="*/ 869029 w 1236114"/>
                <a:gd name="connsiteY77" fmla="*/ 367215 h 1236092"/>
                <a:gd name="connsiteX78" fmla="*/ 868907 w 1236114"/>
                <a:gd name="connsiteY78" fmla="*/ 349930 h 1236092"/>
                <a:gd name="connsiteX79" fmla="*/ 869029 w 1236114"/>
                <a:gd name="connsiteY79" fmla="*/ 349807 h 1236092"/>
                <a:gd name="connsiteX80" fmla="*/ 886313 w 1236114"/>
                <a:gd name="connsiteY80" fmla="*/ 349685 h 1236092"/>
                <a:gd name="connsiteX81" fmla="*/ 886436 w 1236114"/>
                <a:gd name="connsiteY81" fmla="*/ 366970 h 1236092"/>
                <a:gd name="connsiteX82" fmla="*/ 886313 w 1236114"/>
                <a:gd name="connsiteY82" fmla="*/ 367092 h 1236092"/>
                <a:gd name="connsiteX83" fmla="*/ 877618 w 1236114"/>
                <a:gd name="connsiteY83" fmla="*/ 370741 h 1236092"/>
                <a:gd name="connsiteX84" fmla="*/ 964182 w 1236114"/>
                <a:gd name="connsiteY84" fmla="*/ 284108 h 1236092"/>
                <a:gd name="connsiteX85" fmla="*/ 955574 w 1236114"/>
                <a:gd name="connsiteY85" fmla="*/ 280564 h 1236092"/>
                <a:gd name="connsiteX86" fmla="*/ 955522 w 1236114"/>
                <a:gd name="connsiteY86" fmla="*/ 263349 h 1236092"/>
                <a:gd name="connsiteX87" fmla="*/ 955644 w 1236114"/>
                <a:gd name="connsiteY87" fmla="*/ 263227 h 1236092"/>
                <a:gd name="connsiteX88" fmla="*/ 972929 w 1236114"/>
                <a:gd name="connsiteY88" fmla="*/ 263227 h 1236092"/>
                <a:gd name="connsiteX89" fmla="*/ 972929 w 1236114"/>
                <a:gd name="connsiteY89" fmla="*/ 280512 h 1236092"/>
                <a:gd name="connsiteX90" fmla="*/ 964199 w 1236114"/>
                <a:gd name="connsiteY90" fmla="*/ 284126 h 1236092"/>
                <a:gd name="connsiteX91" fmla="*/ 1050692 w 1236114"/>
                <a:gd name="connsiteY91" fmla="*/ 197667 h 1236092"/>
                <a:gd name="connsiteX92" fmla="*/ 1041997 w 1236114"/>
                <a:gd name="connsiteY92" fmla="*/ 194036 h 1236092"/>
                <a:gd name="connsiteX93" fmla="*/ 1042120 w 1236114"/>
                <a:gd name="connsiteY93" fmla="*/ 176751 h 1236092"/>
                <a:gd name="connsiteX94" fmla="*/ 1042242 w 1236114"/>
                <a:gd name="connsiteY94" fmla="*/ 176629 h 1236092"/>
                <a:gd name="connsiteX95" fmla="*/ 1059526 w 1236114"/>
                <a:gd name="connsiteY95" fmla="*/ 176751 h 1236092"/>
                <a:gd name="connsiteX96" fmla="*/ 1059404 w 1236114"/>
                <a:gd name="connsiteY96" fmla="*/ 194036 h 1236092"/>
                <a:gd name="connsiteX97" fmla="*/ 1059283 w 1236114"/>
                <a:gd name="connsiteY97" fmla="*/ 194158 h 1236092"/>
                <a:gd name="connsiteX98" fmla="*/ 1050692 w 1236114"/>
                <a:gd name="connsiteY98" fmla="*/ 197685 h 1236092"/>
                <a:gd name="connsiteX99" fmla="*/ 1137238 w 1236114"/>
                <a:gd name="connsiteY99" fmla="*/ 111122 h 1236092"/>
                <a:gd name="connsiteX100" fmla="*/ 1128543 w 1236114"/>
                <a:gd name="connsiteY100" fmla="*/ 107473 h 1236092"/>
                <a:gd name="connsiteX101" fmla="*/ 1128665 w 1236114"/>
                <a:gd name="connsiteY101" fmla="*/ 90188 h 1236092"/>
                <a:gd name="connsiteX102" fmla="*/ 1128788 w 1236114"/>
                <a:gd name="connsiteY102" fmla="*/ 90066 h 1236092"/>
                <a:gd name="connsiteX103" fmla="*/ 1146073 w 1236114"/>
                <a:gd name="connsiteY103" fmla="*/ 90188 h 1236092"/>
                <a:gd name="connsiteX104" fmla="*/ 1145950 w 1236114"/>
                <a:gd name="connsiteY104" fmla="*/ 107473 h 1236092"/>
                <a:gd name="connsiteX105" fmla="*/ 1145828 w 1236114"/>
                <a:gd name="connsiteY105" fmla="*/ 107595 h 1236092"/>
                <a:gd name="connsiteX106" fmla="*/ 1137238 w 1236114"/>
                <a:gd name="connsiteY106" fmla="*/ 111122 h 1236092"/>
                <a:gd name="connsiteX107" fmla="*/ 1223783 w 1236114"/>
                <a:gd name="connsiteY107" fmla="*/ 24576 h 1236092"/>
                <a:gd name="connsiteX108" fmla="*/ 1215193 w 1236114"/>
                <a:gd name="connsiteY108" fmla="*/ 21050 h 1236092"/>
                <a:gd name="connsiteX109" fmla="*/ 1215072 w 1236114"/>
                <a:gd name="connsiteY109" fmla="*/ 3765 h 1236092"/>
                <a:gd name="connsiteX110" fmla="*/ 1215193 w 1236114"/>
                <a:gd name="connsiteY110" fmla="*/ 3643 h 1236092"/>
                <a:gd name="connsiteX111" fmla="*/ 1232478 w 1236114"/>
                <a:gd name="connsiteY111" fmla="*/ 3521 h 1236092"/>
                <a:gd name="connsiteX112" fmla="*/ 1232601 w 1236114"/>
                <a:gd name="connsiteY112" fmla="*/ 20805 h 1236092"/>
                <a:gd name="connsiteX113" fmla="*/ 1232478 w 1236114"/>
                <a:gd name="connsiteY113" fmla="*/ 20927 h 1236092"/>
                <a:gd name="connsiteX114" fmla="*/ 1223783 w 1236114"/>
                <a:gd name="connsiteY114" fmla="*/ 24559 h 123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236114" h="1236092">
                  <a:moveTo>
                    <a:pt x="12215" y="1236075"/>
                  </a:moveTo>
                  <a:cubicBezTo>
                    <a:pt x="9090" y="1236075"/>
                    <a:pt x="5982" y="1234905"/>
                    <a:pt x="3608" y="1232531"/>
                  </a:cubicBezTo>
                  <a:cubicBezTo>
                    <a:pt x="-1159" y="1227764"/>
                    <a:pt x="-1229" y="1220082"/>
                    <a:pt x="3555" y="1215316"/>
                  </a:cubicBezTo>
                  <a:lnTo>
                    <a:pt x="3678" y="1215194"/>
                  </a:lnTo>
                  <a:cubicBezTo>
                    <a:pt x="8444" y="1210427"/>
                    <a:pt x="16196" y="1210427"/>
                    <a:pt x="20962" y="1215194"/>
                  </a:cubicBezTo>
                  <a:cubicBezTo>
                    <a:pt x="25728" y="1219960"/>
                    <a:pt x="25728" y="1227712"/>
                    <a:pt x="20962" y="1232478"/>
                  </a:cubicBezTo>
                  <a:cubicBezTo>
                    <a:pt x="18553" y="1234888"/>
                    <a:pt x="15393" y="1236092"/>
                    <a:pt x="12232" y="1236092"/>
                  </a:cubicBezTo>
                  <a:close/>
                  <a:moveTo>
                    <a:pt x="98761" y="1149529"/>
                  </a:moveTo>
                  <a:cubicBezTo>
                    <a:pt x="95635" y="1149529"/>
                    <a:pt x="92528" y="1148360"/>
                    <a:pt x="90153" y="1145985"/>
                  </a:cubicBezTo>
                  <a:cubicBezTo>
                    <a:pt x="85387" y="1141219"/>
                    <a:pt x="85317" y="1133537"/>
                    <a:pt x="90083" y="1128770"/>
                  </a:cubicBezTo>
                  <a:lnTo>
                    <a:pt x="90205" y="1128648"/>
                  </a:lnTo>
                  <a:cubicBezTo>
                    <a:pt x="94972" y="1123882"/>
                    <a:pt x="102724" y="1123882"/>
                    <a:pt x="107490" y="1128648"/>
                  </a:cubicBezTo>
                  <a:cubicBezTo>
                    <a:pt x="112257" y="1133414"/>
                    <a:pt x="112257" y="1141166"/>
                    <a:pt x="107490" y="1145932"/>
                  </a:cubicBezTo>
                  <a:cubicBezTo>
                    <a:pt x="105081" y="1148342"/>
                    <a:pt x="101921" y="1149547"/>
                    <a:pt x="98761" y="1149547"/>
                  </a:cubicBezTo>
                  <a:close/>
                  <a:moveTo>
                    <a:pt x="185271" y="1063088"/>
                  </a:moveTo>
                  <a:cubicBezTo>
                    <a:pt x="182111" y="1063088"/>
                    <a:pt x="178968" y="1061866"/>
                    <a:pt x="176577" y="1059440"/>
                  </a:cubicBezTo>
                  <a:cubicBezTo>
                    <a:pt x="171845" y="1054638"/>
                    <a:pt x="171897" y="1046904"/>
                    <a:pt x="176699" y="1042155"/>
                  </a:cubicBezTo>
                  <a:lnTo>
                    <a:pt x="176821" y="1042033"/>
                  </a:lnTo>
                  <a:cubicBezTo>
                    <a:pt x="181622" y="1037283"/>
                    <a:pt x="189374" y="1037336"/>
                    <a:pt x="194106" y="1042155"/>
                  </a:cubicBezTo>
                  <a:cubicBezTo>
                    <a:pt x="198837" y="1046956"/>
                    <a:pt x="198785" y="1054691"/>
                    <a:pt x="193984" y="1059440"/>
                  </a:cubicBezTo>
                  <a:lnTo>
                    <a:pt x="193861" y="1059562"/>
                  </a:lnTo>
                  <a:cubicBezTo>
                    <a:pt x="191487" y="1061919"/>
                    <a:pt x="188379" y="1063088"/>
                    <a:pt x="185271" y="1063088"/>
                  </a:cubicBezTo>
                  <a:close/>
                  <a:moveTo>
                    <a:pt x="271817" y="976543"/>
                  </a:moveTo>
                  <a:cubicBezTo>
                    <a:pt x="268657" y="976543"/>
                    <a:pt x="265514" y="975321"/>
                    <a:pt x="263122" y="972911"/>
                  </a:cubicBezTo>
                  <a:cubicBezTo>
                    <a:pt x="258391" y="968110"/>
                    <a:pt x="258443" y="960376"/>
                    <a:pt x="263244" y="955626"/>
                  </a:cubicBezTo>
                  <a:lnTo>
                    <a:pt x="263367" y="955505"/>
                  </a:lnTo>
                  <a:cubicBezTo>
                    <a:pt x="268168" y="950756"/>
                    <a:pt x="275902" y="950808"/>
                    <a:pt x="280651" y="955626"/>
                  </a:cubicBezTo>
                  <a:cubicBezTo>
                    <a:pt x="285383" y="960428"/>
                    <a:pt x="285330" y="968163"/>
                    <a:pt x="280529" y="972911"/>
                  </a:cubicBezTo>
                  <a:lnTo>
                    <a:pt x="280407" y="973034"/>
                  </a:lnTo>
                  <a:cubicBezTo>
                    <a:pt x="278032" y="975390"/>
                    <a:pt x="274925" y="976561"/>
                    <a:pt x="271817" y="976561"/>
                  </a:cubicBezTo>
                  <a:close/>
                  <a:moveTo>
                    <a:pt x="358362" y="889997"/>
                  </a:moveTo>
                  <a:cubicBezTo>
                    <a:pt x="355255" y="889997"/>
                    <a:pt x="352164" y="888828"/>
                    <a:pt x="349773" y="886471"/>
                  </a:cubicBezTo>
                  <a:cubicBezTo>
                    <a:pt x="344971" y="881739"/>
                    <a:pt x="344919" y="873987"/>
                    <a:pt x="349650" y="869186"/>
                  </a:cubicBezTo>
                  <a:lnTo>
                    <a:pt x="349773" y="869064"/>
                  </a:lnTo>
                  <a:cubicBezTo>
                    <a:pt x="354504" y="864262"/>
                    <a:pt x="362256" y="864192"/>
                    <a:pt x="367057" y="868941"/>
                  </a:cubicBezTo>
                  <a:cubicBezTo>
                    <a:pt x="371858" y="873673"/>
                    <a:pt x="371911" y="881425"/>
                    <a:pt x="367179" y="886226"/>
                  </a:cubicBezTo>
                  <a:lnTo>
                    <a:pt x="367057" y="886348"/>
                  </a:lnTo>
                  <a:cubicBezTo>
                    <a:pt x="364665" y="888775"/>
                    <a:pt x="361505" y="889980"/>
                    <a:pt x="358362" y="889980"/>
                  </a:cubicBezTo>
                  <a:close/>
                  <a:moveTo>
                    <a:pt x="444891" y="803452"/>
                  </a:moveTo>
                  <a:cubicBezTo>
                    <a:pt x="441783" y="803452"/>
                    <a:pt x="438693" y="802282"/>
                    <a:pt x="436301" y="799925"/>
                  </a:cubicBezTo>
                  <a:cubicBezTo>
                    <a:pt x="431500" y="795193"/>
                    <a:pt x="431447" y="787442"/>
                    <a:pt x="436179" y="782640"/>
                  </a:cubicBezTo>
                  <a:lnTo>
                    <a:pt x="436301" y="782518"/>
                  </a:lnTo>
                  <a:cubicBezTo>
                    <a:pt x="441032" y="777717"/>
                    <a:pt x="448784" y="777664"/>
                    <a:pt x="453585" y="782396"/>
                  </a:cubicBezTo>
                  <a:cubicBezTo>
                    <a:pt x="458387" y="787127"/>
                    <a:pt x="458439" y="794879"/>
                    <a:pt x="453708" y="799681"/>
                  </a:cubicBezTo>
                  <a:lnTo>
                    <a:pt x="453585" y="799802"/>
                  </a:lnTo>
                  <a:cubicBezTo>
                    <a:pt x="451193" y="802230"/>
                    <a:pt x="448033" y="803452"/>
                    <a:pt x="444891" y="803452"/>
                  </a:cubicBezTo>
                  <a:close/>
                  <a:moveTo>
                    <a:pt x="531471" y="716819"/>
                  </a:moveTo>
                  <a:cubicBezTo>
                    <a:pt x="528346" y="716819"/>
                    <a:pt x="525221" y="715649"/>
                    <a:pt x="522864" y="713275"/>
                  </a:cubicBezTo>
                  <a:cubicBezTo>
                    <a:pt x="518097" y="708508"/>
                    <a:pt x="518027" y="700826"/>
                    <a:pt x="522794" y="696060"/>
                  </a:cubicBezTo>
                  <a:lnTo>
                    <a:pt x="522916" y="695937"/>
                  </a:lnTo>
                  <a:cubicBezTo>
                    <a:pt x="527682" y="691171"/>
                    <a:pt x="535434" y="691171"/>
                    <a:pt x="540201" y="695937"/>
                  </a:cubicBezTo>
                  <a:cubicBezTo>
                    <a:pt x="544967" y="700704"/>
                    <a:pt x="544967" y="708456"/>
                    <a:pt x="540201" y="713222"/>
                  </a:cubicBezTo>
                  <a:cubicBezTo>
                    <a:pt x="537791" y="715631"/>
                    <a:pt x="534631" y="716836"/>
                    <a:pt x="531471" y="716836"/>
                  </a:cubicBezTo>
                  <a:close/>
                  <a:moveTo>
                    <a:pt x="618017" y="630273"/>
                  </a:moveTo>
                  <a:cubicBezTo>
                    <a:pt x="614891" y="630273"/>
                    <a:pt x="611766" y="629104"/>
                    <a:pt x="609409" y="626729"/>
                  </a:cubicBezTo>
                  <a:cubicBezTo>
                    <a:pt x="604643" y="621963"/>
                    <a:pt x="604573" y="614281"/>
                    <a:pt x="609339" y="609514"/>
                  </a:cubicBezTo>
                  <a:lnTo>
                    <a:pt x="609462" y="609392"/>
                  </a:lnTo>
                  <a:cubicBezTo>
                    <a:pt x="614228" y="604626"/>
                    <a:pt x="621980" y="604626"/>
                    <a:pt x="626746" y="609392"/>
                  </a:cubicBezTo>
                  <a:cubicBezTo>
                    <a:pt x="631513" y="614158"/>
                    <a:pt x="631513" y="621910"/>
                    <a:pt x="626746" y="626677"/>
                  </a:cubicBezTo>
                  <a:cubicBezTo>
                    <a:pt x="624337" y="629086"/>
                    <a:pt x="621177" y="630291"/>
                    <a:pt x="618017" y="630291"/>
                  </a:cubicBezTo>
                  <a:close/>
                  <a:moveTo>
                    <a:pt x="704528" y="543832"/>
                  </a:moveTo>
                  <a:cubicBezTo>
                    <a:pt x="701403" y="543832"/>
                    <a:pt x="698277" y="542645"/>
                    <a:pt x="695885" y="540253"/>
                  </a:cubicBezTo>
                  <a:cubicBezTo>
                    <a:pt x="691119" y="535487"/>
                    <a:pt x="691119" y="527735"/>
                    <a:pt x="695885" y="522969"/>
                  </a:cubicBezTo>
                  <a:lnTo>
                    <a:pt x="696007" y="522846"/>
                  </a:lnTo>
                  <a:cubicBezTo>
                    <a:pt x="700791" y="518080"/>
                    <a:pt x="708525" y="518080"/>
                    <a:pt x="713292" y="522846"/>
                  </a:cubicBezTo>
                  <a:cubicBezTo>
                    <a:pt x="718059" y="527613"/>
                    <a:pt x="718059" y="535365"/>
                    <a:pt x="713292" y="540131"/>
                  </a:cubicBezTo>
                  <a:lnTo>
                    <a:pt x="713170" y="540253"/>
                  </a:lnTo>
                  <a:cubicBezTo>
                    <a:pt x="710778" y="542645"/>
                    <a:pt x="707652" y="543832"/>
                    <a:pt x="704528" y="543832"/>
                  </a:cubicBezTo>
                  <a:close/>
                  <a:moveTo>
                    <a:pt x="791073" y="457287"/>
                  </a:moveTo>
                  <a:cubicBezTo>
                    <a:pt x="787948" y="457287"/>
                    <a:pt x="784823" y="456100"/>
                    <a:pt x="782430" y="453707"/>
                  </a:cubicBezTo>
                  <a:cubicBezTo>
                    <a:pt x="777664" y="448941"/>
                    <a:pt x="777664" y="441189"/>
                    <a:pt x="782430" y="436423"/>
                  </a:cubicBezTo>
                  <a:lnTo>
                    <a:pt x="782553" y="436301"/>
                  </a:lnTo>
                  <a:cubicBezTo>
                    <a:pt x="787320" y="431534"/>
                    <a:pt x="795071" y="431534"/>
                    <a:pt x="799838" y="436301"/>
                  </a:cubicBezTo>
                  <a:cubicBezTo>
                    <a:pt x="804604" y="441067"/>
                    <a:pt x="804604" y="448819"/>
                    <a:pt x="799838" y="453586"/>
                  </a:cubicBezTo>
                  <a:lnTo>
                    <a:pt x="799715" y="453707"/>
                  </a:lnTo>
                  <a:cubicBezTo>
                    <a:pt x="797324" y="456100"/>
                    <a:pt x="794198" y="457287"/>
                    <a:pt x="791073" y="457287"/>
                  </a:cubicBezTo>
                  <a:close/>
                  <a:moveTo>
                    <a:pt x="877601" y="370741"/>
                  </a:moveTo>
                  <a:cubicBezTo>
                    <a:pt x="874511" y="370741"/>
                    <a:pt x="871403" y="369571"/>
                    <a:pt x="869029" y="367215"/>
                  </a:cubicBezTo>
                  <a:cubicBezTo>
                    <a:pt x="864227" y="362483"/>
                    <a:pt x="864175" y="354731"/>
                    <a:pt x="868907" y="349930"/>
                  </a:cubicBezTo>
                  <a:lnTo>
                    <a:pt x="869029" y="349807"/>
                  </a:lnTo>
                  <a:cubicBezTo>
                    <a:pt x="873760" y="345006"/>
                    <a:pt x="881512" y="344954"/>
                    <a:pt x="886313" y="349685"/>
                  </a:cubicBezTo>
                  <a:cubicBezTo>
                    <a:pt x="891114" y="354417"/>
                    <a:pt x="891167" y="362169"/>
                    <a:pt x="886436" y="366970"/>
                  </a:cubicBezTo>
                  <a:lnTo>
                    <a:pt x="886313" y="367092"/>
                  </a:lnTo>
                  <a:cubicBezTo>
                    <a:pt x="883922" y="369519"/>
                    <a:pt x="880762" y="370741"/>
                    <a:pt x="877618" y="370741"/>
                  </a:cubicBezTo>
                  <a:close/>
                  <a:moveTo>
                    <a:pt x="964182" y="284108"/>
                  </a:moveTo>
                  <a:cubicBezTo>
                    <a:pt x="961056" y="284108"/>
                    <a:pt x="957949" y="282939"/>
                    <a:pt x="955574" y="280564"/>
                  </a:cubicBezTo>
                  <a:cubicBezTo>
                    <a:pt x="950807" y="275798"/>
                    <a:pt x="950738" y="268116"/>
                    <a:pt x="955522" y="263349"/>
                  </a:cubicBezTo>
                  <a:lnTo>
                    <a:pt x="955644" y="263227"/>
                  </a:lnTo>
                  <a:cubicBezTo>
                    <a:pt x="960410" y="258461"/>
                    <a:pt x="968163" y="258461"/>
                    <a:pt x="972929" y="263227"/>
                  </a:cubicBezTo>
                  <a:cubicBezTo>
                    <a:pt x="977695" y="267993"/>
                    <a:pt x="977695" y="275745"/>
                    <a:pt x="972929" y="280512"/>
                  </a:cubicBezTo>
                  <a:cubicBezTo>
                    <a:pt x="970519" y="282921"/>
                    <a:pt x="967359" y="284126"/>
                    <a:pt x="964199" y="284126"/>
                  </a:cubicBezTo>
                  <a:close/>
                  <a:moveTo>
                    <a:pt x="1050692" y="197667"/>
                  </a:moveTo>
                  <a:cubicBezTo>
                    <a:pt x="1047532" y="197667"/>
                    <a:pt x="1044389" y="196445"/>
                    <a:pt x="1041997" y="194036"/>
                  </a:cubicBezTo>
                  <a:cubicBezTo>
                    <a:pt x="1037266" y="189235"/>
                    <a:pt x="1037319" y="181500"/>
                    <a:pt x="1042120" y="176751"/>
                  </a:cubicBezTo>
                  <a:lnTo>
                    <a:pt x="1042242" y="176629"/>
                  </a:lnTo>
                  <a:cubicBezTo>
                    <a:pt x="1047043" y="171880"/>
                    <a:pt x="1054778" y="171933"/>
                    <a:pt x="1059526" y="176751"/>
                  </a:cubicBezTo>
                  <a:cubicBezTo>
                    <a:pt x="1064258" y="181553"/>
                    <a:pt x="1064206" y="189287"/>
                    <a:pt x="1059404" y="194036"/>
                  </a:cubicBezTo>
                  <a:lnTo>
                    <a:pt x="1059283" y="194158"/>
                  </a:lnTo>
                  <a:cubicBezTo>
                    <a:pt x="1056908" y="196515"/>
                    <a:pt x="1053800" y="197685"/>
                    <a:pt x="1050692" y="197685"/>
                  </a:cubicBezTo>
                  <a:close/>
                  <a:moveTo>
                    <a:pt x="1137238" y="111122"/>
                  </a:moveTo>
                  <a:cubicBezTo>
                    <a:pt x="1134078" y="111122"/>
                    <a:pt x="1130935" y="109900"/>
                    <a:pt x="1128543" y="107473"/>
                  </a:cubicBezTo>
                  <a:cubicBezTo>
                    <a:pt x="1123812" y="102672"/>
                    <a:pt x="1123864" y="94937"/>
                    <a:pt x="1128665" y="90188"/>
                  </a:cubicBezTo>
                  <a:lnTo>
                    <a:pt x="1128788" y="90066"/>
                  </a:lnTo>
                  <a:cubicBezTo>
                    <a:pt x="1133589" y="85317"/>
                    <a:pt x="1141341" y="85369"/>
                    <a:pt x="1146073" y="90188"/>
                  </a:cubicBezTo>
                  <a:cubicBezTo>
                    <a:pt x="1150804" y="94989"/>
                    <a:pt x="1150751" y="102724"/>
                    <a:pt x="1145950" y="107473"/>
                  </a:cubicBezTo>
                  <a:lnTo>
                    <a:pt x="1145828" y="107595"/>
                  </a:lnTo>
                  <a:cubicBezTo>
                    <a:pt x="1143454" y="109952"/>
                    <a:pt x="1140345" y="111122"/>
                    <a:pt x="1137238" y="111122"/>
                  </a:cubicBezTo>
                  <a:close/>
                  <a:moveTo>
                    <a:pt x="1223783" y="24576"/>
                  </a:moveTo>
                  <a:cubicBezTo>
                    <a:pt x="1220676" y="24576"/>
                    <a:pt x="1217586" y="23406"/>
                    <a:pt x="1215193" y="21050"/>
                  </a:cubicBezTo>
                  <a:cubicBezTo>
                    <a:pt x="1210392" y="16318"/>
                    <a:pt x="1210340" y="8566"/>
                    <a:pt x="1215072" y="3765"/>
                  </a:cubicBezTo>
                  <a:lnTo>
                    <a:pt x="1215193" y="3643"/>
                  </a:lnTo>
                  <a:cubicBezTo>
                    <a:pt x="1219925" y="-1158"/>
                    <a:pt x="1227677" y="-1228"/>
                    <a:pt x="1232478" y="3521"/>
                  </a:cubicBezTo>
                  <a:cubicBezTo>
                    <a:pt x="1237279" y="8252"/>
                    <a:pt x="1237332" y="16004"/>
                    <a:pt x="1232601" y="20805"/>
                  </a:cubicBezTo>
                  <a:lnTo>
                    <a:pt x="1232478" y="20927"/>
                  </a:lnTo>
                  <a:cubicBezTo>
                    <a:pt x="1230086" y="23354"/>
                    <a:pt x="1226926" y="24559"/>
                    <a:pt x="1223783" y="24559"/>
                  </a:cubicBezTo>
                  <a:close/>
                </a:path>
              </a:pathLst>
            </a:custGeom>
            <a:grpFill/>
            <a:ln w="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97A1AD8-8E6E-8CF0-F427-1EF525B45B71}"/>
                </a:ext>
              </a:extLst>
            </p:cNvPr>
            <p:cNvSpPr/>
            <p:nvPr/>
          </p:nvSpPr>
          <p:spPr>
            <a:xfrm>
              <a:off x="7827548" y="4134371"/>
              <a:ext cx="1064203" cy="1064142"/>
            </a:xfrm>
            <a:custGeom>
              <a:avLst/>
              <a:gdLst>
                <a:gd name="connsiteX0" fmla="*/ 12807 w 1064203"/>
                <a:gd name="connsiteY0" fmla="*/ 1064143 h 1064142"/>
                <a:gd name="connsiteX1" fmla="*/ 3780 w 1064203"/>
                <a:gd name="connsiteY1" fmla="*/ 1060424 h 1064142"/>
                <a:gd name="connsiteX2" fmla="*/ 3710 w 1064203"/>
                <a:gd name="connsiteY2" fmla="*/ 1042371 h 1064142"/>
                <a:gd name="connsiteX3" fmla="*/ 3832 w 1064203"/>
                <a:gd name="connsiteY3" fmla="*/ 1042249 h 1064142"/>
                <a:gd name="connsiteX4" fmla="*/ 21938 w 1064203"/>
                <a:gd name="connsiteY4" fmla="*/ 1042249 h 1064142"/>
                <a:gd name="connsiteX5" fmla="*/ 21938 w 1064203"/>
                <a:gd name="connsiteY5" fmla="*/ 1060354 h 1064142"/>
                <a:gd name="connsiteX6" fmla="*/ 12789 w 1064203"/>
                <a:gd name="connsiteY6" fmla="*/ 1064143 h 1064142"/>
                <a:gd name="connsiteX7" fmla="*/ 99317 w 1064203"/>
                <a:gd name="connsiteY7" fmla="*/ 977684 h 1064142"/>
                <a:gd name="connsiteX8" fmla="*/ 90203 w 1064203"/>
                <a:gd name="connsiteY8" fmla="*/ 973878 h 1064142"/>
                <a:gd name="connsiteX9" fmla="*/ 90326 w 1064203"/>
                <a:gd name="connsiteY9" fmla="*/ 955773 h 1064142"/>
                <a:gd name="connsiteX10" fmla="*/ 90448 w 1064203"/>
                <a:gd name="connsiteY10" fmla="*/ 955651 h 1064142"/>
                <a:gd name="connsiteX11" fmla="*/ 108553 w 1064203"/>
                <a:gd name="connsiteY11" fmla="*/ 955773 h 1064142"/>
                <a:gd name="connsiteX12" fmla="*/ 108431 w 1064203"/>
                <a:gd name="connsiteY12" fmla="*/ 973878 h 1064142"/>
                <a:gd name="connsiteX13" fmla="*/ 108309 w 1064203"/>
                <a:gd name="connsiteY13" fmla="*/ 974000 h 1064142"/>
                <a:gd name="connsiteX14" fmla="*/ 99317 w 1064203"/>
                <a:gd name="connsiteY14" fmla="*/ 977684 h 1064142"/>
                <a:gd name="connsiteX15" fmla="*/ 185863 w 1064203"/>
                <a:gd name="connsiteY15" fmla="*/ 891156 h 1064142"/>
                <a:gd name="connsiteX16" fmla="*/ 176749 w 1064203"/>
                <a:gd name="connsiteY16" fmla="*/ 887350 h 1064142"/>
                <a:gd name="connsiteX17" fmla="*/ 176871 w 1064203"/>
                <a:gd name="connsiteY17" fmla="*/ 869245 h 1064142"/>
                <a:gd name="connsiteX18" fmla="*/ 176993 w 1064203"/>
                <a:gd name="connsiteY18" fmla="*/ 869123 h 1064142"/>
                <a:gd name="connsiteX19" fmla="*/ 195099 w 1064203"/>
                <a:gd name="connsiteY19" fmla="*/ 869245 h 1064142"/>
                <a:gd name="connsiteX20" fmla="*/ 194976 w 1064203"/>
                <a:gd name="connsiteY20" fmla="*/ 887350 h 1064142"/>
                <a:gd name="connsiteX21" fmla="*/ 194855 w 1064203"/>
                <a:gd name="connsiteY21" fmla="*/ 887472 h 1064142"/>
                <a:gd name="connsiteX22" fmla="*/ 185863 w 1064203"/>
                <a:gd name="connsiteY22" fmla="*/ 891156 h 1064142"/>
                <a:gd name="connsiteX23" fmla="*/ 272408 w 1064203"/>
                <a:gd name="connsiteY23" fmla="*/ 804611 h 1064142"/>
                <a:gd name="connsiteX24" fmla="*/ 263417 w 1064203"/>
                <a:gd name="connsiteY24" fmla="*/ 800927 h 1064142"/>
                <a:gd name="connsiteX25" fmla="*/ 263295 w 1064203"/>
                <a:gd name="connsiteY25" fmla="*/ 782821 h 1064142"/>
                <a:gd name="connsiteX26" fmla="*/ 263417 w 1064203"/>
                <a:gd name="connsiteY26" fmla="*/ 782699 h 1064142"/>
                <a:gd name="connsiteX27" fmla="*/ 281522 w 1064203"/>
                <a:gd name="connsiteY27" fmla="*/ 782577 h 1064142"/>
                <a:gd name="connsiteX28" fmla="*/ 281644 w 1064203"/>
                <a:gd name="connsiteY28" fmla="*/ 800682 h 1064142"/>
                <a:gd name="connsiteX29" fmla="*/ 281522 w 1064203"/>
                <a:gd name="connsiteY29" fmla="*/ 800804 h 1064142"/>
                <a:gd name="connsiteX30" fmla="*/ 272408 w 1064203"/>
                <a:gd name="connsiteY30" fmla="*/ 804611 h 1064142"/>
                <a:gd name="connsiteX31" fmla="*/ 358954 w 1064203"/>
                <a:gd name="connsiteY31" fmla="*/ 718065 h 1064142"/>
                <a:gd name="connsiteX32" fmla="*/ 349962 w 1064203"/>
                <a:gd name="connsiteY32" fmla="*/ 714381 h 1064142"/>
                <a:gd name="connsiteX33" fmla="*/ 349840 w 1064203"/>
                <a:gd name="connsiteY33" fmla="*/ 696276 h 1064142"/>
                <a:gd name="connsiteX34" fmla="*/ 349962 w 1064203"/>
                <a:gd name="connsiteY34" fmla="*/ 696154 h 1064142"/>
                <a:gd name="connsiteX35" fmla="*/ 368068 w 1064203"/>
                <a:gd name="connsiteY35" fmla="*/ 696031 h 1064142"/>
                <a:gd name="connsiteX36" fmla="*/ 368190 w 1064203"/>
                <a:gd name="connsiteY36" fmla="*/ 714137 h 1064142"/>
                <a:gd name="connsiteX37" fmla="*/ 368068 w 1064203"/>
                <a:gd name="connsiteY37" fmla="*/ 714259 h 1064142"/>
                <a:gd name="connsiteX38" fmla="*/ 358954 w 1064203"/>
                <a:gd name="connsiteY38" fmla="*/ 718065 h 1064142"/>
                <a:gd name="connsiteX39" fmla="*/ 445517 w 1064203"/>
                <a:gd name="connsiteY39" fmla="*/ 631432 h 1064142"/>
                <a:gd name="connsiteX40" fmla="*/ 436491 w 1064203"/>
                <a:gd name="connsiteY40" fmla="*/ 627713 h 1064142"/>
                <a:gd name="connsiteX41" fmla="*/ 436421 w 1064203"/>
                <a:gd name="connsiteY41" fmla="*/ 609660 h 1064142"/>
                <a:gd name="connsiteX42" fmla="*/ 436543 w 1064203"/>
                <a:gd name="connsiteY42" fmla="*/ 609538 h 1064142"/>
                <a:gd name="connsiteX43" fmla="*/ 454648 w 1064203"/>
                <a:gd name="connsiteY43" fmla="*/ 609538 h 1064142"/>
                <a:gd name="connsiteX44" fmla="*/ 454648 w 1064203"/>
                <a:gd name="connsiteY44" fmla="*/ 627643 h 1064142"/>
                <a:gd name="connsiteX45" fmla="*/ 445499 w 1064203"/>
                <a:gd name="connsiteY45" fmla="*/ 631414 h 1064142"/>
                <a:gd name="connsiteX46" fmla="*/ 532063 w 1064203"/>
                <a:gd name="connsiteY46" fmla="*/ 544887 h 1064142"/>
                <a:gd name="connsiteX47" fmla="*/ 523036 w 1064203"/>
                <a:gd name="connsiteY47" fmla="*/ 541168 h 1064142"/>
                <a:gd name="connsiteX48" fmla="*/ 522966 w 1064203"/>
                <a:gd name="connsiteY48" fmla="*/ 523115 h 1064142"/>
                <a:gd name="connsiteX49" fmla="*/ 523089 w 1064203"/>
                <a:gd name="connsiteY49" fmla="*/ 522993 h 1064142"/>
                <a:gd name="connsiteX50" fmla="*/ 541194 w 1064203"/>
                <a:gd name="connsiteY50" fmla="*/ 522993 h 1064142"/>
                <a:gd name="connsiteX51" fmla="*/ 541194 w 1064203"/>
                <a:gd name="connsiteY51" fmla="*/ 541098 h 1064142"/>
                <a:gd name="connsiteX52" fmla="*/ 532045 w 1064203"/>
                <a:gd name="connsiteY52" fmla="*/ 544887 h 1064142"/>
                <a:gd name="connsiteX53" fmla="*/ 618573 w 1064203"/>
                <a:gd name="connsiteY53" fmla="*/ 458446 h 1064142"/>
                <a:gd name="connsiteX54" fmla="*/ 609512 w 1064203"/>
                <a:gd name="connsiteY54" fmla="*/ 454692 h 1064142"/>
                <a:gd name="connsiteX55" fmla="*/ 609512 w 1064203"/>
                <a:gd name="connsiteY55" fmla="*/ 436587 h 1064142"/>
                <a:gd name="connsiteX56" fmla="*/ 609634 w 1064203"/>
                <a:gd name="connsiteY56" fmla="*/ 436464 h 1064142"/>
                <a:gd name="connsiteX57" fmla="*/ 627740 w 1064203"/>
                <a:gd name="connsiteY57" fmla="*/ 436464 h 1064142"/>
                <a:gd name="connsiteX58" fmla="*/ 627740 w 1064203"/>
                <a:gd name="connsiteY58" fmla="*/ 454570 h 1064142"/>
                <a:gd name="connsiteX59" fmla="*/ 627618 w 1064203"/>
                <a:gd name="connsiteY59" fmla="*/ 454692 h 1064142"/>
                <a:gd name="connsiteX60" fmla="*/ 618555 w 1064203"/>
                <a:gd name="connsiteY60" fmla="*/ 458446 h 1064142"/>
                <a:gd name="connsiteX61" fmla="*/ 705119 w 1064203"/>
                <a:gd name="connsiteY61" fmla="*/ 371900 h 1064142"/>
                <a:gd name="connsiteX62" fmla="*/ 696057 w 1064203"/>
                <a:gd name="connsiteY62" fmla="*/ 368147 h 1064142"/>
                <a:gd name="connsiteX63" fmla="*/ 696057 w 1064203"/>
                <a:gd name="connsiteY63" fmla="*/ 350041 h 1064142"/>
                <a:gd name="connsiteX64" fmla="*/ 696179 w 1064203"/>
                <a:gd name="connsiteY64" fmla="*/ 349919 h 1064142"/>
                <a:gd name="connsiteX65" fmla="*/ 714285 w 1064203"/>
                <a:gd name="connsiteY65" fmla="*/ 349919 h 1064142"/>
                <a:gd name="connsiteX66" fmla="*/ 714285 w 1064203"/>
                <a:gd name="connsiteY66" fmla="*/ 368024 h 1064142"/>
                <a:gd name="connsiteX67" fmla="*/ 714163 w 1064203"/>
                <a:gd name="connsiteY67" fmla="*/ 368147 h 1064142"/>
                <a:gd name="connsiteX68" fmla="*/ 705102 w 1064203"/>
                <a:gd name="connsiteY68" fmla="*/ 371900 h 1064142"/>
                <a:gd name="connsiteX69" fmla="*/ 791665 w 1064203"/>
                <a:gd name="connsiteY69" fmla="*/ 285354 h 1064142"/>
                <a:gd name="connsiteX70" fmla="*/ 782673 w 1064203"/>
                <a:gd name="connsiteY70" fmla="*/ 281671 h 1064142"/>
                <a:gd name="connsiteX71" fmla="*/ 782551 w 1064203"/>
                <a:gd name="connsiteY71" fmla="*/ 263565 h 1064142"/>
                <a:gd name="connsiteX72" fmla="*/ 782673 w 1064203"/>
                <a:gd name="connsiteY72" fmla="*/ 263443 h 1064142"/>
                <a:gd name="connsiteX73" fmla="*/ 800778 w 1064203"/>
                <a:gd name="connsiteY73" fmla="*/ 263321 h 1064142"/>
                <a:gd name="connsiteX74" fmla="*/ 800901 w 1064203"/>
                <a:gd name="connsiteY74" fmla="*/ 281426 h 1064142"/>
                <a:gd name="connsiteX75" fmla="*/ 800778 w 1064203"/>
                <a:gd name="connsiteY75" fmla="*/ 281548 h 1064142"/>
                <a:gd name="connsiteX76" fmla="*/ 791665 w 1064203"/>
                <a:gd name="connsiteY76" fmla="*/ 285354 h 1064142"/>
                <a:gd name="connsiteX77" fmla="*/ 878227 w 1064203"/>
                <a:gd name="connsiteY77" fmla="*/ 198722 h 1064142"/>
                <a:gd name="connsiteX78" fmla="*/ 869201 w 1064203"/>
                <a:gd name="connsiteY78" fmla="*/ 195003 h 1064142"/>
                <a:gd name="connsiteX79" fmla="*/ 869131 w 1064203"/>
                <a:gd name="connsiteY79" fmla="*/ 176950 h 1064142"/>
                <a:gd name="connsiteX80" fmla="*/ 869254 w 1064203"/>
                <a:gd name="connsiteY80" fmla="*/ 176828 h 1064142"/>
                <a:gd name="connsiteX81" fmla="*/ 887358 w 1064203"/>
                <a:gd name="connsiteY81" fmla="*/ 176828 h 1064142"/>
                <a:gd name="connsiteX82" fmla="*/ 887358 w 1064203"/>
                <a:gd name="connsiteY82" fmla="*/ 194933 h 1064142"/>
                <a:gd name="connsiteX83" fmla="*/ 878210 w 1064203"/>
                <a:gd name="connsiteY83" fmla="*/ 198704 h 1064142"/>
                <a:gd name="connsiteX84" fmla="*/ 964738 w 1064203"/>
                <a:gd name="connsiteY84" fmla="*/ 112263 h 1064142"/>
                <a:gd name="connsiteX85" fmla="*/ 955624 w 1064203"/>
                <a:gd name="connsiteY85" fmla="*/ 108457 h 1064142"/>
                <a:gd name="connsiteX86" fmla="*/ 955747 w 1064203"/>
                <a:gd name="connsiteY86" fmla="*/ 90352 h 1064142"/>
                <a:gd name="connsiteX87" fmla="*/ 955869 w 1064203"/>
                <a:gd name="connsiteY87" fmla="*/ 90230 h 1064142"/>
                <a:gd name="connsiteX88" fmla="*/ 973974 w 1064203"/>
                <a:gd name="connsiteY88" fmla="*/ 90352 h 1064142"/>
                <a:gd name="connsiteX89" fmla="*/ 973852 w 1064203"/>
                <a:gd name="connsiteY89" fmla="*/ 108457 h 1064142"/>
                <a:gd name="connsiteX90" fmla="*/ 973730 w 1064203"/>
                <a:gd name="connsiteY90" fmla="*/ 108579 h 1064142"/>
                <a:gd name="connsiteX91" fmla="*/ 964738 w 1064203"/>
                <a:gd name="connsiteY91" fmla="*/ 112263 h 1064142"/>
                <a:gd name="connsiteX92" fmla="*/ 1051284 w 1064203"/>
                <a:gd name="connsiteY92" fmla="*/ 25718 h 1064142"/>
                <a:gd name="connsiteX93" fmla="*/ 1042170 w 1064203"/>
                <a:gd name="connsiteY93" fmla="*/ 21912 h 1064142"/>
                <a:gd name="connsiteX94" fmla="*/ 1042292 w 1064203"/>
                <a:gd name="connsiteY94" fmla="*/ 3806 h 1064142"/>
                <a:gd name="connsiteX95" fmla="*/ 1042414 w 1064203"/>
                <a:gd name="connsiteY95" fmla="*/ 3684 h 1064142"/>
                <a:gd name="connsiteX96" fmla="*/ 1060520 w 1064203"/>
                <a:gd name="connsiteY96" fmla="*/ 3806 h 1064142"/>
                <a:gd name="connsiteX97" fmla="*/ 1060398 w 1064203"/>
                <a:gd name="connsiteY97" fmla="*/ 21912 h 1064142"/>
                <a:gd name="connsiteX98" fmla="*/ 1060275 w 1064203"/>
                <a:gd name="connsiteY98" fmla="*/ 22034 h 1064142"/>
                <a:gd name="connsiteX99" fmla="*/ 1051284 w 1064203"/>
                <a:gd name="connsiteY99" fmla="*/ 25718 h 1064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64203" h="1064142">
                  <a:moveTo>
                    <a:pt x="12807" y="1064143"/>
                  </a:moveTo>
                  <a:cubicBezTo>
                    <a:pt x="9542" y="1064143"/>
                    <a:pt x="6259" y="1062903"/>
                    <a:pt x="3780" y="1060424"/>
                  </a:cubicBezTo>
                  <a:cubicBezTo>
                    <a:pt x="-1213" y="1055430"/>
                    <a:pt x="-1283" y="1047382"/>
                    <a:pt x="3710" y="1042371"/>
                  </a:cubicBezTo>
                  <a:lnTo>
                    <a:pt x="3832" y="1042249"/>
                  </a:lnTo>
                  <a:cubicBezTo>
                    <a:pt x="8826" y="1037255"/>
                    <a:pt x="16944" y="1037255"/>
                    <a:pt x="21938" y="1042249"/>
                  </a:cubicBezTo>
                  <a:cubicBezTo>
                    <a:pt x="26931" y="1047242"/>
                    <a:pt x="26931" y="1055361"/>
                    <a:pt x="21938" y="1060354"/>
                  </a:cubicBezTo>
                  <a:cubicBezTo>
                    <a:pt x="19423" y="1062868"/>
                    <a:pt x="16106" y="1064143"/>
                    <a:pt x="12789" y="1064143"/>
                  </a:cubicBezTo>
                  <a:close/>
                  <a:moveTo>
                    <a:pt x="99317" y="977684"/>
                  </a:moveTo>
                  <a:cubicBezTo>
                    <a:pt x="96017" y="977684"/>
                    <a:pt x="92700" y="976410"/>
                    <a:pt x="90203" y="973878"/>
                  </a:cubicBezTo>
                  <a:cubicBezTo>
                    <a:pt x="85245" y="968850"/>
                    <a:pt x="85298" y="960731"/>
                    <a:pt x="90326" y="955773"/>
                  </a:cubicBezTo>
                  <a:lnTo>
                    <a:pt x="90448" y="955651"/>
                  </a:lnTo>
                  <a:cubicBezTo>
                    <a:pt x="95476" y="950692"/>
                    <a:pt x="103595" y="950745"/>
                    <a:pt x="108553" y="955773"/>
                  </a:cubicBezTo>
                  <a:cubicBezTo>
                    <a:pt x="113512" y="960801"/>
                    <a:pt x="113459" y="968920"/>
                    <a:pt x="108431" y="973878"/>
                  </a:cubicBezTo>
                  <a:lnTo>
                    <a:pt x="108309" y="974000"/>
                  </a:lnTo>
                  <a:cubicBezTo>
                    <a:pt x="105812" y="976462"/>
                    <a:pt x="102565" y="977684"/>
                    <a:pt x="99317" y="977684"/>
                  </a:cubicBezTo>
                  <a:close/>
                  <a:moveTo>
                    <a:pt x="185863" y="891156"/>
                  </a:moveTo>
                  <a:cubicBezTo>
                    <a:pt x="182563" y="891156"/>
                    <a:pt x="179246" y="889882"/>
                    <a:pt x="176749" y="887350"/>
                  </a:cubicBezTo>
                  <a:cubicBezTo>
                    <a:pt x="171790" y="882322"/>
                    <a:pt x="171843" y="874203"/>
                    <a:pt x="176871" y="869245"/>
                  </a:cubicBezTo>
                  <a:lnTo>
                    <a:pt x="176993" y="869123"/>
                  </a:lnTo>
                  <a:cubicBezTo>
                    <a:pt x="182022" y="864164"/>
                    <a:pt x="190140" y="864216"/>
                    <a:pt x="195099" y="869245"/>
                  </a:cubicBezTo>
                  <a:cubicBezTo>
                    <a:pt x="200057" y="874273"/>
                    <a:pt x="200005" y="882391"/>
                    <a:pt x="194976" y="887350"/>
                  </a:cubicBezTo>
                  <a:lnTo>
                    <a:pt x="194855" y="887472"/>
                  </a:lnTo>
                  <a:cubicBezTo>
                    <a:pt x="192358" y="889934"/>
                    <a:pt x="189110" y="891156"/>
                    <a:pt x="185863" y="891156"/>
                  </a:cubicBezTo>
                  <a:close/>
                  <a:moveTo>
                    <a:pt x="272408" y="804611"/>
                  </a:moveTo>
                  <a:cubicBezTo>
                    <a:pt x="269161" y="804611"/>
                    <a:pt x="265914" y="803388"/>
                    <a:pt x="263417" y="800927"/>
                  </a:cubicBezTo>
                  <a:cubicBezTo>
                    <a:pt x="258389" y="795968"/>
                    <a:pt x="258319" y="787850"/>
                    <a:pt x="263295" y="782821"/>
                  </a:cubicBezTo>
                  <a:lnTo>
                    <a:pt x="263417" y="782699"/>
                  </a:lnTo>
                  <a:cubicBezTo>
                    <a:pt x="268375" y="777671"/>
                    <a:pt x="276494" y="777601"/>
                    <a:pt x="281522" y="782577"/>
                  </a:cubicBezTo>
                  <a:cubicBezTo>
                    <a:pt x="286550" y="787536"/>
                    <a:pt x="286620" y="795654"/>
                    <a:pt x="281644" y="800682"/>
                  </a:cubicBezTo>
                  <a:lnTo>
                    <a:pt x="281522" y="800804"/>
                  </a:lnTo>
                  <a:cubicBezTo>
                    <a:pt x="279026" y="803353"/>
                    <a:pt x="275708" y="804611"/>
                    <a:pt x="272408" y="804611"/>
                  </a:cubicBezTo>
                  <a:close/>
                  <a:moveTo>
                    <a:pt x="358954" y="718065"/>
                  </a:moveTo>
                  <a:cubicBezTo>
                    <a:pt x="355707" y="718065"/>
                    <a:pt x="352459" y="716843"/>
                    <a:pt x="349962" y="714381"/>
                  </a:cubicBezTo>
                  <a:cubicBezTo>
                    <a:pt x="344934" y="709423"/>
                    <a:pt x="344864" y="701304"/>
                    <a:pt x="349840" y="696276"/>
                  </a:cubicBezTo>
                  <a:lnTo>
                    <a:pt x="349962" y="696154"/>
                  </a:lnTo>
                  <a:cubicBezTo>
                    <a:pt x="354921" y="691126"/>
                    <a:pt x="363039" y="691056"/>
                    <a:pt x="368068" y="696031"/>
                  </a:cubicBezTo>
                  <a:cubicBezTo>
                    <a:pt x="373096" y="700990"/>
                    <a:pt x="373166" y="709108"/>
                    <a:pt x="368190" y="714137"/>
                  </a:cubicBezTo>
                  <a:lnTo>
                    <a:pt x="368068" y="714259"/>
                  </a:lnTo>
                  <a:cubicBezTo>
                    <a:pt x="365571" y="716808"/>
                    <a:pt x="362254" y="718065"/>
                    <a:pt x="358954" y="718065"/>
                  </a:cubicBezTo>
                  <a:close/>
                  <a:moveTo>
                    <a:pt x="445517" y="631432"/>
                  </a:moveTo>
                  <a:cubicBezTo>
                    <a:pt x="442252" y="631432"/>
                    <a:pt x="438970" y="630192"/>
                    <a:pt x="436491" y="627713"/>
                  </a:cubicBezTo>
                  <a:cubicBezTo>
                    <a:pt x="431497" y="622720"/>
                    <a:pt x="431428" y="614671"/>
                    <a:pt x="436421" y="609660"/>
                  </a:cubicBezTo>
                  <a:lnTo>
                    <a:pt x="436543" y="609538"/>
                  </a:lnTo>
                  <a:cubicBezTo>
                    <a:pt x="441536" y="604545"/>
                    <a:pt x="449655" y="604545"/>
                    <a:pt x="454648" y="609538"/>
                  </a:cubicBezTo>
                  <a:cubicBezTo>
                    <a:pt x="459642" y="614532"/>
                    <a:pt x="459642" y="622650"/>
                    <a:pt x="454648" y="627643"/>
                  </a:cubicBezTo>
                  <a:cubicBezTo>
                    <a:pt x="452134" y="630157"/>
                    <a:pt x="448817" y="631414"/>
                    <a:pt x="445499" y="631414"/>
                  </a:cubicBezTo>
                  <a:close/>
                  <a:moveTo>
                    <a:pt x="532063" y="544887"/>
                  </a:moveTo>
                  <a:cubicBezTo>
                    <a:pt x="528798" y="544887"/>
                    <a:pt x="525515" y="543647"/>
                    <a:pt x="523036" y="541168"/>
                  </a:cubicBezTo>
                  <a:cubicBezTo>
                    <a:pt x="518043" y="536175"/>
                    <a:pt x="517973" y="528126"/>
                    <a:pt x="522966" y="523115"/>
                  </a:cubicBezTo>
                  <a:lnTo>
                    <a:pt x="523089" y="522993"/>
                  </a:lnTo>
                  <a:cubicBezTo>
                    <a:pt x="528082" y="517999"/>
                    <a:pt x="536200" y="517999"/>
                    <a:pt x="541194" y="522993"/>
                  </a:cubicBezTo>
                  <a:cubicBezTo>
                    <a:pt x="546187" y="527986"/>
                    <a:pt x="546187" y="536105"/>
                    <a:pt x="541194" y="541098"/>
                  </a:cubicBezTo>
                  <a:cubicBezTo>
                    <a:pt x="538680" y="543612"/>
                    <a:pt x="535362" y="544887"/>
                    <a:pt x="532045" y="544887"/>
                  </a:cubicBezTo>
                  <a:close/>
                  <a:moveTo>
                    <a:pt x="618573" y="458446"/>
                  </a:moveTo>
                  <a:cubicBezTo>
                    <a:pt x="615291" y="458446"/>
                    <a:pt x="612026" y="457189"/>
                    <a:pt x="609512" y="454692"/>
                  </a:cubicBezTo>
                  <a:cubicBezTo>
                    <a:pt x="604518" y="449699"/>
                    <a:pt x="604518" y="441580"/>
                    <a:pt x="609512" y="436587"/>
                  </a:cubicBezTo>
                  <a:lnTo>
                    <a:pt x="609634" y="436464"/>
                  </a:lnTo>
                  <a:cubicBezTo>
                    <a:pt x="614627" y="431471"/>
                    <a:pt x="622746" y="431471"/>
                    <a:pt x="627740" y="436464"/>
                  </a:cubicBezTo>
                  <a:cubicBezTo>
                    <a:pt x="632733" y="441458"/>
                    <a:pt x="632733" y="449576"/>
                    <a:pt x="627740" y="454570"/>
                  </a:cubicBezTo>
                  <a:lnTo>
                    <a:pt x="627618" y="454692"/>
                  </a:lnTo>
                  <a:cubicBezTo>
                    <a:pt x="625121" y="457189"/>
                    <a:pt x="621838" y="458446"/>
                    <a:pt x="618555" y="458446"/>
                  </a:cubicBezTo>
                  <a:close/>
                  <a:moveTo>
                    <a:pt x="705119" y="371900"/>
                  </a:moveTo>
                  <a:cubicBezTo>
                    <a:pt x="701837" y="371900"/>
                    <a:pt x="698571" y="370643"/>
                    <a:pt x="696057" y="368147"/>
                  </a:cubicBezTo>
                  <a:cubicBezTo>
                    <a:pt x="691064" y="363153"/>
                    <a:pt x="691064" y="355035"/>
                    <a:pt x="696057" y="350041"/>
                  </a:cubicBezTo>
                  <a:lnTo>
                    <a:pt x="696179" y="349919"/>
                  </a:lnTo>
                  <a:cubicBezTo>
                    <a:pt x="701173" y="344926"/>
                    <a:pt x="709292" y="344926"/>
                    <a:pt x="714285" y="349919"/>
                  </a:cubicBezTo>
                  <a:cubicBezTo>
                    <a:pt x="719279" y="354912"/>
                    <a:pt x="719279" y="363031"/>
                    <a:pt x="714285" y="368024"/>
                  </a:cubicBezTo>
                  <a:lnTo>
                    <a:pt x="714163" y="368147"/>
                  </a:lnTo>
                  <a:cubicBezTo>
                    <a:pt x="711666" y="370643"/>
                    <a:pt x="708384" y="371900"/>
                    <a:pt x="705102" y="371900"/>
                  </a:cubicBezTo>
                  <a:close/>
                  <a:moveTo>
                    <a:pt x="791665" y="285354"/>
                  </a:moveTo>
                  <a:cubicBezTo>
                    <a:pt x="788417" y="285354"/>
                    <a:pt x="785170" y="284132"/>
                    <a:pt x="782673" y="281671"/>
                  </a:cubicBezTo>
                  <a:cubicBezTo>
                    <a:pt x="777645" y="276712"/>
                    <a:pt x="777575" y="268594"/>
                    <a:pt x="782551" y="263565"/>
                  </a:cubicBezTo>
                  <a:lnTo>
                    <a:pt x="782673" y="263443"/>
                  </a:lnTo>
                  <a:cubicBezTo>
                    <a:pt x="787632" y="258415"/>
                    <a:pt x="795750" y="258345"/>
                    <a:pt x="800778" y="263321"/>
                  </a:cubicBezTo>
                  <a:cubicBezTo>
                    <a:pt x="805806" y="268279"/>
                    <a:pt x="805876" y="276398"/>
                    <a:pt x="800901" y="281426"/>
                  </a:cubicBezTo>
                  <a:lnTo>
                    <a:pt x="800778" y="281548"/>
                  </a:lnTo>
                  <a:cubicBezTo>
                    <a:pt x="798264" y="284097"/>
                    <a:pt x="794964" y="285354"/>
                    <a:pt x="791665" y="285354"/>
                  </a:cubicBezTo>
                  <a:close/>
                  <a:moveTo>
                    <a:pt x="878227" y="198722"/>
                  </a:moveTo>
                  <a:cubicBezTo>
                    <a:pt x="874963" y="198722"/>
                    <a:pt x="871680" y="197482"/>
                    <a:pt x="869201" y="195003"/>
                  </a:cubicBezTo>
                  <a:cubicBezTo>
                    <a:pt x="864208" y="190010"/>
                    <a:pt x="864138" y="181961"/>
                    <a:pt x="869131" y="176950"/>
                  </a:cubicBezTo>
                  <a:lnTo>
                    <a:pt x="869254" y="176828"/>
                  </a:lnTo>
                  <a:cubicBezTo>
                    <a:pt x="874247" y="171834"/>
                    <a:pt x="882365" y="171834"/>
                    <a:pt x="887358" y="176828"/>
                  </a:cubicBezTo>
                  <a:cubicBezTo>
                    <a:pt x="892352" y="181821"/>
                    <a:pt x="892352" y="189940"/>
                    <a:pt x="887358" y="194933"/>
                  </a:cubicBezTo>
                  <a:cubicBezTo>
                    <a:pt x="884844" y="197447"/>
                    <a:pt x="881527" y="198704"/>
                    <a:pt x="878210" y="198704"/>
                  </a:cubicBezTo>
                  <a:close/>
                  <a:moveTo>
                    <a:pt x="964738" y="112263"/>
                  </a:moveTo>
                  <a:cubicBezTo>
                    <a:pt x="961438" y="112263"/>
                    <a:pt x="958121" y="110989"/>
                    <a:pt x="955624" y="108457"/>
                  </a:cubicBezTo>
                  <a:cubicBezTo>
                    <a:pt x="950666" y="103429"/>
                    <a:pt x="950718" y="95311"/>
                    <a:pt x="955747" y="90352"/>
                  </a:cubicBezTo>
                  <a:lnTo>
                    <a:pt x="955869" y="90230"/>
                  </a:lnTo>
                  <a:cubicBezTo>
                    <a:pt x="960897" y="85271"/>
                    <a:pt x="969015" y="85323"/>
                    <a:pt x="973974" y="90352"/>
                  </a:cubicBezTo>
                  <a:cubicBezTo>
                    <a:pt x="978933" y="95380"/>
                    <a:pt x="978880" y="103499"/>
                    <a:pt x="973852" y="108457"/>
                  </a:cubicBezTo>
                  <a:lnTo>
                    <a:pt x="973730" y="108579"/>
                  </a:lnTo>
                  <a:cubicBezTo>
                    <a:pt x="971233" y="111041"/>
                    <a:pt x="967986" y="112263"/>
                    <a:pt x="964738" y="112263"/>
                  </a:cubicBezTo>
                  <a:close/>
                  <a:moveTo>
                    <a:pt x="1051284" y="25718"/>
                  </a:moveTo>
                  <a:cubicBezTo>
                    <a:pt x="1047984" y="25718"/>
                    <a:pt x="1044666" y="24443"/>
                    <a:pt x="1042170" y="21912"/>
                  </a:cubicBezTo>
                  <a:cubicBezTo>
                    <a:pt x="1037211" y="16883"/>
                    <a:pt x="1037264" y="8765"/>
                    <a:pt x="1042292" y="3806"/>
                  </a:cubicBezTo>
                  <a:lnTo>
                    <a:pt x="1042414" y="3684"/>
                  </a:lnTo>
                  <a:cubicBezTo>
                    <a:pt x="1047443" y="-1274"/>
                    <a:pt x="1055561" y="-1222"/>
                    <a:pt x="1060520" y="3806"/>
                  </a:cubicBezTo>
                  <a:cubicBezTo>
                    <a:pt x="1065478" y="8835"/>
                    <a:pt x="1065426" y="16953"/>
                    <a:pt x="1060398" y="21912"/>
                  </a:cubicBezTo>
                  <a:lnTo>
                    <a:pt x="1060275" y="22034"/>
                  </a:lnTo>
                  <a:cubicBezTo>
                    <a:pt x="1057779" y="24496"/>
                    <a:pt x="1054531" y="25718"/>
                    <a:pt x="1051284" y="25718"/>
                  </a:cubicBezTo>
                  <a:close/>
                </a:path>
              </a:pathLst>
            </a:custGeom>
            <a:grpFill/>
            <a:ln w="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52EB0273-92A3-B4B9-5929-24B8C1E3EE75}"/>
                </a:ext>
              </a:extLst>
            </p:cNvPr>
            <p:cNvSpPr/>
            <p:nvPr/>
          </p:nvSpPr>
          <p:spPr>
            <a:xfrm>
              <a:off x="7976061" y="4193999"/>
              <a:ext cx="978801" cy="978762"/>
            </a:xfrm>
            <a:custGeom>
              <a:avLst/>
              <a:gdLst>
                <a:gd name="connsiteX0" fmla="*/ 13378 w 978801"/>
                <a:gd name="connsiteY0" fmla="*/ 978763 h 978762"/>
                <a:gd name="connsiteX1" fmla="*/ 3950 w 978801"/>
                <a:gd name="connsiteY1" fmla="*/ 974869 h 978762"/>
                <a:gd name="connsiteX2" fmla="*/ 3880 w 978801"/>
                <a:gd name="connsiteY2" fmla="*/ 955996 h 978762"/>
                <a:gd name="connsiteX3" fmla="*/ 4003 w 978801"/>
                <a:gd name="connsiteY3" fmla="*/ 955873 h 978762"/>
                <a:gd name="connsiteX4" fmla="*/ 22928 w 978801"/>
                <a:gd name="connsiteY4" fmla="*/ 955873 h 978762"/>
                <a:gd name="connsiteX5" fmla="*/ 22928 w 978801"/>
                <a:gd name="connsiteY5" fmla="*/ 974799 h 978762"/>
                <a:gd name="connsiteX6" fmla="*/ 13378 w 978801"/>
                <a:gd name="connsiteY6" fmla="*/ 978745 h 978762"/>
                <a:gd name="connsiteX7" fmla="*/ 99889 w 978801"/>
                <a:gd name="connsiteY7" fmla="*/ 892304 h 978762"/>
                <a:gd name="connsiteX8" fmla="*/ 90426 w 978801"/>
                <a:gd name="connsiteY8" fmla="*/ 888376 h 978762"/>
                <a:gd name="connsiteX9" fmla="*/ 90426 w 978801"/>
                <a:gd name="connsiteY9" fmla="*/ 869450 h 978762"/>
                <a:gd name="connsiteX10" fmla="*/ 90548 w 978801"/>
                <a:gd name="connsiteY10" fmla="*/ 869328 h 978762"/>
                <a:gd name="connsiteX11" fmla="*/ 109474 w 978801"/>
                <a:gd name="connsiteY11" fmla="*/ 869328 h 978762"/>
                <a:gd name="connsiteX12" fmla="*/ 109474 w 978801"/>
                <a:gd name="connsiteY12" fmla="*/ 888254 h 978762"/>
                <a:gd name="connsiteX13" fmla="*/ 109352 w 978801"/>
                <a:gd name="connsiteY13" fmla="*/ 888376 h 978762"/>
                <a:gd name="connsiteX14" fmla="*/ 99889 w 978801"/>
                <a:gd name="connsiteY14" fmla="*/ 892304 h 978762"/>
                <a:gd name="connsiteX15" fmla="*/ 186435 w 978801"/>
                <a:gd name="connsiteY15" fmla="*/ 805759 h 978762"/>
                <a:gd name="connsiteX16" fmla="*/ 176971 w 978801"/>
                <a:gd name="connsiteY16" fmla="*/ 801830 h 978762"/>
                <a:gd name="connsiteX17" fmla="*/ 176971 w 978801"/>
                <a:gd name="connsiteY17" fmla="*/ 782905 h 978762"/>
                <a:gd name="connsiteX18" fmla="*/ 177094 w 978801"/>
                <a:gd name="connsiteY18" fmla="*/ 782782 h 978762"/>
                <a:gd name="connsiteX19" fmla="*/ 196020 w 978801"/>
                <a:gd name="connsiteY19" fmla="*/ 782782 h 978762"/>
                <a:gd name="connsiteX20" fmla="*/ 196020 w 978801"/>
                <a:gd name="connsiteY20" fmla="*/ 801708 h 978762"/>
                <a:gd name="connsiteX21" fmla="*/ 195897 w 978801"/>
                <a:gd name="connsiteY21" fmla="*/ 801830 h 978762"/>
                <a:gd name="connsiteX22" fmla="*/ 186435 w 978801"/>
                <a:gd name="connsiteY22" fmla="*/ 805759 h 978762"/>
                <a:gd name="connsiteX23" fmla="*/ 273015 w 978801"/>
                <a:gd name="connsiteY23" fmla="*/ 719126 h 978762"/>
                <a:gd name="connsiteX24" fmla="*/ 263587 w 978801"/>
                <a:gd name="connsiteY24" fmla="*/ 715232 h 978762"/>
                <a:gd name="connsiteX25" fmla="*/ 263517 w 978801"/>
                <a:gd name="connsiteY25" fmla="*/ 696359 h 978762"/>
                <a:gd name="connsiteX26" fmla="*/ 263639 w 978801"/>
                <a:gd name="connsiteY26" fmla="*/ 696237 h 978762"/>
                <a:gd name="connsiteX27" fmla="*/ 282565 w 978801"/>
                <a:gd name="connsiteY27" fmla="*/ 696237 h 978762"/>
                <a:gd name="connsiteX28" fmla="*/ 282565 w 978801"/>
                <a:gd name="connsiteY28" fmla="*/ 715163 h 978762"/>
                <a:gd name="connsiteX29" fmla="*/ 273015 w 978801"/>
                <a:gd name="connsiteY29" fmla="*/ 719108 h 978762"/>
                <a:gd name="connsiteX30" fmla="*/ 359561 w 978801"/>
                <a:gd name="connsiteY30" fmla="*/ 632580 h 978762"/>
                <a:gd name="connsiteX31" fmla="*/ 350133 w 978801"/>
                <a:gd name="connsiteY31" fmla="*/ 628687 h 978762"/>
                <a:gd name="connsiteX32" fmla="*/ 350063 w 978801"/>
                <a:gd name="connsiteY32" fmla="*/ 609813 h 978762"/>
                <a:gd name="connsiteX33" fmla="*/ 350185 w 978801"/>
                <a:gd name="connsiteY33" fmla="*/ 609691 h 978762"/>
                <a:gd name="connsiteX34" fmla="*/ 369111 w 978801"/>
                <a:gd name="connsiteY34" fmla="*/ 609691 h 978762"/>
                <a:gd name="connsiteX35" fmla="*/ 369111 w 978801"/>
                <a:gd name="connsiteY35" fmla="*/ 628617 h 978762"/>
                <a:gd name="connsiteX36" fmla="*/ 359561 w 978801"/>
                <a:gd name="connsiteY36" fmla="*/ 632563 h 978762"/>
                <a:gd name="connsiteX37" fmla="*/ 446089 w 978801"/>
                <a:gd name="connsiteY37" fmla="*/ 546052 h 978762"/>
                <a:gd name="connsiteX38" fmla="*/ 436661 w 978801"/>
                <a:gd name="connsiteY38" fmla="*/ 542159 h 978762"/>
                <a:gd name="connsiteX39" fmla="*/ 436591 w 978801"/>
                <a:gd name="connsiteY39" fmla="*/ 523285 h 978762"/>
                <a:gd name="connsiteX40" fmla="*/ 436713 w 978801"/>
                <a:gd name="connsiteY40" fmla="*/ 523163 h 978762"/>
                <a:gd name="connsiteX41" fmla="*/ 455639 w 978801"/>
                <a:gd name="connsiteY41" fmla="*/ 523163 h 978762"/>
                <a:gd name="connsiteX42" fmla="*/ 455639 w 978801"/>
                <a:gd name="connsiteY42" fmla="*/ 542089 h 978762"/>
                <a:gd name="connsiteX43" fmla="*/ 446089 w 978801"/>
                <a:gd name="connsiteY43" fmla="*/ 546034 h 978762"/>
                <a:gd name="connsiteX44" fmla="*/ 532599 w 978801"/>
                <a:gd name="connsiteY44" fmla="*/ 459594 h 978762"/>
                <a:gd name="connsiteX45" fmla="*/ 523136 w 978801"/>
                <a:gd name="connsiteY45" fmla="*/ 455665 h 978762"/>
                <a:gd name="connsiteX46" fmla="*/ 523136 w 978801"/>
                <a:gd name="connsiteY46" fmla="*/ 436740 h 978762"/>
                <a:gd name="connsiteX47" fmla="*/ 523258 w 978801"/>
                <a:gd name="connsiteY47" fmla="*/ 436617 h 978762"/>
                <a:gd name="connsiteX48" fmla="*/ 542185 w 978801"/>
                <a:gd name="connsiteY48" fmla="*/ 436617 h 978762"/>
                <a:gd name="connsiteX49" fmla="*/ 542185 w 978801"/>
                <a:gd name="connsiteY49" fmla="*/ 455543 h 978762"/>
                <a:gd name="connsiteX50" fmla="*/ 542062 w 978801"/>
                <a:gd name="connsiteY50" fmla="*/ 455665 h 978762"/>
                <a:gd name="connsiteX51" fmla="*/ 532599 w 978801"/>
                <a:gd name="connsiteY51" fmla="*/ 459594 h 978762"/>
                <a:gd name="connsiteX52" fmla="*/ 619145 w 978801"/>
                <a:gd name="connsiteY52" fmla="*/ 373048 h 978762"/>
                <a:gd name="connsiteX53" fmla="*/ 609682 w 978801"/>
                <a:gd name="connsiteY53" fmla="*/ 369120 h 978762"/>
                <a:gd name="connsiteX54" fmla="*/ 609682 w 978801"/>
                <a:gd name="connsiteY54" fmla="*/ 350194 h 978762"/>
                <a:gd name="connsiteX55" fmla="*/ 609804 w 978801"/>
                <a:gd name="connsiteY55" fmla="*/ 350072 h 978762"/>
                <a:gd name="connsiteX56" fmla="*/ 628730 w 978801"/>
                <a:gd name="connsiteY56" fmla="*/ 350072 h 978762"/>
                <a:gd name="connsiteX57" fmla="*/ 628730 w 978801"/>
                <a:gd name="connsiteY57" fmla="*/ 368998 h 978762"/>
                <a:gd name="connsiteX58" fmla="*/ 628608 w 978801"/>
                <a:gd name="connsiteY58" fmla="*/ 369120 h 978762"/>
                <a:gd name="connsiteX59" fmla="*/ 619145 w 978801"/>
                <a:gd name="connsiteY59" fmla="*/ 373048 h 978762"/>
                <a:gd name="connsiteX60" fmla="*/ 705691 w 978801"/>
                <a:gd name="connsiteY60" fmla="*/ 286503 h 978762"/>
                <a:gd name="connsiteX61" fmla="*/ 696158 w 978801"/>
                <a:gd name="connsiteY61" fmla="*/ 282522 h 978762"/>
                <a:gd name="connsiteX62" fmla="*/ 696280 w 978801"/>
                <a:gd name="connsiteY62" fmla="*/ 263596 h 978762"/>
                <a:gd name="connsiteX63" fmla="*/ 696403 w 978801"/>
                <a:gd name="connsiteY63" fmla="*/ 263474 h 978762"/>
                <a:gd name="connsiteX64" fmla="*/ 715328 w 978801"/>
                <a:gd name="connsiteY64" fmla="*/ 263596 h 978762"/>
                <a:gd name="connsiteX65" fmla="*/ 715206 w 978801"/>
                <a:gd name="connsiteY65" fmla="*/ 282522 h 978762"/>
                <a:gd name="connsiteX66" fmla="*/ 715083 w 978801"/>
                <a:gd name="connsiteY66" fmla="*/ 282644 h 978762"/>
                <a:gd name="connsiteX67" fmla="*/ 705691 w 978801"/>
                <a:gd name="connsiteY67" fmla="*/ 286503 h 978762"/>
                <a:gd name="connsiteX68" fmla="*/ 792271 w 978801"/>
                <a:gd name="connsiteY68" fmla="*/ 199870 h 978762"/>
                <a:gd name="connsiteX69" fmla="*/ 782843 w 978801"/>
                <a:gd name="connsiteY69" fmla="*/ 195976 h 978762"/>
                <a:gd name="connsiteX70" fmla="*/ 782773 w 978801"/>
                <a:gd name="connsiteY70" fmla="*/ 177103 h 978762"/>
                <a:gd name="connsiteX71" fmla="*/ 782896 w 978801"/>
                <a:gd name="connsiteY71" fmla="*/ 176981 h 978762"/>
                <a:gd name="connsiteX72" fmla="*/ 801821 w 978801"/>
                <a:gd name="connsiteY72" fmla="*/ 176981 h 978762"/>
                <a:gd name="connsiteX73" fmla="*/ 801821 w 978801"/>
                <a:gd name="connsiteY73" fmla="*/ 195907 h 978762"/>
                <a:gd name="connsiteX74" fmla="*/ 792271 w 978801"/>
                <a:gd name="connsiteY74" fmla="*/ 199852 h 978762"/>
                <a:gd name="connsiteX75" fmla="*/ 878799 w 978801"/>
                <a:gd name="connsiteY75" fmla="*/ 113342 h 978762"/>
                <a:gd name="connsiteX76" fmla="*/ 869371 w 978801"/>
                <a:gd name="connsiteY76" fmla="*/ 109448 h 978762"/>
                <a:gd name="connsiteX77" fmla="*/ 869301 w 978801"/>
                <a:gd name="connsiteY77" fmla="*/ 90575 h 978762"/>
                <a:gd name="connsiteX78" fmla="*/ 869423 w 978801"/>
                <a:gd name="connsiteY78" fmla="*/ 90452 h 978762"/>
                <a:gd name="connsiteX79" fmla="*/ 888350 w 978801"/>
                <a:gd name="connsiteY79" fmla="*/ 90452 h 978762"/>
                <a:gd name="connsiteX80" fmla="*/ 888350 w 978801"/>
                <a:gd name="connsiteY80" fmla="*/ 109378 h 978762"/>
                <a:gd name="connsiteX81" fmla="*/ 878799 w 978801"/>
                <a:gd name="connsiteY81" fmla="*/ 113324 h 978762"/>
                <a:gd name="connsiteX82" fmla="*/ 965310 w 978801"/>
                <a:gd name="connsiteY82" fmla="*/ 26883 h 978762"/>
                <a:gd name="connsiteX83" fmla="*/ 955777 w 978801"/>
                <a:gd name="connsiteY83" fmla="*/ 22903 h 978762"/>
                <a:gd name="connsiteX84" fmla="*/ 955899 w 978801"/>
                <a:gd name="connsiteY84" fmla="*/ 3977 h 978762"/>
                <a:gd name="connsiteX85" fmla="*/ 956021 w 978801"/>
                <a:gd name="connsiteY85" fmla="*/ 3855 h 978762"/>
                <a:gd name="connsiteX86" fmla="*/ 974948 w 978801"/>
                <a:gd name="connsiteY86" fmla="*/ 3977 h 978762"/>
                <a:gd name="connsiteX87" fmla="*/ 974825 w 978801"/>
                <a:gd name="connsiteY87" fmla="*/ 22903 h 978762"/>
                <a:gd name="connsiteX88" fmla="*/ 974703 w 978801"/>
                <a:gd name="connsiteY88" fmla="*/ 23025 h 978762"/>
                <a:gd name="connsiteX89" fmla="*/ 965310 w 978801"/>
                <a:gd name="connsiteY89" fmla="*/ 26883 h 97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978801" h="978762">
                  <a:moveTo>
                    <a:pt x="13378" y="978763"/>
                  </a:moveTo>
                  <a:cubicBezTo>
                    <a:pt x="9956" y="978763"/>
                    <a:pt x="6534" y="977471"/>
                    <a:pt x="3950" y="974869"/>
                  </a:cubicBezTo>
                  <a:cubicBezTo>
                    <a:pt x="-1270" y="969649"/>
                    <a:pt x="-1340" y="961233"/>
                    <a:pt x="3880" y="955996"/>
                  </a:cubicBezTo>
                  <a:lnTo>
                    <a:pt x="4003" y="955873"/>
                  </a:lnTo>
                  <a:cubicBezTo>
                    <a:pt x="9223" y="950653"/>
                    <a:pt x="17708" y="950653"/>
                    <a:pt x="22928" y="955873"/>
                  </a:cubicBezTo>
                  <a:cubicBezTo>
                    <a:pt x="28149" y="961094"/>
                    <a:pt x="28149" y="969579"/>
                    <a:pt x="22928" y="974799"/>
                  </a:cubicBezTo>
                  <a:cubicBezTo>
                    <a:pt x="20292" y="977436"/>
                    <a:pt x="16835" y="978745"/>
                    <a:pt x="13378" y="978745"/>
                  </a:cubicBezTo>
                  <a:close/>
                  <a:moveTo>
                    <a:pt x="99889" y="892304"/>
                  </a:moveTo>
                  <a:cubicBezTo>
                    <a:pt x="96467" y="892304"/>
                    <a:pt x="93045" y="890995"/>
                    <a:pt x="90426" y="888376"/>
                  </a:cubicBezTo>
                  <a:cubicBezTo>
                    <a:pt x="85205" y="883156"/>
                    <a:pt x="85205" y="874670"/>
                    <a:pt x="90426" y="869450"/>
                  </a:cubicBezTo>
                  <a:lnTo>
                    <a:pt x="90548" y="869328"/>
                  </a:lnTo>
                  <a:cubicBezTo>
                    <a:pt x="95768" y="864108"/>
                    <a:pt x="104254" y="864108"/>
                    <a:pt x="109474" y="869328"/>
                  </a:cubicBezTo>
                  <a:cubicBezTo>
                    <a:pt x="114694" y="874548"/>
                    <a:pt x="114694" y="883033"/>
                    <a:pt x="109474" y="888254"/>
                  </a:cubicBezTo>
                  <a:lnTo>
                    <a:pt x="109352" y="888376"/>
                  </a:lnTo>
                  <a:cubicBezTo>
                    <a:pt x="106733" y="890995"/>
                    <a:pt x="103311" y="892304"/>
                    <a:pt x="99889" y="892304"/>
                  </a:cubicBezTo>
                  <a:close/>
                  <a:moveTo>
                    <a:pt x="186435" y="805759"/>
                  </a:moveTo>
                  <a:cubicBezTo>
                    <a:pt x="183012" y="805759"/>
                    <a:pt x="179590" y="804449"/>
                    <a:pt x="176971" y="801830"/>
                  </a:cubicBezTo>
                  <a:cubicBezTo>
                    <a:pt x="171751" y="796610"/>
                    <a:pt x="171751" y="788125"/>
                    <a:pt x="176971" y="782905"/>
                  </a:cubicBezTo>
                  <a:lnTo>
                    <a:pt x="177094" y="782782"/>
                  </a:lnTo>
                  <a:cubicBezTo>
                    <a:pt x="182314" y="777562"/>
                    <a:pt x="190799" y="777562"/>
                    <a:pt x="196020" y="782782"/>
                  </a:cubicBezTo>
                  <a:cubicBezTo>
                    <a:pt x="201240" y="788003"/>
                    <a:pt x="201240" y="796488"/>
                    <a:pt x="196020" y="801708"/>
                  </a:cubicBezTo>
                  <a:lnTo>
                    <a:pt x="195897" y="801830"/>
                  </a:lnTo>
                  <a:cubicBezTo>
                    <a:pt x="193279" y="804449"/>
                    <a:pt x="189857" y="805759"/>
                    <a:pt x="186435" y="805759"/>
                  </a:cubicBezTo>
                  <a:close/>
                  <a:moveTo>
                    <a:pt x="273015" y="719126"/>
                  </a:moveTo>
                  <a:cubicBezTo>
                    <a:pt x="269593" y="719126"/>
                    <a:pt x="266188" y="717834"/>
                    <a:pt x="263587" y="715232"/>
                  </a:cubicBezTo>
                  <a:cubicBezTo>
                    <a:pt x="258367" y="710012"/>
                    <a:pt x="258297" y="701597"/>
                    <a:pt x="263517" y="696359"/>
                  </a:cubicBezTo>
                  <a:lnTo>
                    <a:pt x="263639" y="696237"/>
                  </a:lnTo>
                  <a:cubicBezTo>
                    <a:pt x="268860" y="691016"/>
                    <a:pt x="277345" y="691016"/>
                    <a:pt x="282565" y="696237"/>
                  </a:cubicBezTo>
                  <a:cubicBezTo>
                    <a:pt x="287785" y="701457"/>
                    <a:pt x="287785" y="709942"/>
                    <a:pt x="282565" y="715163"/>
                  </a:cubicBezTo>
                  <a:cubicBezTo>
                    <a:pt x="279929" y="717799"/>
                    <a:pt x="276472" y="719108"/>
                    <a:pt x="273015" y="719108"/>
                  </a:cubicBezTo>
                  <a:close/>
                  <a:moveTo>
                    <a:pt x="359561" y="632580"/>
                  </a:moveTo>
                  <a:cubicBezTo>
                    <a:pt x="356139" y="632580"/>
                    <a:pt x="352717" y="631288"/>
                    <a:pt x="350133" y="628687"/>
                  </a:cubicBezTo>
                  <a:cubicBezTo>
                    <a:pt x="344912" y="623466"/>
                    <a:pt x="344843" y="615051"/>
                    <a:pt x="350063" y="609813"/>
                  </a:cubicBezTo>
                  <a:lnTo>
                    <a:pt x="350185" y="609691"/>
                  </a:lnTo>
                  <a:cubicBezTo>
                    <a:pt x="355405" y="604471"/>
                    <a:pt x="363890" y="604471"/>
                    <a:pt x="369111" y="609691"/>
                  </a:cubicBezTo>
                  <a:cubicBezTo>
                    <a:pt x="374331" y="614912"/>
                    <a:pt x="374331" y="623397"/>
                    <a:pt x="369111" y="628617"/>
                  </a:cubicBezTo>
                  <a:cubicBezTo>
                    <a:pt x="366492" y="631253"/>
                    <a:pt x="363018" y="632563"/>
                    <a:pt x="359561" y="632563"/>
                  </a:cubicBezTo>
                  <a:close/>
                  <a:moveTo>
                    <a:pt x="446089" y="546052"/>
                  </a:moveTo>
                  <a:cubicBezTo>
                    <a:pt x="442667" y="546052"/>
                    <a:pt x="439245" y="544760"/>
                    <a:pt x="436661" y="542159"/>
                  </a:cubicBezTo>
                  <a:cubicBezTo>
                    <a:pt x="431440" y="536938"/>
                    <a:pt x="431370" y="528523"/>
                    <a:pt x="436591" y="523285"/>
                  </a:cubicBezTo>
                  <a:lnTo>
                    <a:pt x="436713" y="523163"/>
                  </a:lnTo>
                  <a:cubicBezTo>
                    <a:pt x="441934" y="517943"/>
                    <a:pt x="450419" y="517943"/>
                    <a:pt x="455639" y="523163"/>
                  </a:cubicBezTo>
                  <a:cubicBezTo>
                    <a:pt x="460859" y="528383"/>
                    <a:pt x="460859" y="536868"/>
                    <a:pt x="455639" y="542089"/>
                  </a:cubicBezTo>
                  <a:cubicBezTo>
                    <a:pt x="453020" y="544725"/>
                    <a:pt x="449546" y="546034"/>
                    <a:pt x="446089" y="546034"/>
                  </a:cubicBezTo>
                  <a:close/>
                  <a:moveTo>
                    <a:pt x="532599" y="459594"/>
                  </a:moveTo>
                  <a:cubicBezTo>
                    <a:pt x="529177" y="459594"/>
                    <a:pt x="525755" y="458284"/>
                    <a:pt x="523136" y="455665"/>
                  </a:cubicBezTo>
                  <a:cubicBezTo>
                    <a:pt x="517916" y="450445"/>
                    <a:pt x="517916" y="441960"/>
                    <a:pt x="523136" y="436740"/>
                  </a:cubicBezTo>
                  <a:lnTo>
                    <a:pt x="523258" y="436617"/>
                  </a:lnTo>
                  <a:cubicBezTo>
                    <a:pt x="528479" y="431397"/>
                    <a:pt x="536964" y="431397"/>
                    <a:pt x="542185" y="436617"/>
                  </a:cubicBezTo>
                  <a:cubicBezTo>
                    <a:pt x="547405" y="441838"/>
                    <a:pt x="547405" y="450323"/>
                    <a:pt x="542185" y="455543"/>
                  </a:cubicBezTo>
                  <a:lnTo>
                    <a:pt x="542062" y="455665"/>
                  </a:lnTo>
                  <a:cubicBezTo>
                    <a:pt x="539443" y="458284"/>
                    <a:pt x="536021" y="459594"/>
                    <a:pt x="532599" y="459594"/>
                  </a:cubicBezTo>
                  <a:close/>
                  <a:moveTo>
                    <a:pt x="619145" y="373048"/>
                  </a:moveTo>
                  <a:cubicBezTo>
                    <a:pt x="615723" y="373048"/>
                    <a:pt x="612301" y="371739"/>
                    <a:pt x="609682" y="369120"/>
                  </a:cubicBezTo>
                  <a:cubicBezTo>
                    <a:pt x="604462" y="363900"/>
                    <a:pt x="604462" y="355414"/>
                    <a:pt x="609682" y="350194"/>
                  </a:cubicBezTo>
                  <a:lnTo>
                    <a:pt x="609804" y="350072"/>
                  </a:lnTo>
                  <a:cubicBezTo>
                    <a:pt x="615024" y="344851"/>
                    <a:pt x="623510" y="344851"/>
                    <a:pt x="628730" y="350072"/>
                  </a:cubicBezTo>
                  <a:cubicBezTo>
                    <a:pt x="633951" y="355292"/>
                    <a:pt x="633951" y="363777"/>
                    <a:pt x="628730" y="368998"/>
                  </a:cubicBezTo>
                  <a:lnTo>
                    <a:pt x="628608" y="369120"/>
                  </a:lnTo>
                  <a:cubicBezTo>
                    <a:pt x="625989" y="371739"/>
                    <a:pt x="622567" y="373048"/>
                    <a:pt x="619145" y="373048"/>
                  </a:cubicBezTo>
                  <a:close/>
                  <a:moveTo>
                    <a:pt x="705691" y="286503"/>
                  </a:moveTo>
                  <a:cubicBezTo>
                    <a:pt x="702234" y="286503"/>
                    <a:pt x="698777" y="285176"/>
                    <a:pt x="696158" y="282522"/>
                  </a:cubicBezTo>
                  <a:cubicBezTo>
                    <a:pt x="690972" y="277267"/>
                    <a:pt x="691025" y="268782"/>
                    <a:pt x="696280" y="263596"/>
                  </a:cubicBezTo>
                  <a:lnTo>
                    <a:pt x="696403" y="263474"/>
                  </a:lnTo>
                  <a:cubicBezTo>
                    <a:pt x="701657" y="258289"/>
                    <a:pt x="710142" y="258341"/>
                    <a:pt x="715328" y="263596"/>
                  </a:cubicBezTo>
                  <a:cubicBezTo>
                    <a:pt x="720513" y="268851"/>
                    <a:pt x="720461" y="277336"/>
                    <a:pt x="715206" y="282522"/>
                  </a:cubicBezTo>
                  <a:lnTo>
                    <a:pt x="715083" y="282644"/>
                  </a:lnTo>
                  <a:cubicBezTo>
                    <a:pt x="712482" y="285211"/>
                    <a:pt x="709078" y="286503"/>
                    <a:pt x="705691" y="286503"/>
                  </a:cubicBezTo>
                  <a:close/>
                  <a:moveTo>
                    <a:pt x="792271" y="199870"/>
                  </a:moveTo>
                  <a:cubicBezTo>
                    <a:pt x="788849" y="199870"/>
                    <a:pt x="785427" y="198578"/>
                    <a:pt x="782843" y="195976"/>
                  </a:cubicBezTo>
                  <a:cubicBezTo>
                    <a:pt x="777623" y="190756"/>
                    <a:pt x="777553" y="182341"/>
                    <a:pt x="782773" y="177103"/>
                  </a:cubicBezTo>
                  <a:lnTo>
                    <a:pt x="782896" y="176981"/>
                  </a:lnTo>
                  <a:cubicBezTo>
                    <a:pt x="788116" y="171760"/>
                    <a:pt x="796601" y="171760"/>
                    <a:pt x="801821" y="176981"/>
                  </a:cubicBezTo>
                  <a:cubicBezTo>
                    <a:pt x="807041" y="182201"/>
                    <a:pt x="807041" y="190686"/>
                    <a:pt x="801821" y="195907"/>
                  </a:cubicBezTo>
                  <a:cubicBezTo>
                    <a:pt x="799185" y="198543"/>
                    <a:pt x="795728" y="199852"/>
                    <a:pt x="792271" y="199852"/>
                  </a:cubicBezTo>
                  <a:close/>
                  <a:moveTo>
                    <a:pt x="878799" y="113342"/>
                  </a:moveTo>
                  <a:cubicBezTo>
                    <a:pt x="875377" y="113342"/>
                    <a:pt x="871955" y="112050"/>
                    <a:pt x="869371" y="109448"/>
                  </a:cubicBezTo>
                  <a:cubicBezTo>
                    <a:pt x="864150" y="104228"/>
                    <a:pt x="864081" y="95813"/>
                    <a:pt x="869301" y="90575"/>
                  </a:cubicBezTo>
                  <a:lnTo>
                    <a:pt x="869423" y="90452"/>
                  </a:lnTo>
                  <a:cubicBezTo>
                    <a:pt x="874644" y="85232"/>
                    <a:pt x="883129" y="85232"/>
                    <a:pt x="888350" y="90452"/>
                  </a:cubicBezTo>
                  <a:cubicBezTo>
                    <a:pt x="893570" y="95673"/>
                    <a:pt x="893570" y="104158"/>
                    <a:pt x="888350" y="109378"/>
                  </a:cubicBezTo>
                  <a:cubicBezTo>
                    <a:pt x="885713" y="112015"/>
                    <a:pt x="882256" y="113324"/>
                    <a:pt x="878799" y="113324"/>
                  </a:cubicBezTo>
                  <a:close/>
                  <a:moveTo>
                    <a:pt x="965310" y="26883"/>
                  </a:moveTo>
                  <a:cubicBezTo>
                    <a:pt x="961853" y="26883"/>
                    <a:pt x="958396" y="25556"/>
                    <a:pt x="955777" y="22903"/>
                  </a:cubicBezTo>
                  <a:cubicBezTo>
                    <a:pt x="950592" y="17647"/>
                    <a:pt x="950644" y="9162"/>
                    <a:pt x="955899" y="3977"/>
                  </a:cubicBezTo>
                  <a:lnTo>
                    <a:pt x="956021" y="3855"/>
                  </a:lnTo>
                  <a:cubicBezTo>
                    <a:pt x="961277" y="-1331"/>
                    <a:pt x="969762" y="-1279"/>
                    <a:pt x="974948" y="3977"/>
                  </a:cubicBezTo>
                  <a:cubicBezTo>
                    <a:pt x="980133" y="9232"/>
                    <a:pt x="980081" y="17717"/>
                    <a:pt x="974825" y="22903"/>
                  </a:cubicBezTo>
                  <a:lnTo>
                    <a:pt x="974703" y="23025"/>
                  </a:lnTo>
                  <a:cubicBezTo>
                    <a:pt x="972101" y="25591"/>
                    <a:pt x="968697" y="26883"/>
                    <a:pt x="965310" y="26883"/>
                  </a:cubicBezTo>
                  <a:close/>
                </a:path>
              </a:pathLst>
            </a:custGeom>
            <a:grpFill/>
            <a:ln w="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CE16DA-5197-8C92-CA56-2FD69FF36F35}"/>
                </a:ext>
              </a:extLst>
            </p:cNvPr>
            <p:cNvSpPr/>
            <p:nvPr/>
          </p:nvSpPr>
          <p:spPr>
            <a:xfrm>
              <a:off x="8124515" y="4340157"/>
              <a:ext cx="806946" cy="806939"/>
            </a:xfrm>
            <a:custGeom>
              <a:avLst/>
              <a:gdLst>
                <a:gd name="connsiteX0" fmla="*/ 13974 w 806946"/>
                <a:gd name="connsiteY0" fmla="*/ 806939 h 806939"/>
                <a:gd name="connsiteX1" fmla="*/ 4022 w 806946"/>
                <a:gd name="connsiteY1" fmla="*/ 802784 h 806939"/>
                <a:gd name="connsiteX2" fmla="*/ 4162 w 806946"/>
                <a:gd name="connsiteY2" fmla="*/ 783038 h 806939"/>
                <a:gd name="connsiteX3" fmla="*/ 4284 w 806946"/>
                <a:gd name="connsiteY3" fmla="*/ 782915 h 806939"/>
                <a:gd name="connsiteX4" fmla="*/ 24031 w 806946"/>
                <a:gd name="connsiteY4" fmla="*/ 783055 h 806939"/>
                <a:gd name="connsiteX5" fmla="*/ 23891 w 806946"/>
                <a:gd name="connsiteY5" fmla="*/ 802801 h 806939"/>
                <a:gd name="connsiteX6" fmla="*/ 23769 w 806946"/>
                <a:gd name="connsiteY6" fmla="*/ 802924 h 806939"/>
                <a:gd name="connsiteX7" fmla="*/ 13957 w 806946"/>
                <a:gd name="connsiteY7" fmla="*/ 806939 h 806939"/>
                <a:gd name="connsiteX8" fmla="*/ 100520 w 806946"/>
                <a:gd name="connsiteY8" fmla="*/ 720394 h 806939"/>
                <a:gd name="connsiteX9" fmla="*/ 90708 w 806946"/>
                <a:gd name="connsiteY9" fmla="*/ 716378 h 806939"/>
                <a:gd name="connsiteX10" fmla="*/ 90568 w 806946"/>
                <a:gd name="connsiteY10" fmla="*/ 696631 h 806939"/>
                <a:gd name="connsiteX11" fmla="*/ 90690 w 806946"/>
                <a:gd name="connsiteY11" fmla="*/ 696509 h 806939"/>
                <a:gd name="connsiteX12" fmla="*/ 110437 w 806946"/>
                <a:gd name="connsiteY12" fmla="*/ 696370 h 806939"/>
                <a:gd name="connsiteX13" fmla="*/ 110576 w 806946"/>
                <a:gd name="connsiteY13" fmla="*/ 716116 h 806939"/>
                <a:gd name="connsiteX14" fmla="*/ 110454 w 806946"/>
                <a:gd name="connsiteY14" fmla="*/ 716238 h 806939"/>
                <a:gd name="connsiteX15" fmla="*/ 100502 w 806946"/>
                <a:gd name="connsiteY15" fmla="*/ 720394 h 806939"/>
                <a:gd name="connsiteX16" fmla="*/ 187065 w 806946"/>
                <a:gd name="connsiteY16" fmla="*/ 633848 h 806939"/>
                <a:gd name="connsiteX17" fmla="*/ 177253 w 806946"/>
                <a:gd name="connsiteY17" fmla="*/ 629833 h 806939"/>
                <a:gd name="connsiteX18" fmla="*/ 177114 w 806946"/>
                <a:gd name="connsiteY18" fmla="*/ 610086 h 806939"/>
                <a:gd name="connsiteX19" fmla="*/ 177236 w 806946"/>
                <a:gd name="connsiteY19" fmla="*/ 609964 h 806939"/>
                <a:gd name="connsiteX20" fmla="*/ 196982 w 806946"/>
                <a:gd name="connsiteY20" fmla="*/ 609824 h 806939"/>
                <a:gd name="connsiteX21" fmla="*/ 197122 w 806946"/>
                <a:gd name="connsiteY21" fmla="*/ 629570 h 806939"/>
                <a:gd name="connsiteX22" fmla="*/ 197000 w 806946"/>
                <a:gd name="connsiteY22" fmla="*/ 629693 h 806939"/>
                <a:gd name="connsiteX23" fmla="*/ 187048 w 806946"/>
                <a:gd name="connsiteY23" fmla="*/ 633848 h 806939"/>
                <a:gd name="connsiteX24" fmla="*/ 273646 w 806946"/>
                <a:gd name="connsiteY24" fmla="*/ 547215 h 806939"/>
                <a:gd name="connsiteX25" fmla="*/ 263799 w 806946"/>
                <a:gd name="connsiteY25" fmla="*/ 543147 h 806939"/>
                <a:gd name="connsiteX26" fmla="*/ 263729 w 806946"/>
                <a:gd name="connsiteY26" fmla="*/ 523453 h 806939"/>
                <a:gd name="connsiteX27" fmla="*/ 263851 w 806946"/>
                <a:gd name="connsiteY27" fmla="*/ 523331 h 806939"/>
                <a:gd name="connsiteX28" fmla="*/ 283598 w 806946"/>
                <a:gd name="connsiteY28" fmla="*/ 523331 h 806939"/>
                <a:gd name="connsiteX29" fmla="*/ 283598 w 806946"/>
                <a:gd name="connsiteY29" fmla="*/ 543077 h 806939"/>
                <a:gd name="connsiteX30" fmla="*/ 273629 w 806946"/>
                <a:gd name="connsiteY30" fmla="*/ 547198 h 806939"/>
                <a:gd name="connsiteX31" fmla="*/ 360157 w 806946"/>
                <a:gd name="connsiteY31" fmla="*/ 460774 h 806939"/>
                <a:gd name="connsiteX32" fmla="*/ 350205 w 806946"/>
                <a:gd name="connsiteY32" fmla="*/ 456619 h 806939"/>
                <a:gd name="connsiteX33" fmla="*/ 350344 w 806946"/>
                <a:gd name="connsiteY33" fmla="*/ 436873 h 806939"/>
                <a:gd name="connsiteX34" fmla="*/ 350466 w 806946"/>
                <a:gd name="connsiteY34" fmla="*/ 436750 h 806939"/>
                <a:gd name="connsiteX35" fmla="*/ 370213 w 806946"/>
                <a:gd name="connsiteY35" fmla="*/ 436890 h 806939"/>
                <a:gd name="connsiteX36" fmla="*/ 370073 w 806946"/>
                <a:gd name="connsiteY36" fmla="*/ 456636 h 806939"/>
                <a:gd name="connsiteX37" fmla="*/ 369951 w 806946"/>
                <a:gd name="connsiteY37" fmla="*/ 456759 h 806939"/>
                <a:gd name="connsiteX38" fmla="*/ 360139 w 806946"/>
                <a:gd name="connsiteY38" fmla="*/ 460774 h 806939"/>
                <a:gd name="connsiteX39" fmla="*/ 446685 w 806946"/>
                <a:gd name="connsiteY39" fmla="*/ 374229 h 806939"/>
                <a:gd name="connsiteX40" fmla="*/ 436733 w 806946"/>
                <a:gd name="connsiteY40" fmla="*/ 370074 h 806939"/>
                <a:gd name="connsiteX41" fmla="*/ 436873 w 806946"/>
                <a:gd name="connsiteY41" fmla="*/ 350327 h 806939"/>
                <a:gd name="connsiteX42" fmla="*/ 436995 w 806946"/>
                <a:gd name="connsiteY42" fmla="*/ 350205 h 806939"/>
                <a:gd name="connsiteX43" fmla="*/ 456741 w 806946"/>
                <a:gd name="connsiteY43" fmla="*/ 350344 h 806939"/>
                <a:gd name="connsiteX44" fmla="*/ 456601 w 806946"/>
                <a:gd name="connsiteY44" fmla="*/ 370091 h 806939"/>
                <a:gd name="connsiteX45" fmla="*/ 456479 w 806946"/>
                <a:gd name="connsiteY45" fmla="*/ 370213 h 806939"/>
                <a:gd name="connsiteX46" fmla="*/ 446667 w 806946"/>
                <a:gd name="connsiteY46" fmla="*/ 374229 h 806939"/>
                <a:gd name="connsiteX47" fmla="*/ 533265 w 806946"/>
                <a:gd name="connsiteY47" fmla="*/ 287596 h 806939"/>
                <a:gd name="connsiteX48" fmla="*/ 523418 w 806946"/>
                <a:gd name="connsiteY48" fmla="*/ 283528 h 806939"/>
                <a:gd name="connsiteX49" fmla="*/ 523348 w 806946"/>
                <a:gd name="connsiteY49" fmla="*/ 263834 h 806939"/>
                <a:gd name="connsiteX50" fmla="*/ 523471 w 806946"/>
                <a:gd name="connsiteY50" fmla="*/ 263711 h 806939"/>
                <a:gd name="connsiteX51" fmla="*/ 543217 w 806946"/>
                <a:gd name="connsiteY51" fmla="*/ 263711 h 806939"/>
                <a:gd name="connsiteX52" fmla="*/ 543217 w 806946"/>
                <a:gd name="connsiteY52" fmla="*/ 283458 h 806939"/>
                <a:gd name="connsiteX53" fmla="*/ 533247 w 806946"/>
                <a:gd name="connsiteY53" fmla="*/ 287579 h 806939"/>
                <a:gd name="connsiteX54" fmla="*/ 619776 w 806946"/>
                <a:gd name="connsiteY54" fmla="*/ 201138 h 806939"/>
                <a:gd name="connsiteX55" fmla="*/ 609964 w 806946"/>
                <a:gd name="connsiteY55" fmla="*/ 197122 h 806939"/>
                <a:gd name="connsiteX56" fmla="*/ 609824 w 806946"/>
                <a:gd name="connsiteY56" fmla="*/ 177375 h 806939"/>
                <a:gd name="connsiteX57" fmla="*/ 609946 w 806946"/>
                <a:gd name="connsiteY57" fmla="*/ 177253 h 806939"/>
                <a:gd name="connsiteX58" fmla="*/ 629693 w 806946"/>
                <a:gd name="connsiteY58" fmla="*/ 177114 h 806939"/>
                <a:gd name="connsiteX59" fmla="*/ 629833 w 806946"/>
                <a:gd name="connsiteY59" fmla="*/ 196860 h 806939"/>
                <a:gd name="connsiteX60" fmla="*/ 629710 w 806946"/>
                <a:gd name="connsiteY60" fmla="*/ 196982 h 806939"/>
                <a:gd name="connsiteX61" fmla="*/ 619759 w 806946"/>
                <a:gd name="connsiteY61" fmla="*/ 201138 h 806939"/>
                <a:gd name="connsiteX62" fmla="*/ 706322 w 806946"/>
                <a:gd name="connsiteY62" fmla="*/ 114592 h 806939"/>
                <a:gd name="connsiteX63" fmla="*/ 696440 w 806946"/>
                <a:gd name="connsiteY63" fmla="*/ 110506 h 806939"/>
                <a:gd name="connsiteX64" fmla="*/ 696440 w 806946"/>
                <a:gd name="connsiteY64" fmla="*/ 90760 h 806939"/>
                <a:gd name="connsiteX65" fmla="*/ 696561 w 806946"/>
                <a:gd name="connsiteY65" fmla="*/ 90638 h 806939"/>
                <a:gd name="connsiteX66" fmla="*/ 716308 w 806946"/>
                <a:gd name="connsiteY66" fmla="*/ 90638 h 806939"/>
                <a:gd name="connsiteX67" fmla="*/ 716308 w 806946"/>
                <a:gd name="connsiteY67" fmla="*/ 110384 h 806939"/>
                <a:gd name="connsiteX68" fmla="*/ 716186 w 806946"/>
                <a:gd name="connsiteY68" fmla="*/ 110506 h 806939"/>
                <a:gd name="connsiteX69" fmla="*/ 706304 w 806946"/>
                <a:gd name="connsiteY69" fmla="*/ 114592 h 806939"/>
                <a:gd name="connsiteX70" fmla="*/ 792867 w 806946"/>
                <a:gd name="connsiteY70" fmla="*/ 28046 h 806939"/>
                <a:gd name="connsiteX71" fmla="*/ 782915 w 806946"/>
                <a:gd name="connsiteY71" fmla="*/ 23891 h 806939"/>
                <a:gd name="connsiteX72" fmla="*/ 783055 w 806946"/>
                <a:gd name="connsiteY72" fmla="*/ 4145 h 806939"/>
                <a:gd name="connsiteX73" fmla="*/ 783177 w 806946"/>
                <a:gd name="connsiteY73" fmla="*/ 4022 h 806939"/>
                <a:gd name="connsiteX74" fmla="*/ 802924 w 806946"/>
                <a:gd name="connsiteY74" fmla="*/ 4162 h 806939"/>
                <a:gd name="connsiteX75" fmla="*/ 802784 w 806946"/>
                <a:gd name="connsiteY75" fmla="*/ 23909 h 806939"/>
                <a:gd name="connsiteX76" fmla="*/ 802661 w 806946"/>
                <a:gd name="connsiteY76" fmla="*/ 24031 h 806939"/>
                <a:gd name="connsiteX77" fmla="*/ 792850 w 806946"/>
                <a:gd name="connsiteY77" fmla="*/ 28046 h 806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06946" h="806939">
                  <a:moveTo>
                    <a:pt x="13974" y="806939"/>
                  </a:moveTo>
                  <a:cubicBezTo>
                    <a:pt x="10360" y="806939"/>
                    <a:pt x="6763" y="805560"/>
                    <a:pt x="4022" y="802784"/>
                  </a:cubicBezTo>
                  <a:cubicBezTo>
                    <a:pt x="-1390" y="797284"/>
                    <a:pt x="-1337" y="788450"/>
                    <a:pt x="4162" y="783038"/>
                  </a:cubicBezTo>
                  <a:lnTo>
                    <a:pt x="4284" y="782915"/>
                  </a:lnTo>
                  <a:cubicBezTo>
                    <a:pt x="9766" y="777503"/>
                    <a:pt x="18618" y="777555"/>
                    <a:pt x="24031" y="783055"/>
                  </a:cubicBezTo>
                  <a:cubicBezTo>
                    <a:pt x="29443" y="788555"/>
                    <a:pt x="29391" y="797389"/>
                    <a:pt x="23891" y="802801"/>
                  </a:cubicBezTo>
                  <a:lnTo>
                    <a:pt x="23769" y="802924"/>
                  </a:lnTo>
                  <a:cubicBezTo>
                    <a:pt x="21045" y="805612"/>
                    <a:pt x="17501" y="806939"/>
                    <a:pt x="13957" y="806939"/>
                  </a:cubicBezTo>
                  <a:close/>
                  <a:moveTo>
                    <a:pt x="100520" y="720394"/>
                  </a:moveTo>
                  <a:cubicBezTo>
                    <a:pt x="96975" y="720394"/>
                    <a:pt x="93432" y="719049"/>
                    <a:pt x="90708" y="716378"/>
                  </a:cubicBezTo>
                  <a:cubicBezTo>
                    <a:pt x="85208" y="710966"/>
                    <a:pt x="85155" y="702114"/>
                    <a:pt x="90568" y="696631"/>
                  </a:cubicBezTo>
                  <a:lnTo>
                    <a:pt x="90690" y="696509"/>
                  </a:lnTo>
                  <a:cubicBezTo>
                    <a:pt x="96102" y="691009"/>
                    <a:pt x="104954" y="690957"/>
                    <a:pt x="110437" y="696370"/>
                  </a:cubicBezTo>
                  <a:cubicBezTo>
                    <a:pt x="115936" y="701782"/>
                    <a:pt x="115989" y="710634"/>
                    <a:pt x="110576" y="716116"/>
                  </a:cubicBezTo>
                  <a:lnTo>
                    <a:pt x="110454" y="716238"/>
                  </a:lnTo>
                  <a:cubicBezTo>
                    <a:pt x="107713" y="719014"/>
                    <a:pt x="104116" y="720394"/>
                    <a:pt x="100502" y="720394"/>
                  </a:cubicBezTo>
                  <a:close/>
                  <a:moveTo>
                    <a:pt x="187065" y="633848"/>
                  </a:moveTo>
                  <a:cubicBezTo>
                    <a:pt x="183521" y="633848"/>
                    <a:pt x="179977" y="632503"/>
                    <a:pt x="177253" y="629833"/>
                  </a:cubicBezTo>
                  <a:cubicBezTo>
                    <a:pt x="171754" y="624420"/>
                    <a:pt x="171701" y="615568"/>
                    <a:pt x="177114" y="610086"/>
                  </a:cubicBezTo>
                  <a:lnTo>
                    <a:pt x="177236" y="609964"/>
                  </a:lnTo>
                  <a:cubicBezTo>
                    <a:pt x="182648" y="604464"/>
                    <a:pt x="191500" y="604412"/>
                    <a:pt x="196982" y="609824"/>
                  </a:cubicBezTo>
                  <a:cubicBezTo>
                    <a:pt x="202482" y="615236"/>
                    <a:pt x="202534" y="624088"/>
                    <a:pt x="197122" y="629570"/>
                  </a:cubicBezTo>
                  <a:lnTo>
                    <a:pt x="197000" y="629693"/>
                  </a:lnTo>
                  <a:cubicBezTo>
                    <a:pt x="194276" y="632469"/>
                    <a:pt x="190662" y="633848"/>
                    <a:pt x="187048" y="633848"/>
                  </a:cubicBezTo>
                  <a:close/>
                  <a:moveTo>
                    <a:pt x="273646" y="547215"/>
                  </a:moveTo>
                  <a:cubicBezTo>
                    <a:pt x="270084" y="547215"/>
                    <a:pt x="266505" y="545871"/>
                    <a:pt x="263799" y="543147"/>
                  </a:cubicBezTo>
                  <a:cubicBezTo>
                    <a:pt x="258352" y="537700"/>
                    <a:pt x="258282" y="528918"/>
                    <a:pt x="263729" y="523453"/>
                  </a:cubicBezTo>
                  <a:lnTo>
                    <a:pt x="263851" y="523331"/>
                  </a:lnTo>
                  <a:cubicBezTo>
                    <a:pt x="269299" y="517884"/>
                    <a:pt x="278150" y="517884"/>
                    <a:pt x="283598" y="523331"/>
                  </a:cubicBezTo>
                  <a:cubicBezTo>
                    <a:pt x="289045" y="528778"/>
                    <a:pt x="289045" y="537630"/>
                    <a:pt x="283598" y="543077"/>
                  </a:cubicBezTo>
                  <a:cubicBezTo>
                    <a:pt x="280857" y="545818"/>
                    <a:pt x="277242" y="547198"/>
                    <a:pt x="273629" y="547198"/>
                  </a:cubicBezTo>
                  <a:close/>
                  <a:moveTo>
                    <a:pt x="360157" y="460774"/>
                  </a:moveTo>
                  <a:cubicBezTo>
                    <a:pt x="356542" y="460774"/>
                    <a:pt x="352945" y="459395"/>
                    <a:pt x="350205" y="456619"/>
                  </a:cubicBezTo>
                  <a:cubicBezTo>
                    <a:pt x="344792" y="451119"/>
                    <a:pt x="344845" y="442285"/>
                    <a:pt x="350344" y="436873"/>
                  </a:cubicBezTo>
                  <a:lnTo>
                    <a:pt x="350466" y="436750"/>
                  </a:lnTo>
                  <a:cubicBezTo>
                    <a:pt x="355949" y="431338"/>
                    <a:pt x="364800" y="431390"/>
                    <a:pt x="370213" y="436890"/>
                  </a:cubicBezTo>
                  <a:cubicBezTo>
                    <a:pt x="375625" y="442390"/>
                    <a:pt x="375573" y="451224"/>
                    <a:pt x="370073" y="456636"/>
                  </a:cubicBezTo>
                  <a:lnTo>
                    <a:pt x="369951" y="456759"/>
                  </a:lnTo>
                  <a:cubicBezTo>
                    <a:pt x="367227" y="459447"/>
                    <a:pt x="363684" y="460774"/>
                    <a:pt x="360139" y="460774"/>
                  </a:cubicBezTo>
                  <a:close/>
                  <a:moveTo>
                    <a:pt x="446685" y="374229"/>
                  </a:moveTo>
                  <a:cubicBezTo>
                    <a:pt x="443070" y="374229"/>
                    <a:pt x="439474" y="372849"/>
                    <a:pt x="436733" y="370074"/>
                  </a:cubicBezTo>
                  <a:cubicBezTo>
                    <a:pt x="431320" y="364574"/>
                    <a:pt x="431373" y="355739"/>
                    <a:pt x="436873" y="350327"/>
                  </a:cubicBezTo>
                  <a:lnTo>
                    <a:pt x="436995" y="350205"/>
                  </a:lnTo>
                  <a:cubicBezTo>
                    <a:pt x="442494" y="344793"/>
                    <a:pt x="451329" y="344845"/>
                    <a:pt x="456741" y="350344"/>
                  </a:cubicBezTo>
                  <a:cubicBezTo>
                    <a:pt x="462154" y="355844"/>
                    <a:pt x="462101" y="364678"/>
                    <a:pt x="456601" y="370091"/>
                  </a:cubicBezTo>
                  <a:lnTo>
                    <a:pt x="456479" y="370213"/>
                  </a:lnTo>
                  <a:cubicBezTo>
                    <a:pt x="453756" y="372902"/>
                    <a:pt x="450212" y="374229"/>
                    <a:pt x="446667" y="374229"/>
                  </a:cubicBezTo>
                  <a:close/>
                  <a:moveTo>
                    <a:pt x="533265" y="287596"/>
                  </a:moveTo>
                  <a:cubicBezTo>
                    <a:pt x="529704" y="287596"/>
                    <a:pt x="526125" y="286252"/>
                    <a:pt x="523418" y="283528"/>
                  </a:cubicBezTo>
                  <a:cubicBezTo>
                    <a:pt x="517971" y="278080"/>
                    <a:pt x="517901" y="269299"/>
                    <a:pt x="523348" y="263834"/>
                  </a:cubicBezTo>
                  <a:lnTo>
                    <a:pt x="523471" y="263711"/>
                  </a:lnTo>
                  <a:cubicBezTo>
                    <a:pt x="528918" y="258264"/>
                    <a:pt x="537770" y="258264"/>
                    <a:pt x="543217" y="263711"/>
                  </a:cubicBezTo>
                  <a:cubicBezTo>
                    <a:pt x="548664" y="269159"/>
                    <a:pt x="548664" y="278011"/>
                    <a:pt x="543217" y="283458"/>
                  </a:cubicBezTo>
                  <a:cubicBezTo>
                    <a:pt x="540476" y="286199"/>
                    <a:pt x="536862" y="287579"/>
                    <a:pt x="533247" y="287579"/>
                  </a:cubicBezTo>
                  <a:close/>
                  <a:moveTo>
                    <a:pt x="619776" y="201138"/>
                  </a:moveTo>
                  <a:cubicBezTo>
                    <a:pt x="616232" y="201138"/>
                    <a:pt x="612687" y="199793"/>
                    <a:pt x="609964" y="197122"/>
                  </a:cubicBezTo>
                  <a:cubicBezTo>
                    <a:pt x="604464" y="191709"/>
                    <a:pt x="604412" y="182858"/>
                    <a:pt x="609824" y="177375"/>
                  </a:cubicBezTo>
                  <a:lnTo>
                    <a:pt x="609946" y="177253"/>
                  </a:lnTo>
                  <a:cubicBezTo>
                    <a:pt x="615359" y="171754"/>
                    <a:pt x="624210" y="171701"/>
                    <a:pt x="629693" y="177114"/>
                  </a:cubicBezTo>
                  <a:cubicBezTo>
                    <a:pt x="635192" y="182526"/>
                    <a:pt x="635245" y="191378"/>
                    <a:pt x="629833" y="196860"/>
                  </a:cubicBezTo>
                  <a:lnTo>
                    <a:pt x="629710" y="196982"/>
                  </a:lnTo>
                  <a:cubicBezTo>
                    <a:pt x="626969" y="199758"/>
                    <a:pt x="623372" y="201138"/>
                    <a:pt x="619759" y="201138"/>
                  </a:cubicBezTo>
                  <a:close/>
                  <a:moveTo>
                    <a:pt x="706322" y="114592"/>
                  </a:moveTo>
                  <a:cubicBezTo>
                    <a:pt x="702742" y="114592"/>
                    <a:pt x="699180" y="113230"/>
                    <a:pt x="696440" y="110506"/>
                  </a:cubicBezTo>
                  <a:cubicBezTo>
                    <a:pt x="690992" y="105059"/>
                    <a:pt x="690992" y="96207"/>
                    <a:pt x="696440" y="90760"/>
                  </a:cubicBezTo>
                  <a:lnTo>
                    <a:pt x="696561" y="90638"/>
                  </a:lnTo>
                  <a:cubicBezTo>
                    <a:pt x="702009" y="85190"/>
                    <a:pt x="710860" y="85190"/>
                    <a:pt x="716308" y="90638"/>
                  </a:cubicBezTo>
                  <a:cubicBezTo>
                    <a:pt x="721755" y="96085"/>
                    <a:pt x="721755" y="104937"/>
                    <a:pt x="716308" y="110384"/>
                  </a:cubicBezTo>
                  <a:lnTo>
                    <a:pt x="716186" y="110506"/>
                  </a:lnTo>
                  <a:cubicBezTo>
                    <a:pt x="713462" y="113230"/>
                    <a:pt x="709884" y="114592"/>
                    <a:pt x="706304" y="114592"/>
                  </a:cubicBezTo>
                  <a:close/>
                  <a:moveTo>
                    <a:pt x="792867" y="28046"/>
                  </a:moveTo>
                  <a:cubicBezTo>
                    <a:pt x="789253" y="28046"/>
                    <a:pt x="785657" y="26667"/>
                    <a:pt x="782915" y="23891"/>
                  </a:cubicBezTo>
                  <a:cubicBezTo>
                    <a:pt x="777503" y="18391"/>
                    <a:pt x="777555" y="9557"/>
                    <a:pt x="783055" y="4145"/>
                  </a:cubicBezTo>
                  <a:lnTo>
                    <a:pt x="783177" y="4022"/>
                  </a:lnTo>
                  <a:cubicBezTo>
                    <a:pt x="788659" y="-1390"/>
                    <a:pt x="797511" y="-1337"/>
                    <a:pt x="802924" y="4162"/>
                  </a:cubicBezTo>
                  <a:cubicBezTo>
                    <a:pt x="808336" y="9662"/>
                    <a:pt x="808284" y="18496"/>
                    <a:pt x="802784" y="23909"/>
                  </a:cubicBezTo>
                  <a:lnTo>
                    <a:pt x="802661" y="24031"/>
                  </a:lnTo>
                  <a:cubicBezTo>
                    <a:pt x="799938" y="26719"/>
                    <a:pt x="796394" y="28046"/>
                    <a:pt x="792850" y="28046"/>
                  </a:cubicBezTo>
                  <a:close/>
                </a:path>
              </a:pathLst>
            </a:custGeom>
            <a:grpFill/>
            <a:ln w="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81D9B8A3-E665-6281-C628-CE10C14C3585}"/>
                </a:ext>
              </a:extLst>
            </p:cNvPr>
            <p:cNvSpPr/>
            <p:nvPr/>
          </p:nvSpPr>
          <p:spPr>
            <a:xfrm>
              <a:off x="8186499" y="4486320"/>
              <a:ext cx="721554" cy="721552"/>
            </a:xfrm>
            <a:custGeom>
              <a:avLst/>
              <a:gdLst>
                <a:gd name="connsiteX0" fmla="*/ 14546 w 721554"/>
                <a:gd name="connsiteY0" fmla="*/ 721552 h 721552"/>
                <a:gd name="connsiteX1" fmla="*/ 4193 w 721554"/>
                <a:gd name="connsiteY1" fmla="*/ 717222 h 721552"/>
                <a:gd name="connsiteX2" fmla="*/ 4332 w 721554"/>
                <a:gd name="connsiteY2" fmla="*/ 696655 h 721552"/>
                <a:gd name="connsiteX3" fmla="*/ 4454 w 721554"/>
                <a:gd name="connsiteY3" fmla="*/ 696533 h 721552"/>
                <a:gd name="connsiteX4" fmla="*/ 25039 w 721554"/>
                <a:gd name="connsiteY4" fmla="*/ 696673 h 721552"/>
                <a:gd name="connsiteX5" fmla="*/ 24900 w 721554"/>
                <a:gd name="connsiteY5" fmla="*/ 717240 h 721552"/>
                <a:gd name="connsiteX6" fmla="*/ 24777 w 721554"/>
                <a:gd name="connsiteY6" fmla="*/ 717362 h 721552"/>
                <a:gd name="connsiteX7" fmla="*/ 14563 w 721554"/>
                <a:gd name="connsiteY7" fmla="*/ 721552 h 721552"/>
                <a:gd name="connsiteX8" fmla="*/ 101074 w 721554"/>
                <a:gd name="connsiteY8" fmla="*/ 635024 h 721552"/>
                <a:gd name="connsiteX9" fmla="*/ 90860 w 721554"/>
                <a:gd name="connsiteY9" fmla="*/ 630834 h 721552"/>
                <a:gd name="connsiteX10" fmla="*/ 90721 w 721554"/>
                <a:gd name="connsiteY10" fmla="*/ 610267 h 721552"/>
                <a:gd name="connsiteX11" fmla="*/ 90843 w 721554"/>
                <a:gd name="connsiteY11" fmla="*/ 610145 h 721552"/>
                <a:gd name="connsiteX12" fmla="*/ 111410 w 721554"/>
                <a:gd name="connsiteY12" fmla="*/ 610005 h 721552"/>
                <a:gd name="connsiteX13" fmla="*/ 111550 w 721554"/>
                <a:gd name="connsiteY13" fmla="*/ 630589 h 721552"/>
                <a:gd name="connsiteX14" fmla="*/ 111427 w 721554"/>
                <a:gd name="connsiteY14" fmla="*/ 630712 h 721552"/>
                <a:gd name="connsiteX15" fmla="*/ 101074 w 721554"/>
                <a:gd name="connsiteY15" fmla="*/ 635042 h 721552"/>
                <a:gd name="connsiteX16" fmla="*/ 187620 w 721554"/>
                <a:gd name="connsiteY16" fmla="*/ 548478 h 721552"/>
                <a:gd name="connsiteX17" fmla="*/ 177406 w 721554"/>
                <a:gd name="connsiteY17" fmla="*/ 544288 h 721552"/>
                <a:gd name="connsiteX18" fmla="*/ 177266 w 721554"/>
                <a:gd name="connsiteY18" fmla="*/ 523721 h 721552"/>
                <a:gd name="connsiteX19" fmla="*/ 177389 w 721554"/>
                <a:gd name="connsiteY19" fmla="*/ 523599 h 721552"/>
                <a:gd name="connsiteX20" fmla="*/ 197956 w 721554"/>
                <a:gd name="connsiteY20" fmla="*/ 523459 h 721552"/>
                <a:gd name="connsiteX21" fmla="*/ 198095 w 721554"/>
                <a:gd name="connsiteY21" fmla="*/ 544026 h 721552"/>
                <a:gd name="connsiteX22" fmla="*/ 197973 w 721554"/>
                <a:gd name="connsiteY22" fmla="*/ 544149 h 721552"/>
                <a:gd name="connsiteX23" fmla="*/ 187620 w 721554"/>
                <a:gd name="connsiteY23" fmla="*/ 548478 h 721552"/>
                <a:gd name="connsiteX24" fmla="*/ 274200 w 721554"/>
                <a:gd name="connsiteY24" fmla="*/ 461846 h 721552"/>
                <a:gd name="connsiteX25" fmla="*/ 263934 w 721554"/>
                <a:gd name="connsiteY25" fmla="*/ 457620 h 721552"/>
                <a:gd name="connsiteX26" fmla="*/ 263865 w 721554"/>
                <a:gd name="connsiteY26" fmla="*/ 437106 h 721552"/>
                <a:gd name="connsiteX27" fmla="*/ 263987 w 721554"/>
                <a:gd name="connsiteY27" fmla="*/ 436983 h 721552"/>
                <a:gd name="connsiteX28" fmla="*/ 284571 w 721554"/>
                <a:gd name="connsiteY28" fmla="*/ 436983 h 721552"/>
                <a:gd name="connsiteX29" fmla="*/ 284571 w 721554"/>
                <a:gd name="connsiteY29" fmla="*/ 457568 h 721552"/>
                <a:gd name="connsiteX30" fmla="*/ 274183 w 721554"/>
                <a:gd name="connsiteY30" fmla="*/ 461863 h 721552"/>
                <a:gd name="connsiteX31" fmla="*/ 360711 w 721554"/>
                <a:gd name="connsiteY31" fmla="*/ 375387 h 721552"/>
                <a:gd name="connsiteX32" fmla="*/ 350357 w 721554"/>
                <a:gd name="connsiteY32" fmla="*/ 371058 h 721552"/>
                <a:gd name="connsiteX33" fmla="*/ 350497 w 721554"/>
                <a:gd name="connsiteY33" fmla="*/ 350473 h 721552"/>
                <a:gd name="connsiteX34" fmla="*/ 350620 w 721554"/>
                <a:gd name="connsiteY34" fmla="*/ 350351 h 721552"/>
                <a:gd name="connsiteX35" fmla="*/ 371186 w 721554"/>
                <a:gd name="connsiteY35" fmla="*/ 350491 h 721552"/>
                <a:gd name="connsiteX36" fmla="*/ 371047 w 721554"/>
                <a:gd name="connsiteY36" fmla="*/ 371075 h 721552"/>
                <a:gd name="connsiteX37" fmla="*/ 370925 w 721554"/>
                <a:gd name="connsiteY37" fmla="*/ 371197 h 721552"/>
                <a:gd name="connsiteX38" fmla="*/ 360711 w 721554"/>
                <a:gd name="connsiteY38" fmla="*/ 375387 h 721552"/>
                <a:gd name="connsiteX39" fmla="*/ 447256 w 721554"/>
                <a:gd name="connsiteY39" fmla="*/ 288842 h 721552"/>
                <a:gd name="connsiteX40" fmla="*/ 436903 w 721554"/>
                <a:gd name="connsiteY40" fmla="*/ 284512 h 721552"/>
                <a:gd name="connsiteX41" fmla="*/ 437043 w 721554"/>
                <a:gd name="connsiteY41" fmla="*/ 263927 h 721552"/>
                <a:gd name="connsiteX42" fmla="*/ 437165 w 721554"/>
                <a:gd name="connsiteY42" fmla="*/ 263805 h 721552"/>
                <a:gd name="connsiteX43" fmla="*/ 457732 w 721554"/>
                <a:gd name="connsiteY43" fmla="*/ 263945 h 721552"/>
                <a:gd name="connsiteX44" fmla="*/ 457593 w 721554"/>
                <a:gd name="connsiteY44" fmla="*/ 284529 h 721552"/>
                <a:gd name="connsiteX45" fmla="*/ 457470 w 721554"/>
                <a:gd name="connsiteY45" fmla="*/ 284651 h 721552"/>
                <a:gd name="connsiteX46" fmla="*/ 447256 w 721554"/>
                <a:gd name="connsiteY46" fmla="*/ 288842 h 721552"/>
                <a:gd name="connsiteX47" fmla="*/ 533819 w 721554"/>
                <a:gd name="connsiteY47" fmla="*/ 202209 h 721552"/>
                <a:gd name="connsiteX48" fmla="*/ 523553 w 721554"/>
                <a:gd name="connsiteY48" fmla="*/ 197984 h 721552"/>
                <a:gd name="connsiteX49" fmla="*/ 523484 w 721554"/>
                <a:gd name="connsiteY49" fmla="*/ 177469 h 721552"/>
                <a:gd name="connsiteX50" fmla="*/ 523605 w 721554"/>
                <a:gd name="connsiteY50" fmla="*/ 177347 h 721552"/>
                <a:gd name="connsiteX51" fmla="*/ 544190 w 721554"/>
                <a:gd name="connsiteY51" fmla="*/ 177347 h 721552"/>
                <a:gd name="connsiteX52" fmla="*/ 544190 w 721554"/>
                <a:gd name="connsiteY52" fmla="*/ 197931 h 721552"/>
                <a:gd name="connsiteX53" fmla="*/ 533819 w 721554"/>
                <a:gd name="connsiteY53" fmla="*/ 202226 h 721552"/>
                <a:gd name="connsiteX54" fmla="*/ 620330 w 721554"/>
                <a:gd name="connsiteY54" fmla="*/ 115768 h 721552"/>
                <a:gd name="connsiteX55" fmla="*/ 610117 w 721554"/>
                <a:gd name="connsiteY55" fmla="*/ 111578 h 721552"/>
                <a:gd name="connsiteX56" fmla="*/ 609977 w 721554"/>
                <a:gd name="connsiteY56" fmla="*/ 91011 h 721552"/>
                <a:gd name="connsiteX57" fmla="*/ 610099 w 721554"/>
                <a:gd name="connsiteY57" fmla="*/ 90888 h 721552"/>
                <a:gd name="connsiteX58" fmla="*/ 630666 w 721554"/>
                <a:gd name="connsiteY58" fmla="*/ 90749 h 721552"/>
                <a:gd name="connsiteX59" fmla="*/ 630806 w 721554"/>
                <a:gd name="connsiteY59" fmla="*/ 111316 h 721552"/>
                <a:gd name="connsiteX60" fmla="*/ 630683 w 721554"/>
                <a:gd name="connsiteY60" fmla="*/ 111438 h 721552"/>
                <a:gd name="connsiteX61" fmla="*/ 620330 w 721554"/>
                <a:gd name="connsiteY61" fmla="*/ 115768 h 721552"/>
                <a:gd name="connsiteX62" fmla="*/ 706876 w 721554"/>
                <a:gd name="connsiteY62" fmla="*/ 29223 h 721552"/>
                <a:gd name="connsiteX63" fmla="*/ 696592 w 721554"/>
                <a:gd name="connsiteY63" fmla="*/ 24962 h 721552"/>
                <a:gd name="connsiteX64" fmla="*/ 696592 w 721554"/>
                <a:gd name="connsiteY64" fmla="*/ 4378 h 721552"/>
                <a:gd name="connsiteX65" fmla="*/ 696715 w 721554"/>
                <a:gd name="connsiteY65" fmla="*/ 4256 h 721552"/>
                <a:gd name="connsiteX66" fmla="*/ 717299 w 721554"/>
                <a:gd name="connsiteY66" fmla="*/ 4256 h 721552"/>
                <a:gd name="connsiteX67" fmla="*/ 717299 w 721554"/>
                <a:gd name="connsiteY67" fmla="*/ 24840 h 721552"/>
                <a:gd name="connsiteX68" fmla="*/ 717177 w 721554"/>
                <a:gd name="connsiteY68" fmla="*/ 24962 h 721552"/>
                <a:gd name="connsiteX69" fmla="*/ 706894 w 721554"/>
                <a:gd name="connsiteY69" fmla="*/ 29223 h 72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21554" h="721552">
                  <a:moveTo>
                    <a:pt x="14546" y="721552"/>
                  </a:moveTo>
                  <a:cubicBezTo>
                    <a:pt x="10792" y="721552"/>
                    <a:pt x="7038" y="720103"/>
                    <a:pt x="4193" y="717222"/>
                  </a:cubicBezTo>
                  <a:cubicBezTo>
                    <a:pt x="-1447" y="711496"/>
                    <a:pt x="-1394" y="702295"/>
                    <a:pt x="4332" y="696655"/>
                  </a:cubicBezTo>
                  <a:lnTo>
                    <a:pt x="4454" y="696533"/>
                  </a:lnTo>
                  <a:cubicBezTo>
                    <a:pt x="10181" y="690894"/>
                    <a:pt x="19382" y="690964"/>
                    <a:pt x="25039" y="696673"/>
                  </a:cubicBezTo>
                  <a:cubicBezTo>
                    <a:pt x="30678" y="702399"/>
                    <a:pt x="30626" y="711600"/>
                    <a:pt x="24900" y="717240"/>
                  </a:cubicBezTo>
                  <a:lnTo>
                    <a:pt x="24777" y="717362"/>
                  </a:lnTo>
                  <a:cubicBezTo>
                    <a:pt x="21949" y="720156"/>
                    <a:pt x="18247" y="721552"/>
                    <a:pt x="14563" y="721552"/>
                  </a:cubicBezTo>
                  <a:close/>
                  <a:moveTo>
                    <a:pt x="101074" y="635024"/>
                  </a:moveTo>
                  <a:cubicBezTo>
                    <a:pt x="97390" y="635024"/>
                    <a:pt x="93689" y="633627"/>
                    <a:pt x="90860" y="630834"/>
                  </a:cubicBezTo>
                  <a:cubicBezTo>
                    <a:pt x="85134" y="625194"/>
                    <a:pt x="85082" y="615976"/>
                    <a:pt x="90721" y="610267"/>
                  </a:cubicBezTo>
                  <a:lnTo>
                    <a:pt x="90843" y="610145"/>
                  </a:lnTo>
                  <a:cubicBezTo>
                    <a:pt x="96483" y="604418"/>
                    <a:pt x="105701" y="604366"/>
                    <a:pt x="111410" y="610005"/>
                  </a:cubicBezTo>
                  <a:cubicBezTo>
                    <a:pt x="117137" y="615644"/>
                    <a:pt x="117189" y="624863"/>
                    <a:pt x="111550" y="630589"/>
                  </a:cubicBezTo>
                  <a:lnTo>
                    <a:pt x="111427" y="630712"/>
                  </a:lnTo>
                  <a:cubicBezTo>
                    <a:pt x="108582" y="633592"/>
                    <a:pt x="104828" y="635042"/>
                    <a:pt x="101074" y="635042"/>
                  </a:cubicBezTo>
                  <a:close/>
                  <a:moveTo>
                    <a:pt x="187620" y="548478"/>
                  </a:moveTo>
                  <a:cubicBezTo>
                    <a:pt x="183936" y="548478"/>
                    <a:pt x="180235" y="547082"/>
                    <a:pt x="177406" y="544288"/>
                  </a:cubicBezTo>
                  <a:cubicBezTo>
                    <a:pt x="171679" y="538649"/>
                    <a:pt x="171627" y="529431"/>
                    <a:pt x="177266" y="523721"/>
                  </a:cubicBezTo>
                  <a:lnTo>
                    <a:pt x="177389" y="523599"/>
                  </a:lnTo>
                  <a:cubicBezTo>
                    <a:pt x="183028" y="517872"/>
                    <a:pt x="192247" y="517820"/>
                    <a:pt x="197956" y="523459"/>
                  </a:cubicBezTo>
                  <a:cubicBezTo>
                    <a:pt x="203682" y="529099"/>
                    <a:pt x="203734" y="538317"/>
                    <a:pt x="198095" y="544026"/>
                  </a:cubicBezTo>
                  <a:lnTo>
                    <a:pt x="197973" y="544149"/>
                  </a:lnTo>
                  <a:cubicBezTo>
                    <a:pt x="195127" y="547029"/>
                    <a:pt x="191374" y="548478"/>
                    <a:pt x="187620" y="548478"/>
                  </a:cubicBezTo>
                  <a:close/>
                  <a:moveTo>
                    <a:pt x="274200" y="461846"/>
                  </a:moveTo>
                  <a:cubicBezTo>
                    <a:pt x="270481" y="461846"/>
                    <a:pt x="266762" y="460449"/>
                    <a:pt x="263934" y="457620"/>
                  </a:cubicBezTo>
                  <a:cubicBezTo>
                    <a:pt x="258260" y="451946"/>
                    <a:pt x="258190" y="442780"/>
                    <a:pt x="263865" y="437106"/>
                  </a:cubicBezTo>
                  <a:lnTo>
                    <a:pt x="263987" y="436983"/>
                  </a:lnTo>
                  <a:cubicBezTo>
                    <a:pt x="269661" y="431309"/>
                    <a:pt x="278879" y="431309"/>
                    <a:pt x="284571" y="436983"/>
                  </a:cubicBezTo>
                  <a:cubicBezTo>
                    <a:pt x="290245" y="442658"/>
                    <a:pt x="290245" y="451876"/>
                    <a:pt x="284571" y="457568"/>
                  </a:cubicBezTo>
                  <a:cubicBezTo>
                    <a:pt x="281708" y="460431"/>
                    <a:pt x="277954" y="461863"/>
                    <a:pt x="274183" y="461863"/>
                  </a:cubicBezTo>
                  <a:close/>
                  <a:moveTo>
                    <a:pt x="360711" y="375387"/>
                  </a:moveTo>
                  <a:cubicBezTo>
                    <a:pt x="356957" y="375387"/>
                    <a:pt x="353204" y="373938"/>
                    <a:pt x="350357" y="371058"/>
                  </a:cubicBezTo>
                  <a:cubicBezTo>
                    <a:pt x="344718" y="365331"/>
                    <a:pt x="344771" y="356130"/>
                    <a:pt x="350497" y="350473"/>
                  </a:cubicBezTo>
                  <a:lnTo>
                    <a:pt x="350620" y="350351"/>
                  </a:lnTo>
                  <a:cubicBezTo>
                    <a:pt x="356346" y="344711"/>
                    <a:pt x="365547" y="344764"/>
                    <a:pt x="371186" y="350491"/>
                  </a:cubicBezTo>
                  <a:cubicBezTo>
                    <a:pt x="376826" y="356217"/>
                    <a:pt x="376774" y="365418"/>
                    <a:pt x="371047" y="371075"/>
                  </a:cubicBezTo>
                  <a:lnTo>
                    <a:pt x="370925" y="371197"/>
                  </a:lnTo>
                  <a:cubicBezTo>
                    <a:pt x="368096" y="373991"/>
                    <a:pt x="364394" y="375387"/>
                    <a:pt x="360711" y="375387"/>
                  </a:cubicBezTo>
                  <a:close/>
                  <a:moveTo>
                    <a:pt x="447256" y="288842"/>
                  </a:moveTo>
                  <a:cubicBezTo>
                    <a:pt x="443503" y="288842"/>
                    <a:pt x="439749" y="287393"/>
                    <a:pt x="436903" y="284512"/>
                  </a:cubicBezTo>
                  <a:cubicBezTo>
                    <a:pt x="431264" y="278785"/>
                    <a:pt x="431316" y="269584"/>
                    <a:pt x="437043" y="263927"/>
                  </a:cubicBezTo>
                  <a:lnTo>
                    <a:pt x="437165" y="263805"/>
                  </a:lnTo>
                  <a:cubicBezTo>
                    <a:pt x="442891" y="258166"/>
                    <a:pt x="452092" y="258218"/>
                    <a:pt x="457732" y="263945"/>
                  </a:cubicBezTo>
                  <a:cubicBezTo>
                    <a:pt x="463371" y="269672"/>
                    <a:pt x="463319" y="278873"/>
                    <a:pt x="457593" y="284529"/>
                  </a:cubicBezTo>
                  <a:lnTo>
                    <a:pt x="457470" y="284651"/>
                  </a:lnTo>
                  <a:cubicBezTo>
                    <a:pt x="454641" y="287445"/>
                    <a:pt x="450941" y="288842"/>
                    <a:pt x="447256" y="288842"/>
                  </a:cubicBezTo>
                  <a:close/>
                  <a:moveTo>
                    <a:pt x="533819" y="202209"/>
                  </a:moveTo>
                  <a:cubicBezTo>
                    <a:pt x="530101" y="202209"/>
                    <a:pt x="526382" y="200812"/>
                    <a:pt x="523553" y="197984"/>
                  </a:cubicBezTo>
                  <a:cubicBezTo>
                    <a:pt x="517879" y="192309"/>
                    <a:pt x="517809" y="183143"/>
                    <a:pt x="523484" y="177469"/>
                  </a:cubicBezTo>
                  <a:lnTo>
                    <a:pt x="523605" y="177347"/>
                  </a:lnTo>
                  <a:cubicBezTo>
                    <a:pt x="529280" y="171672"/>
                    <a:pt x="538499" y="171672"/>
                    <a:pt x="544190" y="177347"/>
                  </a:cubicBezTo>
                  <a:cubicBezTo>
                    <a:pt x="549882" y="183021"/>
                    <a:pt x="549864" y="192239"/>
                    <a:pt x="544190" y="197931"/>
                  </a:cubicBezTo>
                  <a:cubicBezTo>
                    <a:pt x="541327" y="200795"/>
                    <a:pt x="537573" y="202226"/>
                    <a:pt x="533819" y="202226"/>
                  </a:cubicBezTo>
                  <a:close/>
                  <a:moveTo>
                    <a:pt x="620330" y="115768"/>
                  </a:moveTo>
                  <a:cubicBezTo>
                    <a:pt x="616646" y="115768"/>
                    <a:pt x="612945" y="114371"/>
                    <a:pt x="610117" y="111578"/>
                  </a:cubicBezTo>
                  <a:cubicBezTo>
                    <a:pt x="604390" y="105938"/>
                    <a:pt x="604338" y="96720"/>
                    <a:pt x="609977" y="91011"/>
                  </a:cubicBezTo>
                  <a:lnTo>
                    <a:pt x="610099" y="90888"/>
                  </a:lnTo>
                  <a:cubicBezTo>
                    <a:pt x="615738" y="85162"/>
                    <a:pt x="624957" y="85110"/>
                    <a:pt x="630666" y="90749"/>
                  </a:cubicBezTo>
                  <a:cubicBezTo>
                    <a:pt x="636392" y="96388"/>
                    <a:pt x="636445" y="105607"/>
                    <a:pt x="630806" y="111316"/>
                  </a:cubicBezTo>
                  <a:lnTo>
                    <a:pt x="630683" y="111438"/>
                  </a:lnTo>
                  <a:cubicBezTo>
                    <a:pt x="627838" y="114319"/>
                    <a:pt x="624084" y="115768"/>
                    <a:pt x="620330" y="115768"/>
                  </a:cubicBezTo>
                  <a:close/>
                  <a:moveTo>
                    <a:pt x="706876" y="29223"/>
                  </a:moveTo>
                  <a:cubicBezTo>
                    <a:pt x="703157" y="29223"/>
                    <a:pt x="699421" y="27808"/>
                    <a:pt x="696592" y="24962"/>
                  </a:cubicBezTo>
                  <a:cubicBezTo>
                    <a:pt x="690918" y="19288"/>
                    <a:pt x="690918" y="10070"/>
                    <a:pt x="696592" y="4378"/>
                  </a:cubicBezTo>
                  <a:lnTo>
                    <a:pt x="696715" y="4256"/>
                  </a:lnTo>
                  <a:cubicBezTo>
                    <a:pt x="702389" y="-1419"/>
                    <a:pt x="711607" y="-1419"/>
                    <a:pt x="717299" y="4256"/>
                  </a:cubicBezTo>
                  <a:cubicBezTo>
                    <a:pt x="722974" y="9930"/>
                    <a:pt x="722974" y="19149"/>
                    <a:pt x="717299" y="24840"/>
                  </a:cubicBezTo>
                  <a:lnTo>
                    <a:pt x="717177" y="24962"/>
                  </a:lnTo>
                  <a:cubicBezTo>
                    <a:pt x="714331" y="27808"/>
                    <a:pt x="710612" y="29223"/>
                    <a:pt x="706894" y="29223"/>
                  </a:cubicBezTo>
                  <a:close/>
                </a:path>
              </a:pathLst>
            </a:custGeom>
            <a:grpFill/>
            <a:ln w="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AA01906-6670-2C4D-D5CD-BF3E05DB4C2D}"/>
                </a:ext>
              </a:extLst>
            </p:cNvPr>
            <p:cNvSpPr/>
            <p:nvPr/>
          </p:nvSpPr>
          <p:spPr>
            <a:xfrm>
              <a:off x="8335036" y="4632475"/>
              <a:ext cx="549600" cy="549574"/>
            </a:xfrm>
            <a:custGeom>
              <a:avLst/>
              <a:gdLst>
                <a:gd name="connsiteX0" fmla="*/ 15129 w 549600"/>
                <a:gd name="connsiteY0" fmla="*/ 549557 h 549574"/>
                <a:gd name="connsiteX1" fmla="*/ 4461 w 549600"/>
                <a:gd name="connsiteY1" fmla="*/ 545157 h 549574"/>
                <a:gd name="connsiteX2" fmla="*/ 4391 w 549600"/>
                <a:gd name="connsiteY2" fmla="*/ 523822 h 549574"/>
                <a:gd name="connsiteX3" fmla="*/ 4513 w 549600"/>
                <a:gd name="connsiteY3" fmla="*/ 523700 h 549574"/>
                <a:gd name="connsiteX4" fmla="*/ 25918 w 549600"/>
                <a:gd name="connsiteY4" fmla="*/ 523700 h 549574"/>
                <a:gd name="connsiteX5" fmla="*/ 25918 w 549600"/>
                <a:gd name="connsiteY5" fmla="*/ 545105 h 549574"/>
                <a:gd name="connsiteX6" fmla="*/ 15129 w 549600"/>
                <a:gd name="connsiteY6" fmla="*/ 549575 h 549574"/>
                <a:gd name="connsiteX7" fmla="*/ 101622 w 549600"/>
                <a:gd name="connsiteY7" fmla="*/ 463099 h 549574"/>
                <a:gd name="connsiteX8" fmla="*/ 90850 w 549600"/>
                <a:gd name="connsiteY8" fmla="*/ 458594 h 549574"/>
                <a:gd name="connsiteX9" fmla="*/ 90989 w 549600"/>
                <a:gd name="connsiteY9" fmla="*/ 437189 h 549574"/>
                <a:gd name="connsiteX10" fmla="*/ 91111 w 549600"/>
                <a:gd name="connsiteY10" fmla="*/ 437067 h 549574"/>
                <a:gd name="connsiteX11" fmla="*/ 112516 w 549600"/>
                <a:gd name="connsiteY11" fmla="*/ 437207 h 549574"/>
                <a:gd name="connsiteX12" fmla="*/ 112376 w 549600"/>
                <a:gd name="connsiteY12" fmla="*/ 458612 h 549574"/>
                <a:gd name="connsiteX13" fmla="*/ 112254 w 549600"/>
                <a:gd name="connsiteY13" fmla="*/ 458734 h 549574"/>
                <a:gd name="connsiteX14" fmla="*/ 101622 w 549600"/>
                <a:gd name="connsiteY14" fmla="*/ 463099 h 549574"/>
                <a:gd name="connsiteX15" fmla="*/ 188167 w 549600"/>
                <a:gd name="connsiteY15" fmla="*/ 376571 h 549574"/>
                <a:gd name="connsiteX16" fmla="*/ 177395 w 549600"/>
                <a:gd name="connsiteY16" fmla="*/ 372066 h 549574"/>
                <a:gd name="connsiteX17" fmla="*/ 177552 w 549600"/>
                <a:gd name="connsiteY17" fmla="*/ 350661 h 549574"/>
                <a:gd name="connsiteX18" fmla="*/ 177675 w 549600"/>
                <a:gd name="connsiteY18" fmla="*/ 350539 h 549574"/>
                <a:gd name="connsiteX19" fmla="*/ 199079 w 549600"/>
                <a:gd name="connsiteY19" fmla="*/ 350696 h 549574"/>
                <a:gd name="connsiteX20" fmla="*/ 198939 w 549600"/>
                <a:gd name="connsiteY20" fmla="*/ 372101 h 549574"/>
                <a:gd name="connsiteX21" fmla="*/ 198818 w 549600"/>
                <a:gd name="connsiteY21" fmla="*/ 372223 h 549574"/>
                <a:gd name="connsiteX22" fmla="*/ 188185 w 549600"/>
                <a:gd name="connsiteY22" fmla="*/ 376588 h 549574"/>
                <a:gd name="connsiteX23" fmla="*/ 274713 w 549600"/>
                <a:gd name="connsiteY23" fmla="*/ 290025 h 549574"/>
                <a:gd name="connsiteX24" fmla="*/ 264080 w 549600"/>
                <a:gd name="connsiteY24" fmla="*/ 285660 h 549574"/>
                <a:gd name="connsiteX25" fmla="*/ 263940 w 549600"/>
                <a:gd name="connsiteY25" fmla="*/ 264255 h 549574"/>
                <a:gd name="connsiteX26" fmla="*/ 264063 w 549600"/>
                <a:gd name="connsiteY26" fmla="*/ 264133 h 549574"/>
                <a:gd name="connsiteX27" fmla="*/ 285468 w 549600"/>
                <a:gd name="connsiteY27" fmla="*/ 263993 h 549574"/>
                <a:gd name="connsiteX28" fmla="*/ 285608 w 549600"/>
                <a:gd name="connsiteY28" fmla="*/ 285398 h 549574"/>
                <a:gd name="connsiteX29" fmla="*/ 285486 w 549600"/>
                <a:gd name="connsiteY29" fmla="*/ 285521 h 549574"/>
                <a:gd name="connsiteX30" fmla="*/ 274713 w 549600"/>
                <a:gd name="connsiteY30" fmla="*/ 290025 h 549574"/>
                <a:gd name="connsiteX31" fmla="*/ 361259 w 549600"/>
                <a:gd name="connsiteY31" fmla="*/ 203480 h 549574"/>
                <a:gd name="connsiteX32" fmla="*/ 350625 w 549600"/>
                <a:gd name="connsiteY32" fmla="*/ 199115 h 549574"/>
                <a:gd name="connsiteX33" fmla="*/ 350486 w 549600"/>
                <a:gd name="connsiteY33" fmla="*/ 177710 h 549574"/>
                <a:gd name="connsiteX34" fmla="*/ 350608 w 549600"/>
                <a:gd name="connsiteY34" fmla="*/ 177587 h 549574"/>
                <a:gd name="connsiteX35" fmla="*/ 372013 w 549600"/>
                <a:gd name="connsiteY35" fmla="*/ 177448 h 549574"/>
                <a:gd name="connsiteX36" fmla="*/ 372153 w 549600"/>
                <a:gd name="connsiteY36" fmla="*/ 198853 h 549574"/>
                <a:gd name="connsiteX37" fmla="*/ 372031 w 549600"/>
                <a:gd name="connsiteY37" fmla="*/ 198975 h 549574"/>
                <a:gd name="connsiteX38" fmla="*/ 361259 w 549600"/>
                <a:gd name="connsiteY38" fmla="*/ 203480 h 549574"/>
                <a:gd name="connsiteX39" fmla="*/ 447804 w 549600"/>
                <a:gd name="connsiteY39" fmla="*/ 116934 h 549574"/>
                <a:gd name="connsiteX40" fmla="*/ 437032 w 549600"/>
                <a:gd name="connsiteY40" fmla="*/ 112429 h 549574"/>
                <a:gd name="connsiteX41" fmla="*/ 437172 w 549600"/>
                <a:gd name="connsiteY41" fmla="*/ 91024 h 549574"/>
                <a:gd name="connsiteX42" fmla="*/ 437293 w 549600"/>
                <a:gd name="connsiteY42" fmla="*/ 90902 h 549574"/>
                <a:gd name="connsiteX43" fmla="*/ 458699 w 549600"/>
                <a:gd name="connsiteY43" fmla="*/ 91042 h 549574"/>
                <a:gd name="connsiteX44" fmla="*/ 458559 w 549600"/>
                <a:gd name="connsiteY44" fmla="*/ 112447 h 549574"/>
                <a:gd name="connsiteX45" fmla="*/ 458436 w 549600"/>
                <a:gd name="connsiteY45" fmla="*/ 112569 h 549574"/>
                <a:gd name="connsiteX46" fmla="*/ 447804 w 549600"/>
                <a:gd name="connsiteY46" fmla="*/ 116934 h 549574"/>
                <a:gd name="connsiteX47" fmla="*/ 534350 w 549600"/>
                <a:gd name="connsiteY47" fmla="*/ 30388 h 549574"/>
                <a:gd name="connsiteX48" fmla="*/ 523577 w 549600"/>
                <a:gd name="connsiteY48" fmla="*/ 25884 h 549574"/>
                <a:gd name="connsiteX49" fmla="*/ 523717 w 549600"/>
                <a:gd name="connsiteY49" fmla="*/ 4479 h 549574"/>
                <a:gd name="connsiteX50" fmla="*/ 523840 w 549600"/>
                <a:gd name="connsiteY50" fmla="*/ 4357 h 549574"/>
                <a:gd name="connsiteX51" fmla="*/ 545244 w 549600"/>
                <a:gd name="connsiteY51" fmla="*/ 4496 h 549574"/>
                <a:gd name="connsiteX52" fmla="*/ 545104 w 549600"/>
                <a:gd name="connsiteY52" fmla="*/ 25901 h 549574"/>
                <a:gd name="connsiteX53" fmla="*/ 544983 w 549600"/>
                <a:gd name="connsiteY53" fmla="*/ 26023 h 549574"/>
                <a:gd name="connsiteX54" fmla="*/ 534350 w 549600"/>
                <a:gd name="connsiteY54" fmla="*/ 30388 h 54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49600" h="549574">
                  <a:moveTo>
                    <a:pt x="15129" y="549557"/>
                  </a:moveTo>
                  <a:cubicBezTo>
                    <a:pt x="11252" y="549557"/>
                    <a:pt x="7394" y="548090"/>
                    <a:pt x="4461" y="545157"/>
                  </a:cubicBezTo>
                  <a:cubicBezTo>
                    <a:pt x="-1440" y="539256"/>
                    <a:pt x="-1510" y="529723"/>
                    <a:pt x="4391" y="523822"/>
                  </a:cubicBezTo>
                  <a:lnTo>
                    <a:pt x="4513" y="523700"/>
                  </a:lnTo>
                  <a:cubicBezTo>
                    <a:pt x="10414" y="517798"/>
                    <a:pt x="19999" y="517798"/>
                    <a:pt x="25918" y="523700"/>
                  </a:cubicBezTo>
                  <a:cubicBezTo>
                    <a:pt x="31819" y="529601"/>
                    <a:pt x="31819" y="539186"/>
                    <a:pt x="25918" y="545105"/>
                  </a:cubicBezTo>
                  <a:cubicBezTo>
                    <a:pt x="22950" y="548073"/>
                    <a:pt x="19040" y="549575"/>
                    <a:pt x="15129" y="549575"/>
                  </a:cubicBezTo>
                  <a:close/>
                  <a:moveTo>
                    <a:pt x="101622" y="463099"/>
                  </a:moveTo>
                  <a:cubicBezTo>
                    <a:pt x="97711" y="463099"/>
                    <a:pt x="93817" y="461597"/>
                    <a:pt x="90850" y="458594"/>
                  </a:cubicBezTo>
                  <a:cubicBezTo>
                    <a:pt x="84983" y="452641"/>
                    <a:pt x="85053" y="443056"/>
                    <a:pt x="90989" y="437189"/>
                  </a:cubicBezTo>
                  <a:lnTo>
                    <a:pt x="91111" y="437067"/>
                  </a:lnTo>
                  <a:cubicBezTo>
                    <a:pt x="97064" y="431201"/>
                    <a:pt x="106632" y="431271"/>
                    <a:pt x="112516" y="437207"/>
                  </a:cubicBezTo>
                  <a:cubicBezTo>
                    <a:pt x="118383" y="443160"/>
                    <a:pt x="118313" y="452746"/>
                    <a:pt x="112376" y="458612"/>
                  </a:cubicBezTo>
                  <a:lnTo>
                    <a:pt x="112254" y="458734"/>
                  </a:lnTo>
                  <a:cubicBezTo>
                    <a:pt x="109304" y="461650"/>
                    <a:pt x="105462" y="463099"/>
                    <a:pt x="101622" y="463099"/>
                  </a:cubicBezTo>
                  <a:close/>
                  <a:moveTo>
                    <a:pt x="188167" y="376571"/>
                  </a:moveTo>
                  <a:cubicBezTo>
                    <a:pt x="184257" y="376571"/>
                    <a:pt x="180363" y="375069"/>
                    <a:pt x="177395" y="372066"/>
                  </a:cubicBezTo>
                  <a:cubicBezTo>
                    <a:pt x="171529" y="366113"/>
                    <a:pt x="171599" y="356527"/>
                    <a:pt x="177552" y="350661"/>
                  </a:cubicBezTo>
                  <a:lnTo>
                    <a:pt x="177675" y="350539"/>
                  </a:lnTo>
                  <a:cubicBezTo>
                    <a:pt x="183628" y="344672"/>
                    <a:pt x="193195" y="344742"/>
                    <a:pt x="199079" y="350696"/>
                  </a:cubicBezTo>
                  <a:cubicBezTo>
                    <a:pt x="204945" y="356650"/>
                    <a:pt x="204875" y="366235"/>
                    <a:pt x="198939" y="372101"/>
                  </a:cubicBezTo>
                  <a:lnTo>
                    <a:pt x="198818" y="372223"/>
                  </a:lnTo>
                  <a:cubicBezTo>
                    <a:pt x="195867" y="375139"/>
                    <a:pt x="192026" y="376588"/>
                    <a:pt x="188185" y="376588"/>
                  </a:cubicBezTo>
                  <a:close/>
                  <a:moveTo>
                    <a:pt x="274713" y="290025"/>
                  </a:moveTo>
                  <a:cubicBezTo>
                    <a:pt x="270872" y="290025"/>
                    <a:pt x="267031" y="288576"/>
                    <a:pt x="264080" y="285660"/>
                  </a:cubicBezTo>
                  <a:cubicBezTo>
                    <a:pt x="258126" y="279794"/>
                    <a:pt x="258057" y="270209"/>
                    <a:pt x="263940" y="264255"/>
                  </a:cubicBezTo>
                  <a:lnTo>
                    <a:pt x="264063" y="264133"/>
                  </a:lnTo>
                  <a:cubicBezTo>
                    <a:pt x="269929" y="258179"/>
                    <a:pt x="279514" y="258109"/>
                    <a:pt x="285468" y="263993"/>
                  </a:cubicBezTo>
                  <a:cubicBezTo>
                    <a:pt x="291422" y="269860"/>
                    <a:pt x="291492" y="279445"/>
                    <a:pt x="285608" y="285398"/>
                  </a:cubicBezTo>
                  <a:lnTo>
                    <a:pt x="285486" y="285521"/>
                  </a:lnTo>
                  <a:cubicBezTo>
                    <a:pt x="282517" y="288524"/>
                    <a:pt x="278624" y="290025"/>
                    <a:pt x="274713" y="290025"/>
                  </a:cubicBezTo>
                  <a:close/>
                  <a:moveTo>
                    <a:pt x="361259" y="203480"/>
                  </a:moveTo>
                  <a:cubicBezTo>
                    <a:pt x="357417" y="203480"/>
                    <a:pt x="353577" y="202030"/>
                    <a:pt x="350625" y="199115"/>
                  </a:cubicBezTo>
                  <a:cubicBezTo>
                    <a:pt x="344672" y="193248"/>
                    <a:pt x="344602" y="183663"/>
                    <a:pt x="350486" y="177710"/>
                  </a:cubicBezTo>
                  <a:lnTo>
                    <a:pt x="350608" y="177587"/>
                  </a:lnTo>
                  <a:cubicBezTo>
                    <a:pt x="356474" y="171634"/>
                    <a:pt x="366060" y="171564"/>
                    <a:pt x="372013" y="177448"/>
                  </a:cubicBezTo>
                  <a:cubicBezTo>
                    <a:pt x="377967" y="183314"/>
                    <a:pt x="378037" y="192899"/>
                    <a:pt x="372153" y="198853"/>
                  </a:cubicBezTo>
                  <a:lnTo>
                    <a:pt x="372031" y="198975"/>
                  </a:lnTo>
                  <a:cubicBezTo>
                    <a:pt x="369062" y="201978"/>
                    <a:pt x="365169" y="203480"/>
                    <a:pt x="361259" y="203480"/>
                  </a:cubicBezTo>
                  <a:close/>
                  <a:moveTo>
                    <a:pt x="447804" y="116934"/>
                  </a:moveTo>
                  <a:cubicBezTo>
                    <a:pt x="443894" y="116934"/>
                    <a:pt x="440000" y="115432"/>
                    <a:pt x="437032" y="112429"/>
                  </a:cubicBezTo>
                  <a:cubicBezTo>
                    <a:pt x="431166" y="106476"/>
                    <a:pt x="431236" y="96891"/>
                    <a:pt x="437172" y="91024"/>
                  </a:cubicBezTo>
                  <a:lnTo>
                    <a:pt x="437293" y="90902"/>
                  </a:lnTo>
                  <a:cubicBezTo>
                    <a:pt x="443247" y="85036"/>
                    <a:pt x="452832" y="85106"/>
                    <a:pt x="458699" y="91042"/>
                  </a:cubicBezTo>
                  <a:cubicBezTo>
                    <a:pt x="464565" y="96996"/>
                    <a:pt x="464495" y="106581"/>
                    <a:pt x="458559" y="112447"/>
                  </a:cubicBezTo>
                  <a:lnTo>
                    <a:pt x="458436" y="112569"/>
                  </a:lnTo>
                  <a:cubicBezTo>
                    <a:pt x="455486" y="115485"/>
                    <a:pt x="451645" y="116934"/>
                    <a:pt x="447804" y="116934"/>
                  </a:cubicBezTo>
                  <a:close/>
                  <a:moveTo>
                    <a:pt x="534350" y="30388"/>
                  </a:moveTo>
                  <a:cubicBezTo>
                    <a:pt x="530439" y="30388"/>
                    <a:pt x="526545" y="28887"/>
                    <a:pt x="523577" y="25884"/>
                  </a:cubicBezTo>
                  <a:cubicBezTo>
                    <a:pt x="517711" y="19930"/>
                    <a:pt x="517781" y="10345"/>
                    <a:pt x="523717" y="4479"/>
                  </a:cubicBezTo>
                  <a:lnTo>
                    <a:pt x="523840" y="4357"/>
                  </a:lnTo>
                  <a:cubicBezTo>
                    <a:pt x="529793" y="-1510"/>
                    <a:pt x="539378" y="-1440"/>
                    <a:pt x="545244" y="4496"/>
                  </a:cubicBezTo>
                  <a:cubicBezTo>
                    <a:pt x="551110" y="10450"/>
                    <a:pt x="551040" y="20035"/>
                    <a:pt x="545104" y="25901"/>
                  </a:cubicBezTo>
                  <a:lnTo>
                    <a:pt x="544983" y="26023"/>
                  </a:lnTo>
                  <a:cubicBezTo>
                    <a:pt x="542032" y="28939"/>
                    <a:pt x="538191" y="30388"/>
                    <a:pt x="534350" y="30388"/>
                  </a:cubicBezTo>
                  <a:close/>
                </a:path>
              </a:pathLst>
            </a:custGeom>
            <a:grpFill/>
            <a:ln w="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53F27448-9190-C0FA-E5D9-882A9E53C151}"/>
                </a:ext>
              </a:extLst>
            </p:cNvPr>
            <p:cNvSpPr/>
            <p:nvPr/>
          </p:nvSpPr>
          <p:spPr>
            <a:xfrm>
              <a:off x="8483499" y="4692105"/>
              <a:ext cx="464264" cy="464262"/>
            </a:xfrm>
            <a:custGeom>
              <a:avLst/>
              <a:gdLst>
                <a:gd name="connsiteX0" fmla="*/ 15717 w 464264"/>
                <a:gd name="connsiteY0" fmla="*/ 464262 h 464262"/>
                <a:gd name="connsiteX1" fmla="*/ 4525 w 464264"/>
                <a:gd name="connsiteY1" fmla="*/ 459583 h 464262"/>
                <a:gd name="connsiteX2" fmla="*/ 4682 w 464264"/>
                <a:gd name="connsiteY2" fmla="*/ 437357 h 464262"/>
                <a:gd name="connsiteX3" fmla="*/ 4804 w 464264"/>
                <a:gd name="connsiteY3" fmla="*/ 437235 h 464262"/>
                <a:gd name="connsiteX4" fmla="*/ 27030 w 464264"/>
                <a:gd name="connsiteY4" fmla="*/ 437392 h 464262"/>
                <a:gd name="connsiteX5" fmla="*/ 26872 w 464264"/>
                <a:gd name="connsiteY5" fmla="*/ 459618 h 464262"/>
                <a:gd name="connsiteX6" fmla="*/ 26750 w 464264"/>
                <a:gd name="connsiteY6" fmla="*/ 459740 h 464262"/>
                <a:gd name="connsiteX7" fmla="*/ 15717 w 464264"/>
                <a:gd name="connsiteY7" fmla="*/ 464262 h 464262"/>
                <a:gd name="connsiteX8" fmla="*/ 102262 w 464264"/>
                <a:gd name="connsiteY8" fmla="*/ 377716 h 464262"/>
                <a:gd name="connsiteX9" fmla="*/ 91070 w 464264"/>
                <a:gd name="connsiteY9" fmla="*/ 373037 h 464262"/>
                <a:gd name="connsiteX10" fmla="*/ 91228 w 464264"/>
                <a:gd name="connsiteY10" fmla="*/ 350811 h 464262"/>
                <a:gd name="connsiteX11" fmla="*/ 91350 w 464264"/>
                <a:gd name="connsiteY11" fmla="*/ 350689 h 464262"/>
                <a:gd name="connsiteX12" fmla="*/ 113575 w 464264"/>
                <a:gd name="connsiteY12" fmla="*/ 350846 h 464262"/>
                <a:gd name="connsiteX13" fmla="*/ 113418 w 464264"/>
                <a:gd name="connsiteY13" fmla="*/ 373072 h 464262"/>
                <a:gd name="connsiteX14" fmla="*/ 113296 w 464264"/>
                <a:gd name="connsiteY14" fmla="*/ 373194 h 464262"/>
                <a:gd name="connsiteX15" fmla="*/ 102262 w 464264"/>
                <a:gd name="connsiteY15" fmla="*/ 377716 h 464262"/>
                <a:gd name="connsiteX16" fmla="*/ 188790 w 464264"/>
                <a:gd name="connsiteY16" fmla="*/ 291171 h 464262"/>
                <a:gd name="connsiteX17" fmla="*/ 177755 w 464264"/>
                <a:gd name="connsiteY17" fmla="*/ 286649 h 464262"/>
                <a:gd name="connsiteX18" fmla="*/ 177598 w 464264"/>
                <a:gd name="connsiteY18" fmla="*/ 264423 h 464262"/>
                <a:gd name="connsiteX19" fmla="*/ 177720 w 464264"/>
                <a:gd name="connsiteY19" fmla="*/ 264301 h 464262"/>
                <a:gd name="connsiteX20" fmla="*/ 199947 w 464264"/>
                <a:gd name="connsiteY20" fmla="*/ 264144 h 464262"/>
                <a:gd name="connsiteX21" fmla="*/ 200104 w 464264"/>
                <a:gd name="connsiteY21" fmla="*/ 286369 h 464262"/>
                <a:gd name="connsiteX22" fmla="*/ 199981 w 464264"/>
                <a:gd name="connsiteY22" fmla="*/ 286492 h 464262"/>
                <a:gd name="connsiteX23" fmla="*/ 188790 w 464264"/>
                <a:gd name="connsiteY23" fmla="*/ 291171 h 464262"/>
                <a:gd name="connsiteX24" fmla="*/ 275335 w 464264"/>
                <a:gd name="connsiteY24" fmla="*/ 204642 h 464262"/>
                <a:gd name="connsiteX25" fmla="*/ 264301 w 464264"/>
                <a:gd name="connsiteY25" fmla="*/ 200121 h 464262"/>
                <a:gd name="connsiteX26" fmla="*/ 264144 w 464264"/>
                <a:gd name="connsiteY26" fmla="*/ 177895 h 464262"/>
                <a:gd name="connsiteX27" fmla="*/ 264266 w 464264"/>
                <a:gd name="connsiteY27" fmla="*/ 177773 h 464262"/>
                <a:gd name="connsiteX28" fmla="*/ 286492 w 464264"/>
                <a:gd name="connsiteY28" fmla="*/ 177616 h 464262"/>
                <a:gd name="connsiteX29" fmla="*/ 286649 w 464264"/>
                <a:gd name="connsiteY29" fmla="*/ 199841 h 464262"/>
                <a:gd name="connsiteX30" fmla="*/ 286527 w 464264"/>
                <a:gd name="connsiteY30" fmla="*/ 199963 h 464262"/>
                <a:gd name="connsiteX31" fmla="*/ 275335 w 464264"/>
                <a:gd name="connsiteY31" fmla="*/ 204642 h 464262"/>
                <a:gd name="connsiteX32" fmla="*/ 361881 w 464264"/>
                <a:gd name="connsiteY32" fmla="*/ 118097 h 464262"/>
                <a:gd name="connsiteX33" fmla="*/ 350690 w 464264"/>
                <a:gd name="connsiteY33" fmla="*/ 113418 h 464262"/>
                <a:gd name="connsiteX34" fmla="*/ 350847 w 464264"/>
                <a:gd name="connsiteY34" fmla="*/ 91192 h 464262"/>
                <a:gd name="connsiteX35" fmla="*/ 350969 w 464264"/>
                <a:gd name="connsiteY35" fmla="*/ 91070 h 464262"/>
                <a:gd name="connsiteX36" fmla="*/ 373195 w 464264"/>
                <a:gd name="connsiteY36" fmla="*/ 91227 h 464262"/>
                <a:gd name="connsiteX37" fmla="*/ 373037 w 464264"/>
                <a:gd name="connsiteY37" fmla="*/ 113453 h 464262"/>
                <a:gd name="connsiteX38" fmla="*/ 372915 w 464264"/>
                <a:gd name="connsiteY38" fmla="*/ 113575 h 464262"/>
                <a:gd name="connsiteX39" fmla="*/ 361881 w 464264"/>
                <a:gd name="connsiteY39" fmla="*/ 118097 h 464262"/>
                <a:gd name="connsiteX40" fmla="*/ 448427 w 464264"/>
                <a:gd name="connsiteY40" fmla="*/ 31551 h 464262"/>
                <a:gd name="connsiteX41" fmla="*/ 437235 w 464264"/>
                <a:gd name="connsiteY41" fmla="*/ 26872 h 464262"/>
                <a:gd name="connsiteX42" fmla="*/ 437393 w 464264"/>
                <a:gd name="connsiteY42" fmla="*/ 4647 h 464262"/>
                <a:gd name="connsiteX43" fmla="*/ 437515 w 464264"/>
                <a:gd name="connsiteY43" fmla="*/ 4525 h 464262"/>
                <a:gd name="connsiteX44" fmla="*/ 459740 w 464264"/>
                <a:gd name="connsiteY44" fmla="*/ 4681 h 464262"/>
                <a:gd name="connsiteX45" fmla="*/ 459583 w 464264"/>
                <a:gd name="connsiteY45" fmla="*/ 26907 h 464262"/>
                <a:gd name="connsiteX46" fmla="*/ 459461 w 464264"/>
                <a:gd name="connsiteY46" fmla="*/ 27029 h 464262"/>
                <a:gd name="connsiteX47" fmla="*/ 448427 w 464264"/>
                <a:gd name="connsiteY47" fmla="*/ 31551 h 4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64264" h="464262">
                  <a:moveTo>
                    <a:pt x="15717" y="464262"/>
                  </a:moveTo>
                  <a:cubicBezTo>
                    <a:pt x="11665" y="464262"/>
                    <a:pt x="7597" y="462708"/>
                    <a:pt x="4525" y="459583"/>
                  </a:cubicBezTo>
                  <a:cubicBezTo>
                    <a:pt x="-1569" y="453402"/>
                    <a:pt x="-1499" y="443450"/>
                    <a:pt x="4682" y="437357"/>
                  </a:cubicBezTo>
                  <a:lnTo>
                    <a:pt x="4804" y="437235"/>
                  </a:lnTo>
                  <a:cubicBezTo>
                    <a:pt x="10984" y="431141"/>
                    <a:pt x="20936" y="431211"/>
                    <a:pt x="27030" y="437392"/>
                  </a:cubicBezTo>
                  <a:cubicBezTo>
                    <a:pt x="33123" y="443573"/>
                    <a:pt x="33053" y="453524"/>
                    <a:pt x="26872" y="459618"/>
                  </a:cubicBezTo>
                  <a:lnTo>
                    <a:pt x="26750" y="459740"/>
                  </a:lnTo>
                  <a:cubicBezTo>
                    <a:pt x="23695" y="462760"/>
                    <a:pt x="19697" y="464262"/>
                    <a:pt x="15717" y="464262"/>
                  </a:cubicBezTo>
                  <a:close/>
                  <a:moveTo>
                    <a:pt x="102262" y="377716"/>
                  </a:moveTo>
                  <a:cubicBezTo>
                    <a:pt x="98212" y="377716"/>
                    <a:pt x="94143" y="376162"/>
                    <a:pt x="91070" y="373037"/>
                  </a:cubicBezTo>
                  <a:cubicBezTo>
                    <a:pt x="84977" y="366857"/>
                    <a:pt x="85047" y="356905"/>
                    <a:pt x="91228" y="350811"/>
                  </a:cubicBezTo>
                  <a:lnTo>
                    <a:pt x="91350" y="350689"/>
                  </a:lnTo>
                  <a:cubicBezTo>
                    <a:pt x="97530" y="344596"/>
                    <a:pt x="107482" y="344666"/>
                    <a:pt x="113575" y="350846"/>
                  </a:cubicBezTo>
                  <a:cubicBezTo>
                    <a:pt x="119668" y="357027"/>
                    <a:pt x="119599" y="366979"/>
                    <a:pt x="113418" y="373072"/>
                  </a:cubicBezTo>
                  <a:lnTo>
                    <a:pt x="113296" y="373194"/>
                  </a:lnTo>
                  <a:cubicBezTo>
                    <a:pt x="110240" y="376215"/>
                    <a:pt x="106242" y="377716"/>
                    <a:pt x="102262" y="377716"/>
                  </a:cubicBezTo>
                  <a:close/>
                  <a:moveTo>
                    <a:pt x="188790" y="291171"/>
                  </a:moveTo>
                  <a:cubicBezTo>
                    <a:pt x="184809" y="291171"/>
                    <a:pt x="180811" y="289669"/>
                    <a:pt x="177755" y="286649"/>
                  </a:cubicBezTo>
                  <a:cubicBezTo>
                    <a:pt x="171575" y="280555"/>
                    <a:pt x="171506" y="270604"/>
                    <a:pt x="177598" y="264423"/>
                  </a:cubicBezTo>
                  <a:lnTo>
                    <a:pt x="177720" y="264301"/>
                  </a:lnTo>
                  <a:cubicBezTo>
                    <a:pt x="183814" y="258120"/>
                    <a:pt x="193766" y="258050"/>
                    <a:pt x="199947" y="264144"/>
                  </a:cubicBezTo>
                  <a:cubicBezTo>
                    <a:pt x="206127" y="270237"/>
                    <a:pt x="206196" y="280189"/>
                    <a:pt x="200104" y="286369"/>
                  </a:cubicBezTo>
                  <a:lnTo>
                    <a:pt x="199981" y="286492"/>
                  </a:lnTo>
                  <a:cubicBezTo>
                    <a:pt x="196908" y="289617"/>
                    <a:pt x="192858" y="291171"/>
                    <a:pt x="188790" y="291171"/>
                  </a:cubicBezTo>
                  <a:close/>
                  <a:moveTo>
                    <a:pt x="275335" y="204642"/>
                  </a:moveTo>
                  <a:cubicBezTo>
                    <a:pt x="271355" y="204642"/>
                    <a:pt x="267357" y="203141"/>
                    <a:pt x="264301" y="200121"/>
                  </a:cubicBezTo>
                  <a:cubicBezTo>
                    <a:pt x="258121" y="194027"/>
                    <a:pt x="258051" y="184075"/>
                    <a:pt x="264144" y="177895"/>
                  </a:cubicBezTo>
                  <a:lnTo>
                    <a:pt x="264266" y="177773"/>
                  </a:lnTo>
                  <a:cubicBezTo>
                    <a:pt x="270359" y="171592"/>
                    <a:pt x="280311" y="171522"/>
                    <a:pt x="286492" y="177616"/>
                  </a:cubicBezTo>
                  <a:cubicBezTo>
                    <a:pt x="292673" y="183709"/>
                    <a:pt x="292743" y="193660"/>
                    <a:pt x="286649" y="199841"/>
                  </a:cubicBezTo>
                  <a:lnTo>
                    <a:pt x="286527" y="199963"/>
                  </a:lnTo>
                  <a:cubicBezTo>
                    <a:pt x="283454" y="203089"/>
                    <a:pt x="279403" y="204642"/>
                    <a:pt x="275335" y="204642"/>
                  </a:cubicBezTo>
                  <a:close/>
                  <a:moveTo>
                    <a:pt x="361881" y="118097"/>
                  </a:moveTo>
                  <a:cubicBezTo>
                    <a:pt x="357830" y="118097"/>
                    <a:pt x="353762" y="116543"/>
                    <a:pt x="350690" y="113418"/>
                  </a:cubicBezTo>
                  <a:cubicBezTo>
                    <a:pt x="344596" y="107237"/>
                    <a:pt x="344666" y="97285"/>
                    <a:pt x="350847" y="91192"/>
                  </a:cubicBezTo>
                  <a:lnTo>
                    <a:pt x="350969" y="91070"/>
                  </a:lnTo>
                  <a:cubicBezTo>
                    <a:pt x="357149" y="84977"/>
                    <a:pt x="367101" y="85046"/>
                    <a:pt x="373195" y="91227"/>
                  </a:cubicBezTo>
                  <a:cubicBezTo>
                    <a:pt x="379288" y="97408"/>
                    <a:pt x="379218" y="107359"/>
                    <a:pt x="373037" y="113453"/>
                  </a:cubicBezTo>
                  <a:lnTo>
                    <a:pt x="372915" y="113575"/>
                  </a:lnTo>
                  <a:cubicBezTo>
                    <a:pt x="369860" y="116595"/>
                    <a:pt x="365862" y="118097"/>
                    <a:pt x="361881" y="118097"/>
                  </a:cubicBezTo>
                  <a:close/>
                  <a:moveTo>
                    <a:pt x="448427" y="31551"/>
                  </a:moveTo>
                  <a:cubicBezTo>
                    <a:pt x="444376" y="31551"/>
                    <a:pt x="440308" y="29997"/>
                    <a:pt x="437235" y="26872"/>
                  </a:cubicBezTo>
                  <a:cubicBezTo>
                    <a:pt x="431142" y="20692"/>
                    <a:pt x="431212" y="10740"/>
                    <a:pt x="437393" y="4647"/>
                  </a:cubicBezTo>
                  <a:lnTo>
                    <a:pt x="437515" y="4525"/>
                  </a:lnTo>
                  <a:cubicBezTo>
                    <a:pt x="443695" y="-1569"/>
                    <a:pt x="453647" y="-1499"/>
                    <a:pt x="459740" y="4681"/>
                  </a:cubicBezTo>
                  <a:cubicBezTo>
                    <a:pt x="465833" y="10862"/>
                    <a:pt x="465764" y="20814"/>
                    <a:pt x="459583" y="26907"/>
                  </a:cubicBezTo>
                  <a:lnTo>
                    <a:pt x="459461" y="27029"/>
                  </a:lnTo>
                  <a:cubicBezTo>
                    <a:pt x="456405" y="30050"/>
                    <a:pt x="452407" y="31551"/>
                    <a:pt x="448427" y="31551"/>
                  </a:cubicBezTo>
                  <a:close/>
                </a:path>
              </a:pathLst>
            </a:custGeom>
            <a:grpFill/>
            <a:ln w="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C220141-BA66-80A6-6D92-F1110339F790}"/>
                </a:ext>
              </a:extLst>
            </p:cNvPr>
            <p:cNvSpPr/>
            <p:nvPr/>
          </p:nvSpPr>
          <p:spPr>
            <a:xfrm>
              <a:off x="8545499" y="4838277"/>
              <a:ext cx="378844" cy="378778"/>
            </a:xfrm>
            <a:custGeom>
              <a:avLst/>
              <a:gdLst>
                <a:gd name="connsiteX0" fmla="*/ 16290 w 378844"/>
                <a:gd name="connsiteY0" fmla="*/ 378779 h 378778"/>
                <a:gd name="connsiteX1" fmla="*/ 4802 w 378844"/>
                <a:gd name="connsiteY1" fmla="*/ 374030 h 378778"/>
                <a:gd name="connsiteX2" fmla="*/ 4732 w 378844"/>
                <a:gd name="connsiteY2" fmla="*/ 351054 h 378778"/>
                <a:gd name="connsiteX3" fmla="*/ 4854 w 378844"/>
                <a:gd name="connsiteY3" fmla="*/ 350931 h 378778"/>
                <a:gd name="connsiteX4" fmla="*/ 27900 w 378844"/>
                <a:gd name="connsiteY4" fmla="*/ 350931 h 378778"/>
                <a:gd name="connsiteX5" fmla="*/ 27900 w 378844"/>
                <a:gd name="connsiteY5" fmla="*/ 373977 h 378778"/>
                <a:gd name="connsiteX6" fmla="*/ 16290 w 378844"/>
                <a:gd name="connsiteY6" fmla="*/ 378779 h 378778"/>
                <a:gd name="connsiteX7" fmla="*/ 102818 w 378844"/>
                <a:gd name="connsiteY7" fmla="*/ 292233 h 378778"/>
                <a:gd name="connsiteX8" fmla="*/ 91330 w 378844"/>
                <a:gd name="connsiteY8" fmla="*/ 287484 h 378778"/>
                <a:gd name="connsiteX9" fmla="*/ 91260 w 378844"/>
                <a:gd name="connsiteY9" fmla="*/ 264508 h 378778"/>
                <a:gd name="connsiteX10" fmla="*/ 91382 w 378844"/>
                <a:gd name="connsiteY10" fmla="*/ 264386 h 378778"/>
                <a:gd name="connsiteX11" fmla="*/ 114428 w 378844"/>
                <a:gd name="connsiteY11" fmla="*/ 264386 h 378778"/>
                <a:gd name="connsiteX12" fmla="*/ 114428 w 378844"/>
                <a:gd name="connsiteY12" fmla="*/ 287432 h 378778"/>
                <a:gd name="connsiteX13" fmla="*/ 102818 w 378844"/>
                <a:gd name="connsiteY13" fmla="*/ 292233 h 378778"/>
                <a:gd name="connsiteX14" fmla="*/ 189364 w 378844"/>
                <a:gd name="connsiteY14" fmla="*/ 205705 h 378778"/>
                <a:gd name="connsiteX15" fmla="*/ 177875 w 378844"/>
                <a:gd name="connsiteY15" fmla="*/ 200956 h 378778"/>
                <a:gd name="connsiteX16" fmla="*/ 177805 w 378844"/>
                <a:gd name="connsiteY16" fmla="*/ 177980 h 378778"/>
                <a:gd name="connsiteX17" fmla="*/ 177928 w 378844"/>
                <a:gd name="connsiteY17" fmla="*/ 177858 h 378778"/>
                <a:gd name="connsiteX18" fmla="*/ 200974 w 378844"/>
                <a:gd name="connsiteY18" fmla="*/ 177858 h 378778"/>
                <a:gd name="connsiteX19" fmla="*/ 200974 w 378844"/>
                <a:gd name="connsiteY19" fmla="*/ 200904 h 378778"/>
                <a:gd name="connsiteX20" fmla="*/ 189364 w 378844"/>
                <a:gd name="connsiteY20" fmla="*/ 205705 h 378778"/>
                <a:gd name="connsiteX21" fmla="*/ 275875 w 378844"/>
                <a:gd name="connsiteY21" fmla="*/ 119247 h 378778"/>
                <a:gd name="connsiteX22" fmla="*/ 264351 w 378844"/>
                <a:gd name="connsiteY22" fmla="*/ 114480 h 378778"/>
                <a:gd name="connsiteX23" fmla="*/ 264351 w 378844"/>
                <a:gd name="connsiteY23" fmla="*/ 91434 h 378778"/>
                <a:gd name="connsiteX24" fmla="*/ 264473 w 378844"/>
                <a:gd name="connsiteY24" fmla="*/ 91312 h 378778"/>
                <a:gd name="connsiteX25" fmla="*/ 287520 w 378844"/>
                <a:gd name="connsiteY25" fmla="*/ 91312 h 378778"/>
                <a:gd name="connsiteX26" fmla="*/ 287520 w 378844"/>
                <a:gd name="connsiteY26" fmla="*/ 114358 h 378778"/>
                <a:gd name="connsiteX27" fmla="*/ 287397 w 378844"/>
                <a:gd name="connsiteY27" fmla="*/ 114480 h 378778"/>
                <a:gd name="connsiteX28" fmla="*/ 275875 w 378844"/>
                <a:gd name="connsiteY28" fmla="*/ 119247 h 378778"/>
                <a:gd name="connsiteX29" fmla="*/ 362420 w 378844"/>
                <a:gd name="connsiteY29" fmla="*/ 32701 h 378778"/>
                <a:gd name="connsiteX30" fmla="*/ 350897 w 378844"/>
                <a:gd name="connsiteY30" fmla="*/ 27935 h 378778"/>
                <a:gd name="connsiteX31" fmla="*/ 350897 w 378844"/>
                <a:gd name="connsiteY31" fmla="*/ 4889 h 378778"/>
                <a:gd name="connsiteX32" fmla="*/ 351019 w 378844"/>
                <a:gd name="connsiteY32" fmla="*/ 4766 h 378778"/>
                <a:gd name="connsiteX33" fmla="*/ 374065 w 378844"/>
                <a:gd name="connsiteY33" fmla="*/ 4766 h 378778"/>
                <a:gd name="connsiteX34" fmla="*/ 374065 w 378844"/>
                <a:gd name="connsiteY34" fmla="*/ 27813 h 378778"/>
                <a:gd name="connsiteX35" fmla="*/ 373943 w 378844"/>
                <a:gd name="connsiteY35" fmla="*/ 27935 h 378778"/>
                <a:gd name="connsiteX36" fmla="*/ 362420 w 378844"/>
                <a:gd name="connsiteY36" fmla="*/ 32701 h 37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8844" h="378778">
                  <a:moveTo>
                    <a:pt x="16290" y="378779"/>
                  </a:moveTo>
                  <a:cubicBezTo>
                    <a:pt x="12117" y="378779"/>
                    <a:pt x="7962" y="377207"/>
                    <a:pt x="4802" y="374030"/>
                  </a:cubicBezTo>
                  <a:cubicBezTo>
                    <a:pt x="-1554" y="367675"/>
                    <a:pt x="-1624" y="357408"/>
                    <a:pt x="4732" y="351054"/>
                  </a:cubicBezTo>
                  <a:lnTo>
                    <a:pt x="4854" y="350931"/>
                  </a:lnTo>
                  <a:cubicBezTo>
                    <a:pt x="11209" y="344576"/>
                    <a:pt x="21528" y="344576"/>
                    <a:pt x="27900" y="350931"/>
                  </a:cubicBezTo>
                  <a:cubicBezTo>
                    <a:pt x="34256" y="357287"/>
                    <a:pt x="34256" y="367605"/>
                    <a:pt x="27900" y="373977"/>
                  </a:cubicBezTo>
                  <a:cubicBezTo>
                    <a:pt x="24705" y="377173"/>
                    <a:pt x="20498" y="378779"/>
                    <a:pt x="16290" y="378779"/>
                  </a:cubicBezTo>
                  <a:close/>
                  <a:moveTo>
                    <a:pt x="102818" y="292233"/>
                  </a:moveTo>
                  <a:cubicBezTo>
                    <a:pt x="98645" y="292233"/>
                    <a:pt x="94490" y="290662"/>
                    <a:pt x="91330" y="287484"/>
                  </a:cubicBezTo>
                  <a:cubicBezTo>
                    <a:pt x="84957" y="281129"/>
                    <a:pt x="84905" y="270863"/>
                    <a:pt x="91260" y="264508"/>
                  </a:cubicBezTo>
                  <a:lnTo>
                    <a:pt x="91382" y="264386"/>
                  </a:lnTo>
                  <a:cubicBezTo>
                    <a:pt x="97737" y="258030"/>
                    <a:pt x="108056" y="258030"/>
                    <a:pt x="114428" y="264386"/>
                  </a:cubicBezTo>
                  <a:cubicBezTo>
                    <a:pt x="120784" y="270741"/>
                    <a:pt x="120784" y="281059"/>
                    <a:pt x="114428" y="287432"/>
                  </a:cubicBezTo>
                  <a:cubicBezTo>
                    <a:pt x="111233" y="290627"/>
                    <a:pt x="107025" y="292233"/>
                    <a:pt x="102818" y="292233"/>
                  </a:cubicBezTo>
                  <a:close/>
                  <a:moveTo>
                    <a:pt x="189364" y="205705"/>
                  </a:moveTo>
                  <a:cubicBezTo>
                    <a:pt x="185191" y="205705"/>
                    <a:pt x="181035" y="204134"/>
                    <a:pt x="177875" y="200956"/>
                  </a:cubicBezTo>
                  <a:cubicBezTo>
                    <a:pt x="171503" y="194601"/>
                    <a:pt x="171451" y="184335"/>
                    <a:pt x="177805" y="177980"/>
                  </a:cubicBezTo>
                  <a:lnTo>
                    <a:pt x="177928" y="177858"/>
                  </a:lnTo>
                  <a:cubicBezTo>
                    <a:pt x="184283" y="171502"/>
                    <a:pt x="194601" y="171502"/>
                    <a:pt x="200974" y="177858"/>
                  </a:cubicBezTo>
                  <a:cubicBezTo>
                    <a:pt x="207329" y="184213"/>
                    <a:pt x="207329" y="194531"/>
                    <a:pt x="200974" y="200904"/>
                  </a:cubicBezTo>
                  <a:cubicBezTo>
                    <a:pt x="197779" y="204099"/>
                    <a:pt x="193571" y="205705"/>
                    <a:pt x="189364" y="205705"/>
                  </a:cubicBezTo>
                  <a:close/>
                  <a:moveTo>
                    <a:pt x="275875" y="119247"/>
                  </a:moveTo>
                  <a:cubicBezTo>
                    <a:pt x="271702" y="119247"/>
                    <a:pt x="267529" y="117658"/>
                    <a:pt x="264351" y="114480"/>
                  </a:cubicBezTo>
                  <a:cubicBezTo>
                    <a:pt x="257996" y="108125"/>
                    <a:pt x="257996" y="97807"/>
                    <a:pt x="264351" y="91434"/>
                  </a:cubicBezTo>
                  <a:lnTo>
                    <a:pt x="264473" y="91312"/>
                  </a:lnTo>
                  <a:cubicBezTo>
                    <a:pt x="270829" y="84957"/>
                    <a:pt x="281147" y="84957"/>
                    <a:pt x="287520" y="91312"/>
                  </a:cubicBezTo>
                  <a:cubicBezTo>
                    <a:pt x="293874" y="97667"/>
                    <a:pt x="293874" y="107986"/>
                    <a:pt x="287520" y="114358"/>
                  </a:cubicBezTo>
                  <a:lnTo>
                    <a:pt x="287397" y="114480"/>
                  </a:lnTo>
                  <a:cubicBezTo>
                    <a:pt x="284220" y="117658"/>
                    <a:pt x="280047" y="119247"/>
                    <a:pt x="275875" y="119247"/>
                  </a:cubicBezTo>
                  <a:close/>
                  <a:moveTo>
                    <a:pt x="362420" y="32701"/>
                  </a:moveTo>
                  <a:cubicBezTo>
                    <a:pt x="358247" y="32701"/>
                    <a:pt x="354074" y="31112"/>
                    <a:pt x="350897" y="27935"/>
                  </a:cubicBezTo>
                  <a:cubicBezTo>
                    <a:pt x="344541" y="21580"/>
                    <a:pt x="344541" y="11261"/>
                    <a:pt x="350897" y="4889"/>
                  </a:cubicBezTo>
                  <a:lnTo>
                    <a:pt x="351019" y="4766"/>
                  </a:lnTo>
                  <a:cubicBezTo>
                    <a:pt x="357374" y="-1589"/>
                    <a:pt x="367693" y="-1589"/>
                    <a:pt x="374065" y="4766"/>
                  </a:cubicBezTo>
                  <a:cubicBezTo>
                    <a:pt x="380438" y="11122"/>
                    <a:pt x="380438" y="21440"/>
                    <a:pt x="374065" y="27813"/>
                  </a:cubicBezTo>
                  <a:lnTo>
                    <a:pt x="373943" y="27935"/>
                  </a:lnTo>
                  <a:cubicBezTo>
                    <a:pt x="370765" y="31112"/>
                    <a:pt x="366593" y="32701"/>
                    <a:pt x="362420" y="32701"/>
                  </a:cubicBezTo>
                  <a:close/>
                </a:path>
              </a:pathLst>
            </a:custGeom>
            <a:grpFill/>
            <a:ln w="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B791EEDB-C39D-02D0-2C8F-D193E2E235DA}"/>
                </a:ext>
              </a:extLst>
            </p:cNvPr>
            <p:cNvSpPr/>
            <p:nvPr/>
          </p:nvSpPr>
          <p:spPr>
            <a:xfrm>
              <a:off x="8693988" y="4984437"/>
              <a:ext cx="206938" cy="206883"/>
            </a:xfrm>
            <a:custGeom>
              <a:avLst/>
              <a:gdLst>
                <a:gd name="connsiteX0" fmla="*/ 16886 w 206938"/>
                <a:gd name="connsiteY0" fmla="*/ 206866 h 206883"/>
                <a:gd name="connsiteX1" fmla="*/ 4978 w 206938"/>
                <a:gd name="connsiteY1" fmla="*/ 201960 h 206883"/>
                <a:gd name="connsiteX2" fmla="*/ 4908 w 206938"/>
                <a:gd name="connsiteY2" fmla="*/ 178163 h 206883"/>
                <a:gd name="connsiteX3" fmla="*/ 5031 w 206938"/>
                <a:gd name="connsiteY3" fmla="*/ 178041 h 206883"/>
                <a:gd name="connsiteX4" fmla="*/ 28898 w 206938"/>
                <a:gd name="connsiteY4" fmla="*/ 178041 h 206883"/>
                <a:gd name="connsiteX5" fmla="*/ 28898 w 206938"/>
                <a:gd name="connsiteY5" fmla="*/ 201908 h 206883"/>
                <a:gd name="connsiteX6" fmla="*/ 16868 w 206938"/>
                <a:gd name="connsiteY6" fmla="*/ 206883 h 206883"/>
                <a:gd name="connsiteX7" fmla="*/ 103431 w 206938"/>
                <a:gd name="connsiteY7" fmla="*/ 120321 h 206883"/>
                <a:gd name="connsiteX8" fmla="*/ 91524 w 206938"/>
                <a:gd name="connsiteY8" fmla="*/ 115415 h 206883"/>
                <a:gd name="connsiteX9" fmla="*/ 91454 w 206938"/>
                <a:gd name="connsiteY9" fmla="*/ 91618 h 206883"/>
                <a:gd name="connsiteX10" fmla="*/ 91576 w 206938"/>
                <a:gd name="connsiteY10" fmla="*/ 91495 h 206883"/>
                <a:gd name="connsiteX11" fmla="*/ 115443 w 206938"/>
                <a:gd name="connsiteY11" fmla="*/ 91495 h 206883"/>
                <a:gd name="connsiteX12" fmla="*/ 115443 w 206938"/>
                <a:gd name="connsiteY12" fmla="*/ 115362 h 206883"/>
                <a:gd name="connsiteX13" fmla="*/ 103413 w 206938"/>
                <a:gd name="connsiteY13" fmla="*/ 120338 h 206883"/>
                <a:gd name="connsiteX14" fmla="*/ 189941 w 206938"/>
                <a:gd name="connsiteY14" fmla="*/ 33880 h 206883"/>
                <a:gd name="connsiteX15" fmla="*/ 178000 w 206938"/>
                <a:gd name="connsiteY15" fmla="*/ 28939 h 206883"/>
                <a:gd name="connsiteX16" fmla="*/ 178000 w 206938"/>
                <a:gd name="connsiteY16" fmla="*/ 5072 h 206883"/>
                <a:gd name="connsiteX17" fmla="*/ 178122 w 206938"/>
                <a:gd name="connsiteY17" fmla="*/ 4950 h 206883"/>
                <a:gd name="connsiteX18" fmla="*/ 201989 w 206938"/>
                <a:gd name="connsiteY18" fmla="*/ 4950 h 206883"/>
                <a:gd name="connsiteX19" fmla="*/ 201989 w 206938"/>
                <a:gd name="connsiteY19" fmla="*/ 28816 h 206883"/>
                <a:gd name="connsiteX20" fmla="*/ 201866 w 206938"/>
                <a:gd name="connsiteY20" fmla="*/ 28939 h 206883"/>
                <a:gd name="connsiteX21" fmla="*/ 189924 w 206938"/>
                <a:gd name="connsiteY21" fmla="*/ 33880 h 20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938" h="206883">
                  <a:moveTo>
                    <a:pt x="16886" y="206866"/>
                  </a:moveTo>
                  <a:cubicBezTo>
                    <a:pt x="12573" y="206866"/>
                    <a:pt x="8260" y="205225"/>
                    <a:pt x="4978" y="201960"/>
                  </a:cubicBezTo>
                  <a:cubicBezTo>
                    <a:pt x="-1621" y="195378"/>
                    <a:pt x="-1674" y="184745"/>
                    <a:pt x="4908" y="178163"/>
                  </a:cubicBezTo>
                  <a:lnTo>
                    <a:pt x="5031" y="178041"/>
                  </a:lnTo>
                  <a:cubicBezTo>
                    <a:pt x="11613" y="171459"/>
                    <a:pt x="22315" y="171459"/>
                    <a:pt x="28898" y="178041"/>
                  </a:cubicBezTo>
                  <a:cubicBezTo>
                    <a:pt x="35480" y="184640"/>
                    <a:pt x="35480" y="195326"/>
                    <a:pt x="28898" y="201908"/>
                  </a:cubicBezTo>
                  <a:cubicBezTo>
                    <a:pt x="25581" y="205225"/>
                    <a:pt x="21233" y="206883"/>
                    <a:pt x="16868" y="206883"/>
                  </a:cubicBezTo>
                  <a:close/>
                  <a:moveTo>
                    <a:pt x="103431" y="120321"/>
                  </a:moveTo>
                  <a:cubicBezTo>
                    <a:pt x="99118" y="120321"/>
                    <a:pt x="94806" y="118680"/>
                    <a:pt x="91524" y="115415"/>
                  </a:cubicBezTo>
                  <a:cubicBezTo>
                    <a:pt x="84924" y="108832"/>
                    <a:pt x="84872" y="98200"/>
                    <a:pt x="91454" y="91618"/>
                  </a:cubicBezTo>
                  <a:lnTo>
                    <a:pt x="91576" y="91495"/>
                  </a:lnTo>
                  <a:cubicBezTo>
                    <a:pt x="98158" y="84896"/>
                    <a:pt x="108861" y="84896"/>
                    <a:pt x="115443" y="91495"/>
                  </a:cubicBezTo>
                  <a:cubicBezTo>
                    <a:pt x="122043" y="98078"/>
                    <a:pt x="122043" y="108780"/>
                    <a:pt x="115443" y="115362"/>
                  </a:cubicBezTo>
                  <a:cubicBezTo>
                    <a:pt x="112126" y="118680"/>
                    <a:pt x="107778" y="120338"/>
                    <a:pt x="103413" y="120338"/>
                  </a:cubicBezTo>
                  <a:close/>
                  <a:moveTo>
                    <a:pt x="189941" y="33880"/>
                  </a:moveTo>
                  <a:cubicBezTo>
                    <a:pt x="185630" y="33880"/>
                    <a:pt x="181300" y="32239"/>
                    <a:pt x="178000" y="28939"/>
                  </a:cubicBezTo>
                  <a:cubicBezTo>
                    <a:pt x="171417" y="22339"/>
                    <a:pt x="171417" y="11654"/>
                    <a:pt x="178000" y="5072"/>
                  </a:cubicBezTo>
                  <a:lnTo>
                    <a:pt x="178122" y="4950"/>
                  </a:lnTo>
                  <a:cubicBezTo>
                    <a:pt x="184704" y="-1650"/>
                    <a:pt x="195407" y="-1650"/>
                    <a:pt x="201989" y="4950"/>
                  </a:cubicBezTo>
                  <a:cubicBezTo>
                    <a:pt x="208588" y="11532"/>
                    <a:pt x="208588" y="22234"/>
                    <a:pt x="201989" y="28816"/>
                  </a:cubicBezTo>
                  <a:lnTo>
                    <a:pt x="201866" y="28939"/>
                  </a:lnTo>
                  <a:cubicBezTo>
                    <a:pt x="198566" y="32239"/>
                    <a:pt x="194254" y="33880"/>
                    <a:pt x="189924" y="33880"/>
                  </a:cubicBezTo>
                  <a:close/>
                </a:path>
              </a:pathLst>
            </a:custGeom>
            <a:grpFill/>
            <a:ln w="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916DCA8A-8021-6040-58E6-122AE45B7C70}"/>
                </a:ext>
              </a:extLst>
            </p:cNvPr>
            <p:cNvSpPr/>
            <p:nvPr/>
          </p:nvSpPr>
          <p:spPr>
            <a:xfrm>
              <a:off x="8842466" y="5044060"/>
              <a:ext cx="121583" cy="121577"/>
            </a:xfrm>
            <a:custGeom>
              <a:avLst/>
              <a:gdLst>
                <a:gd name="connsiteX0" fmla="*/ 17457 w 121583"/>
                <a:gd name="connsiteY0" fmla="*/ 121578 h 121577"/>
                <a:gd name="connsiteX1" fmla="*/ 5201 w 121583"/>
                <a:gd name="connsiteY1" fmla="*/ 116550 h 121577"/>
                <a:gd name="connsiteX2" fmla="*/ 5027 w 121583"/>
                <a:gd name="connsiteY2" fmla="*/ 91862 h 121577"/>
                <a:gd name="connsiteX3" fmla="*/ 5149 w 121583"/>
                <a:gd name="connsiteY3" fmla="*/ 91740 h 121577"/>
                <a:gd name="connsiteX4" fmla="*/ 29836 w 121583"/>
                <a:gd name="connsiteY4" fmla="*/ 91565 h 121577"/>
                <a:gd name="connsiteX5" fmla="*/ 30010 w 121583"/>
                <a:gd name="connsiteY5" fmla="*/ 116253 h 121577"/>
                <a:gd name="connsiteX6" fmla="*/ 29888 w 121583"/>
                <a:gd name="connsiteY6" fmla="*/ 116375 h 121577"/>
                <a:gd name="connsiteX7" fmla="*/ 17457 w 121583"/>
                <a:gd name="connsiteY7" fmla="*/ 121578 h 121577"/>
                <a:gd name="connsiteX8" fmla="*/ 104003 w 121583"/>
                <a:gd name="connsiteY8" fmla="*/ 35033 h 121577"/>
                <a:gd name="connsiteX9" fmla="*/ 91747 w 121583"/>
                <a:gd name="connsiteY9" fmla="*/ 30004 h 121577"/>
                <a:gd name="connsiteX10" fmla="*/ 91572 w 121583"/>
                <a:gd name="connsiteY10" fmla="*/ 5317 h 121577"/>
                <a:gd name="connsiteX11" fmla="*/ 91694 w 121583"/>
                <a:gd name="connsiteY11" fmla="*/ 5195 h 121577"/>
                <a:gd name="connsiteX12" fmla="*/ 116382 w 121583"/>
                <a:gd name="connsiteY12" fmla="*/ 5020 h 121577"/>
                <a:gd name="connsiteX13" fmla="*/ 116557 w 121583"/>
                <a:gd name="connsiteY13" fmla="*/ 29707 h 121577"/>
                <a:gd name="connsiteX14" fmla="*/ 116434 w 121583"/>
                <a:gd name="connsiteY14" fmla="*/ 29829 h 121577"/>
                <a:gd name="connsiteX15" fmla="*/ 104003 w 121583"/>
                <a:gd name="connsiteY15" fmla="*/ 35033 h 12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583" h="121577">
                  <a:moveTo>
                    <a:pt x="17457" y="121578"/>
                  </a:moveTo>
                  <a:cubicBezTo>
                    <a:pt x="13023" y="121578"/>
                    <a:pt x="8606" y="119902"/>
                    <a:pt x="5201" y="116550"/>
                  </a:cubicBezTo>
                  <a:cubicBezTo>
                    <a:pt x="-1660" y="109775"/>
                    <a:pt x="-1748" y="98724"/>
                    <a:pt x="5027" y="91862"/>
                  </a:cubicBezTo>
                  <a:lnTo>
                    <a:pt x="5149" y="91740"/>
                  </a:lnTo>
                  <a:cubicBezTo>
                    <a:pt x="11923" y="84878"/>
                    <a:pt x="22975" y="84809"/>
                    <a:pt x="29836" y="91565"/>
                  </a:cubicBezTo>
                  <a:cubicBezTo>
                    <a:pt x="36697" y="98340"/>
                    <a:pt x="36785" y="109391"/>
                    <a:pt x="30010" y="116253"/>
                  </a:cubicBezTo>
                  <a:lnTo>
                    <a:pt x="29888" y="116375"/>
                  </a:lnTo>
                  <a:cubicBezTo>
                    <a:pt x="26467" y="119832"/>
                    <a:pt x="21962" y="121578"/>
                    <a:pt x="17457" y="121578"/>
                  </a:cubicBezTo>
                  <a:close/>
                  <a:moveTo>
                    <a:pt x="104003" y="35033"/>
                  </a:moveTo>
                  <a:cubicBezTo>
                    <a:pt x="99569" y="35033"/>
                    <a:pt x="95151" y="33356"/>
                    <a:pt x="91747" y="30004"/>
                  </a:cubicBezTo>
                  <a:cubicBezTo>
                    <a:pt x="84885" y="23230"/>
                    <a:pt x="84798" y="12178"/>
                    <a:pt x="91572" y="5317"/>
                  </a:cubicBezTo>
                  <a:lnTo>
                    <a:pt x="91694" y="5195"/>
                  </a:lnTo>
                  <a:cubicBezTo>
                    <a:pt x="98469" y="-1667"/>
                    <a:pt x="109520" y="-1737"/>
                    <a:pt x="116382" y="5020"/>
                  </a:cubicBezTo>
                  <a:cubicBezTo>
                    <a:pt x="123244" y="11794"/>
                    <a:pt x="123331" y="22846"/>
                    <a:pt x="116557" y="29707"/>
                  </a:cubicBezTo>
                  <a:lnTo>
                    <a:pt x="116434" y="29829"/>
                  </a:lnTo>
                  <a:cubicBezTo>
                    <a:pt x="113012" y="33287"/>
                    <a:pt x="108508" y="35033"/>
                    <a:pt x="104003" y="35033"/>
                  </a:cubicBezTo>
                  <a:close/>
                </a:path>
              </a:pathLst>
            </a:custGeom>
            <a:grpFill/>
            <a:ln w="0" cap="flat">
              <a:noFill/>
              <a:prstDash val="solid"/>
              <a:miter/>
            </a:ln>
          </p:spPr>
          <p:txBody>
            <a:bodyPr rtlCol="0" anchor="ctr"/>
            <a:lstStyle/>
            <a:p>
              <a:endParaRPr lang="en-US"/>
            </a:p>
          </p:txBody>
        </p:sp>
      </p:grpSp>
      <p:sp>
        <p:nvSpPr>
          <p:cNvPr id="7" name="Text Placeholder 6">
            <a:extLst>
              <a:ext uri="{FF2B5EF4-FFF2-40B4-BE49-F238E27FC236}">
                <a16:creationId xmlns:a16="http://schemas.microsoft.com/office/drawing/2014/main" id="{22334434-518E-A7B9-CD16-389FC1A7915E}"/>
              </a:ext>
            </a:extLst>
          </p:cNvPr>
          <p:cNvSpPr>
            <a:spLocks noGrp="1"/>
          </p:cNvSpPr>
          <p:nvPr>
            <p:ph type="body" sz="quarter" idx="25" hasCustomPrompt="1"/>
          </p:nvPr>
        </p:nvSpPr>
        <p:spPr>
          <a:xfrm>
            <a:off x="460374" y="2894013"/>
            <a:ext cx="6313806" cy="241285"/>
          </a:xfrm>
        </p:spPr>
        <p:txBody>
          <a:bodyPr/>
          <a:lstStyle>
            <a:lvl1pPr>
              <a:defRPr sz="1400">
                <a:solidFill>
                  <a:schemeClr val="tx1"/>
                </a:solidFill>
                <a:latin typeface="+mn-lt"/>
              </a:defRPr>
            </a:lvl1pPr>
          </a:lstStyle>
          <a:p>
            <a:pPr lvl="0"/>
            <a:r>
              <a:rPr lang="en-DE"/>
              <a:t>A subheading can go here if you would like to explain more about this chapter.</a:t>
            </a:r>
          </a:p>
        </p:txBody>
      </p:sp>
      <p:pic>
        <p:nvPicPr>
          <p:cNvPr id="11" name="Picture 10">
            <a:extLst>
              <a:ext uri="{FF2B5EF4-FFF2-40B4-BE49-F238E27FC236}">
                <a16:creationId xmlns:a16="http://schemas.microsoft.com/office/drawing/2014/main" id="{6CA044CB-6E74-8513-76D8-0B5BC7B951FD}"/>
              </a:ext>
            </a:extLst>
          </p:cNvPr>
          <p:cNvPicPr>
            <a:picLocks/>
          </p:cNvPicPr>
          <p:nvPr userDrawn="1"/>
        </p:nvPicPr>
        <p:blipFill rotWithShape="1">
          <a:blip r:embed="rId5"/>
          <a:srcRect r="1151"/>
          <a:stretch/>
        </p:blipFill>
        <p:spPr>
          <a:xfrm>
            <a:off x="460374" y="338138"/>
            <a:ext cx="3270968" cy="901297"/>
          </a:xfrm>
          <a:prstGeom prst="rect">
            <a:avLst/>
          </a:prstGeom>
        </p:spPr>
      </p:pic>
      <p:sp>
        <p:nvSpPr>
          <p:cNvPr id="30" name="Title 29">
            <a:extLst>
              <a:ext uri="{FF2B5EF4-FFF2-40B4-BE49-F238E27FC236}">
                <a16:creationId xmlns:a16="http://schemas.microsoft.com/office/drawing/2014/main" id="{2ABC76F1-3F5C-09FA-F96C-323C26ABBC9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9247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024" userDrawn="1">
          <p15:clr>
            <a:srgbClr val="FBAE40"/>
          </p15:clr>
        </p15:guide>
        <p15:guide id="2" orient="horz" pos="2251">
          <p15:clr>
            <a:srgbClr val="FBAE40"/>
          </p15:clr>
        </p15:guide>
        <p15:guide id="3" orient="horz" pos="270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81127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65988" y="3044280"/>
            <a:ext cx="5065776" cy="769441"/>
          </a:xfrm>
          <a:prstGeom prst="rect">
            <a:avLst/>
          </a:prstGeom>
        </p:spPr>
        <p:txBody>
          <a:bodyPr vert="horz" rIns="365760" anchor="ctr">
            <a:noAutofit/>
          </a:bodyPr>
          <a:lstStyle>
            <a:lvl1pPr rtl="0">
              <a:defRPr sz="2100">
                <a:ln w="6350" cap="flat">
                  <a:noFill/>
                  <a:miter lim="800000"/>
                </a:ln>
              </a:defRPr>
            </a:lvl1pPr>
          </a:lstStyle>
          <a:p>
            <a:r>
              <a:rPr lang="en-US"/>
              <a:t>Click to edit Master title style</a:t>
            </a:r>
          </a:p>
        </p:txBody>
      </p:sp>
      <p:sp>
        <p:nvSpPr>
          <p:cNvPr id="11" name="5. Source" hidden="1">
            <a:extLst>
              <a:ext uri="{FF2B5EF4-FFF2-40B4-BE49-F238E27FC236}">
                <a16:creationId xmlns:a16="http://schemas.microsoft.com/office/drawing/2014/main" id="{E6369252-D85D-4FD3-A54B-7DDF349D4F2A}"/>
              </a:ext>
            </a:extLst>
          </p:cNvPr>
          <p:cNvSpPr txBox="1"/>
          <p:nvPr userDrawn="1">
            <p:custDataLst>
              <p:tags r:id="rId4"/>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34026230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0761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65988" y="4580468"/>
            <a:ext cx="10799065" cy="677108"/>
          </a:xfrm>
        </p:spPr>
        <p:txBody>
          <a:bodyPr vert="horz" anchor="b">
            <a:noAutofit/>
          </a:bodyPr>
          <a:lstStyle>
            <a:lvl1pPr rtl="0">
              <a:lnSpc>
                <a:spcPct val="100000"/>
              </a:lnSpc>
              <a:defRPr sz="4400"/>
            </a:lvl1pPr>
          </a:lstStyle>
          <a:p>
            <a:r>
              <a:rPr lang="en-US"/>
              <a:t>Click to edit Master title style</a:t>
            </a:r>
          </a:p>
        </p:txBody>
      </p:sp>
      <p:sp>
        <p:nvSpPr>
          <p:cNvPr id="10" name="5. Source" hidden="1">
            <a:extLst>
              <a:ext uri="{FF2B5EF4-FFF2-40B4-BE49-F238E27FC236}">
                <a16:creationId xmlns:a16="http://schemas.microsoft.com/office/drawing/2014/main" id="{C80112BB-3E59-4CCA-8D3C-C95E59AC304C}"/>
              </a:ext>
            </a:extLst>
          </p:cNvPr>
          <p:cNvSpPr txBox="1"/>
          <p:nvPr userDrawn="1">
            <p:custDataLst>
              <p:tags r:id="rId4"/>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9145318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465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5. Source" hidden="1">
            <a:extLst>
              <a:ext uri="{FF2B5EF4-FFF2-40B4-BE49-F238E27FC236}">
                <a16:creationId xmlns:a16="http://schemas.microsoft.com/office/drawing/2014/main" id="{9DE2E564-2F56-4F47-A5C6-A45FD672E24D}"/>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35798522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7770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4"/>
            </p:custDataLst>
          </p:nvPr>
        </p:nvSpPr>
        <p:spPr>
          <a:xfrm>
            <a:off x="565988" y="2867479"/>
            <a:ext cx="2514600" cy="646331"/>
          </a:xfrm>
          <a:prstGeom prst="rect">
            <a:avLst/>
          </a:prstGeom>
        </p:spPr>
        <p:txBody>
          <a:bodyPr vert="horz" wrap="square" lIns="0" tIns="0" rIns="0" bIns="0" rtlCol="0" anchor="b" anchorCtr="0">
            <a:spAutoFit/>
          </a:bodyPr>
          <a:lstStyle>
            <a:lvl1pPr>
              <a:defRPr sz="2100"/>
            </a:lvl1pPr>
          </a:lstStyle>
          <a:p>
            <a:pPr lvl="0"/>
            <a:r>
              <a:rPr lang="en-US"/>
              <a:t>Click to edit Master title style</a:t>
            </a:r>
          </a:p>
        </p:txBody>
      </p:sp>
      <p:sp>
        <p:nvSpPr>
          <p:cNvPr id="12" name="5. Source" hidden="1">
            <a:extLst>
              <a:ext uri="{FF2B5EF4-FFF2-40B4-BE49-F238E27FC236}">
                <a16:creationId xmlns:a16="http://schemas.microsoft.com/office/drawing/2014/main" id="{B952EA60-D78B-4966-BCE5-1F37E53A0A9B}"/>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pic>
        <p:nvPicPr>
          <p:cNvPr id="26" name="Picture 25">
            <a:extLst>
              <a:ext uri="{FF2B5EF4-FFF2-40B4-BE49-F238E27FC236}">
                <a16:creationId xmlns:a16="http://schemas.microsoft.com/office/drawing/2014/main" id="{C70EEFD8-10FA-49D9-BE39-326325CA69A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27" name="Slide Number Placeholder 3">
            <a:extLst>
              <a:ext uri="{FF2B5EF4-FFF2-40B4-BE49-F238E27FC236}">
                <a16:creationId xmlns:a16="http://schemas.microsoft.com/office/drawing/2014/main" id="{7FB39C23-1A0D-4689-B480-CAE5A42CF4B7}"/>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cxnSp>
        <p:nvCxnSpPr>
          <p:cNvPr id="28" name="Straight Connector 27">
            <a:extLst>
              <a:ext uri="{FF2B5EF4-FFF2-40B4-BE49-F238E27FC236}">
                <a16:creationId xmlns:a16="http://schemas.microsoft.com/office/drawing/2014/main" id="{054F8B71-4D7E-46FE-805B-6ED6F7A95D9D}"/>
              </a:ext>
            </a:extLst>
          </p:cNvPr>
          <p:cNvCxnSpPr>
            <a:cxnSpLocks/>
          </p:cNvCxnSpPr>
          <p:nvPr userDrawn="1"/>
        </p:nvCxnSpPr>
        <p:spPr bwMode="auto">
          <a:xfrm>
            <a:off x="565988" y="3625570"/>
            <a:ext cx="2514600"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3" name="3. Subtitle">
            <a:extLst>
              <a:ext uri="{FF2B5EF4-FFF2-40B4-BE49-F238E27FC236}">
                <a16:creationId xmlns:a16="http://schemas.microsoft.com/office/drawing/2014/main" id="{BEACC590-E76A-486A-BA80-48DD4B63EDA5}"/>
              </a:ext>
            </a:extLst>
          </p:cNvPr>
          <p:cNvSpPr>
            <a:spLocks noGrp="1"/>
          </p:cNvSpPr>
          <p:nvPr>
            <p:ph type="subTitle" idx="1"/>
            <p:custDataLst>
              <p:tags r:id="rId6"/>
            </p:custDataLst>
          </p:nvPr>
        </p:nvSpPr>
        <p:spPr>
          <a:xfrm>
            <a:off x="565988" y="3701770"/>
            <a:ext cx="2514600"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7936986F-DF9A-1EC6-B3AC-26D33E7D62BB}"/>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974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10198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6" name="Picture 15">
            <a:extLst>
              <a:ext uri="{FF2B5EF4-FFF2-40B4-BE49-F238E27FC236}">
                <a16:creationId xmlns:a16="http://schemas.microsoft.com/office/drawing/2014/main" id="{8D3D6F55-B966-484B-B893-BB78FFDF6EA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8" name="Slide Number Placeholder 3">
            <a:extLst>
              <a:ext uri="{FF2B5EF4-FFF2-40B4-BE49-F238E27FC236}">
                <a16:creationId xmlns:a16="http://schemas.microsoft.com/office/drawing/2014/main" id="{30652FE1-A0A5-4C31-8E37-253B16933074}"/>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sp>
        <p:nvSpPr>
          <p:cNvPr id="17" name="2. Slide Title">
            <a:extLst>
              <a:ext uri="{FF2B5EF4-FFF2-40B4-BE49-F238E27FC236}">
                <a16:creationId xmlns:a16="http://schemas.microsoft.com/office/drawing/2014/main" id="{F5BCFC20-866D-4B4B-887B-74333CC67311}"/>
              </a:ext>
            </a:extLst>
          </p:cNvPr>
          <p:cNvSpPr>
            <a:spLocks noGrp="1"/>
          </p:cNvSpPr>
          <p:nvPr>
            <p:ph type="title"/>
            <p:custDataLst>
              <p:tags r:id="rId4"/>
            </p:custDataLst>
          </p:nvPr>
        </p:nvSpPr>
        <p:spPr>
          <a:xfrm>
            <a:off x="565988" y="2744369"/>
            <a:ext cx="3498012" cy="769441"/>
          </a:xfrm>
          <a:prstGeom prst="rect">
            <a:avLst/>
          </a:prstGeom>
        </p:spPr>
        <p:txBody>
          <a:bodyPr vert="horz" wrap="square" lIns="0" tIns="0" rIns="0" bIns="0" rtlCol="0" anchor="b" anchorCtr="0">
            <a:noAutofit/>
          </a:bodyPr>
          <a:lstStyle>
            <a:lvl1pPr>
              <a:defRPr sz="2100"/>
            </a:lvl1pPr>
          </a:lstStyle>
          <a:p>
            <a:pPr lvl="0"/>
            <a:r>
              <a:rPr lang="en-US"/>
              <a:t>Click to edit Master title style</a:t>
            </a:r>
          </a:p>
        </p:txBody>
      </p:sp>
      <p:sp>
        <p:nvSpPr>
          <p:cNvPr id="20" name="5. Source" hidden="1">
            <a:extLst>
              <a:ext uri="{FF2B5EF4-FFF2-40B4-BE49-F238E27FC236}">
                <a16:creationId xmlns:a16="http://schemas.microsoft.com/office/drawing/2014/main" id="{954E1F18-BB17-4630-9064-6EB72EAB2FE2}"/>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cxnSp>
        <p:nvCxnSpPr>
          <p:cNvPr id="21" name="Straight Connector 20">
            <a:extLst>
              <a:ext uri="{FF2B5EF4-FFF2-40B4-BE49-F238E27FC236}">
                <a16:creationId xmlns:a16="http://schemas.microsoft.com/office/drawing/2014/main" id="{19F1D3B3-62A9-47D6-8C9B-C391CE5E9B87}"/>
              </a:ext>
            </a:extLst>
          </p:cNvPr>
          <p:cNvCxnSpPr>
            <a:cxnSpLocks/>
          </p:cNvCxnSpPr>
          <p:nvPr userDrawn="1"/>
        </p:nvCxnSpPr>
        <p:spPr bwMode="auto">
          <a:xfrm>
            <a:off x="565988" y="3625570"/>
            <a:ext cx="2514600"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2" name="3. Subtitle">
            <a:extLst>
              <a:ext uri="{FF2B5EF4-FFF2-40B4-BE49-F238E27FC236}">
                <a16:creationId xmlns:a16="http://schemas.microsoft.com/office/drawing/2014/main" id="{06825C5C-EBBD-49F7-B4A8-14B806E2B9D4}"/>
              </a:ext>
            </a:extLst>
          </p:cNvPr>
          <p:cNvSpPr>
            <a:spLocks noGrp="1"/>
          </p:cNvSpPr>
          <p:nvPr>
            <p:ph type="subTitle" idx="1"/>
            <p:custDataLst>
              <p:tags r:id="rId6"/>
            </p:custDataLst>
          </p:nvPr>
        </p:nvSpPr>
        <p:spPr>
          <a:xfrm>
            <a:off x="565988" y="3701770"/>
            <a:ext cx="349801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05F4FF67-842E-856A-6D6A-56EF15A4B50F}"/>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8967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23154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B98689D6-21FB-4D3A-B5F0-9347514302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4" name="Slide Number Placeholder 3">
            <a:extLst>
              <a:ext uri="{FF2B5EF4-FFF2-40B4-BE49-F238E27FC236}">
                <a16:creationId xmlns:a16="http://schemas.microsoft.com/office/drawing/2014/main" id="{FE4DD3A5-3A0C-42E6-98C7-084E53C2E975}"/>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sp>
        <p:nvSpPr>
          <p:cNvPr id="23" name="2. Slide Title">
            <a:extLst>
              <a:ext uri="{FF2B5EF4-FFF2-40B4-BE49-F238E27FC236}">
                <a16:creationId xmlns:a16="http://schemas.microsoft.com/office/drawing/2014/main" id="{7DC2BF9B-2D96-4F5A-AD02-7B477B24D202}"/>
              </a:ext>
            </a:extLst>
          </p:cNvPr>
          <p:cNvSpPr>
            <a:spLocks noGrp="1"/>
          </p:cNvSpPr>
          <p:nvPr>
            <p:ph type="title"/>
            <p:custDataLst>
              <p:tags r:id="rId4"/>
            </p:custDataLst>
          </p:nvPr>
        </p:nvSpPr>
        <p:spPr>
          <a:xfrm>
            <a:off x="565988" y="591463"/>
            <a:ext cx="505460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18" name="5. Source" hidden="1">
            <a:extLst>
              <a:ext uri="{FF2B5EF4-FFF2-40B4-BE49-F238E27FC236}">
                <a16:creationId xmlns:a16="http://schemas.microsoft.com/office/drawing/2014/main" id="{AACD8E13-B433-44DB-AD04-AF762CA019BB}"/>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cxnSp>
        <p:nvCxnSpPr>
          <p:cNvPr id="20" name="Straight Connector 19">
            <a:extLst>
              <a:ext uri="{FF2B5EF4-FFF2-40B4-BE49-F238E27FC236}">
                <a16:creationId xmlns:a16="http://schemas.microsoft.com/office/drawing/2014/main" id="{4A328B8F-85B5-4DAE-AD49-99E3EB04A971}"/>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2" name="3. Subtitle">
            <a:extLst>
              <a:ext uri="{FF2B5EF4-FFF2-40B4-BE49-F238E27FC236}">
                <a16:creationId xmlns:a16="http://schemas.microsoft.com/office/drawing/2014/main" id="{3466EDC1-B0F1-4508-B77F-24C0EA286570}"/>
              </a:ext>
            </a:extLst>
          </p:cNvPr>
          <p:cNvSpPr>
            <a:spLocks noGrp="1"/>
          </p:cNvSpPr>
          <p:nvPr>
            <p:ph type="subTitle" idx="1"/>
            <p:custDataLst>
              <p:tags r:id="rId6"/>
            </p:custDataLst>
          </p:nvPr>
        </p:nvSpPr>
        <p:spPr>
          <a:xfrm>
            <a:off x="565988" y="1448192"/>
            <a:ext cx="505460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79B098C8-20BF-E217-E730-F469038DAFD3}"/>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6949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24031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25" name="Picture 24">
            <a:extLst>
              <a:ext uri="{FF2B5EF4-FFF2-40B4-BE49-F238E27FC236}">
                <a16:creationId xmlns:a16="http://schemas.microsoft.com/office/drawing/2014/main" id="{91D5C030-DE0E-453D-BD06-B74E585091A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26" name="Slide Number Placeholder 3">
            <a:extLst>
              <a:ext uri="{FF2B5EF4-FFF2-40B4-BE49-F238E27FC236}">
                <a16:creationId xmlns:a16="http://schemas.microsoft.com/office/drawing/2014/main" id="{5823C3DC-F531-4EFC-B21E-6A1F9FA899B7}"/>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sp>
        <p:nvSpPr>
          <p:cNvPr id="14" name="2. Slide Title">
            <a:extLst>
              <a:ext uri="{FF2B5EF4-FFF2-40B4-BE49-F238E27FC236}">
                <a16:creationId xmlns:a16="http://schemas.microsoft.com/office/drawing/2014/main" id="{7DA24F8B-958E-48A4-BC23-CE1D668A0CB6}"/>
              </a:ext>
            </a:extLst>
          </p:cNvPr>
          <p:cNvSpPr>
            <a:spLocks noGrp="1"/>
          </p:cNvSpPr>
          <p:nvPr>
            <p:ph type="title"/>
            <p:custDataLst>
              <p:tags r:id="rId4"/>
            </p:custDataLst>
          </p:nvPr>
        </p:nvSpPr>
        <p:spPr>
          <a:xfrm>
            <a:off x="565988" y="591463"/>
            <a:ext cx="70235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15" name="5. Source" hidden="1">
            <a:extLst>
              <a:ext uri="{FF2B5EF4-FFF2-40B4-BE49-F238E27FC236}">
                <a16:creationId xmlns:a16="http://schemas.microsoft.com/office/drawing/2014/main" id="{D5A3843E-4AFD-46C0-81CA-D19CC927CF76}"/>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cxnSp>
        <p:nvCxnSpPr>
          <p:cNvPr id="17" name="Straight Connector 16">
            <a:extLst>
              <a:ext uri="{FF2B5EF4-FFF2-40B4-BE49-F238E27FC236}">
                <a16:creationId xmlns:a16="http://schemas.microsoft.com/office/drawing/2014/main" id="{62864B3D-FF77-45DC-977F-B0E37DA6EB9D}"/>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2" name="3. Subtitle">
            <a:extLst>
              <a:ext uri="{FF2B5EF4-FFF2-40B4-BE49-F238E27FC236}">
                <a16:creationId xmlns:a16="http://schemas.microsoft.com/office/drawing/2014/main" id="{C60BAAB0-BB33-4ECF-A7E4-0806465C4EDA}"/>
              </a:ext>
            </a:extLst>
          </p:cNvPr>
          <p:cNvSpPr>
            <a:spLocks noGrp="1"/>
          </p:cNvSpPr>
          <p:nvPr>
            <p:ph type="subTitle" idx="1"/>
            <p:custDataLst>
              <p:tags r:id="rId6"/>
            </p:custDataLst>
          </p:nvPr>
        </p:nvSpPr>
        <p:spPr>
          <a:xfrm>
            <a:off x="565988" y="1448192"/>
            <a:ext cx="70235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C31FDD2D-F1FB-2CCE-FE90-3E62EFAEA54A}"/>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6618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22758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pic>
        <p:nvPicPr>
          <p:cNvPr id="14" name="Picture 13">
            <a:extLst>
              <a:ext uri="{FF2B5EF4-FFF2-40B4-BE49-F238E27FC236}">
                <a16:creationId xmlns:a16="http://schemas.microsoft.com/office/drawing/2014/main" id="{AA51C123-52EE-4844-B118-E08894B381CF}"/>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5" name="Slide Number Placeholder 3">
            <a:extLst>
              <a:ext uri="{FF2B5EF4-FFF2-40B4-BE49-F238E27FC236}">
                <a16:creationId xmlns:a16="http://schemas.microsoft.com/office/drawing/2014/main" id="{FAEB9E9A-7DB2-4867-81BB-86AA0FFB497F}"/>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sp>
        <p:nvSpPr>
          <p:cNvPr id="18" name="2. Slide Title">
            <a:extLst>
              <a:ext uri="{FF2B5EF4-FFF2-40B4-BE49-F238E27FC236}">
                <a16:creationId xmlns:a16="http://schemas.microsoft.com/office/drawing/2014/main" id="{D293976B-7078-4301-A8C7-515E1B8E999C}"/>
              </a:ext>
            </a:extLst>
          </p:cNvPr>
          <p:cNvSpPr>
            <a:spLocks noGrp="1"/>
          </p:cNvSpPr>
          <p:nvPr>
            <p:ph type="title"/>
            <p:custDataLst>
              <p:tags r:id="rId4"/>
            </p:custDataLst>
          </p:nvPr>
        </p:nvSpPr>
        <p:spPr>
          <a:xfrm>
            <a:off x="565988" y="591463"/>
            <a:ext cx="78871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19" name="5. Source" hidden="1">
            <a:extLst>
              <a:ext uri="{FF2B5EF4-FFF2-40B4-BE49-F238E27FC236}">
                <a16:creationId xmlns:a16="http://schemas.microsoft.com/office/drawing/2014/main" id="{69C69592-1378-46B0-9A13-85C5EDC26391}"/>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cxnSp>
        <p:nvCxnSpPr>
          <p:cNvPr id="22" name="Straight Connector 21">
            <a:extLst>
              <a:ext uri="{FF2B5EF4-FFF2-40B4-BE49-F238E27FC236}">
                <a16:creationId xmlns:a16="http://schemas.microsoft.com/office/drawing/2014/main" id="{ABFE69B8-BB78-468B-A560-117CA478443C}"/>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2" name="3. Subtitle">
            <a:extLst>
              <a:ext uri="{FF2B5EF4-FFF2-40B4-BE49-F238E27FC236}">
                <a16:creationId xmlns:a16="http://schemas.microsoft.com/office/drawing/2014/main" id="{4AA83521-B3B5-41B6-9D88-2300D37ABA44}"/>
              </a:ext>
            </a:extLst>
          </p:cNvPr>
          <p:cNvSpPr>
            <a:spLocks noGrp="1"/>
          </p:cNvSpPr>
          <p:nvPr>
            <p:ph type="subTitle" idx="1"/>
            <p:custDataLst>
              <p:tags r:id="rId6"/>
            </p:custDataLst>
          </p:nvPr>
        </p:nvSpPr>
        <p:spPr>
          <a:xfrm>
            <a:off x="565988" y="1448192"/>
            <a:ext cx="78871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93B33BDF-A83C-DD4A-840B-527B091C6202}"/>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6594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36831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81E2484B-3E40-408C-A350-5EB40C8A09F0}"/>
              </a:ext>
            </a:extLst>
          </p:cNvPr>
          <p:cNvSpPr txBox="1"/>
          <p:nvPr userDrawn="1">
            <p:custDataLst>
              <p:tags r:id="rId2"/>
            </p:custDataLst>
          </p:nvPr>
        </p:nvSpPr>
        <p:spPr>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65988" y="1798040"/>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9" name="2. Slide Title">
            <a:extLst>
              <a:ext uri="{FF2B5EF4-FFF2-40B4-BE49-F238E27FC236}">
                <a16:creationId xmlns:a16="http://schemas.microsoft.com/office/drawing/2014/main" id="{5CD0FD19-ECFA-43ED-AF58-975525455AA0}"/>
              </a:ext>
            </a:extLst>
          </p:cNvPr>
          <p:cNvSpPr>
            <a:spLocks noGrp="1"/>
          </p:cNvSpPr>
          <p:nvPr>
            <p:ph type="title" hasCustomPrompt="1"/>
            <p:custDataLst>
              <p:tags r:id="rId3"/>
            </p:custDataLst>
          </p:nvPr>
        </p:nvSpPr>
        <p:spPr>
          <a:xfrm>
            <a:off x="565988" y="591463"/>
            <a:ext cx="9758682" cy="9694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sz="2100"/>
            </a:lvl1pPr>
          </a:lstStyle>
          <a:p>
            <a:pPr lvl="0"/>
            <a:r>
              <a:rPr lang="en-US"/>
              <a:t>Click to edit Master title style</a:t>
            </a:r>
            <a:br>
              <a:rPr lang="en-US"/>
            </a:br>
            <a:br>
              <a:rPr lang="en-US"/>
            </a:br>
            <a:endParaRPr lang="en-US"/>
          </a:p>
        </p:txBody>
      </p:sp>
      <p:cxnSp>
        <p:nvCxnSpPr>
          <p:cNvPr id="21" name="Straight Connector 20">
            <a:extLst>
              <a:ext uri="{FF2B5EF4-FFF2-40B4-BE49-F238E27FC236}">
                <a16:creationId xmlns:a16="http://schemas.microsoft.com/office/drawing/2014/main" id="{41DE7007-650F-41C6-9535-AD348FE79082}"/>
              </a:ext>
            </a:extLst>
          </p:cNvPr>
          <p:cNvCxnSpPr>
            <a:cxnSpLocks/>
          </p:cNvCxnSpPr>
          <p:nvPr userDrawn="1"/>
        </p:nvCxnSpPr>
        <p:spPr bwMode="auto">
          <a:xfrm>
            <a:off x="565988" y="1760419"/>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pic>
        <p:nvPicPr>
          <p:cNvPr id="22" name="Picture 21">
            <a:extLst>
              <a:ext uri="{FF2B5EF4-FFF2-40B4-BE49-F238E27FC236}">
                <a16:creationId xmlns:a16="http://schemas.microsoft.com/office/drawing/2014/main" id="{8883D3D0-9DA7-4DA0-9612-283F1A12E54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23" name="Slide Number Placeholder 3">
            <a:extLst>
              <a:ext uri="{FF2B5EF4-FFF2-40B4-BE49-F238E27FC236}">
                <a16:creationId xmlns:a16="http://schemas.microsoft.com/office/drawing/2014/main" id="{690CE7DB-8DB6-4B07-A22B-4D4D95FAC97F}"/>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sp>
        <p:nvSpPr>
          <p:cNvPr id="2" name="Rectangle 1">
            <a:extLst>
              <a:ext uri="{FF2B5EF4-FFF2-40B4-BE49-F238E27FC236}">
                <a16:creationId xmlns:a16="http://schemas.microsoft.com/office/drawing/2014/main" id="{78878690-EDAC-C86C-C3CB-4ECE8767B941}"/>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6127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9358113-08C8-41FF-B2AB-A80555D12FE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1" name="Slide Number Placeholder 3">
            <a:extLst>
              <a:ext uri="{FF2B5EF4-FFF2-40B4-BE49-F238E27FC236}">
                <a16:creationId xmlns:a16="http://schemas.microsoft.com/office/drawing/2014/main" id="{E1D2712E-66C8-4C97-85D9-C70ECDC0E6C3}"/>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sp>
        <p:nvSpPr>
          <p:cNvPr id="7" name="5. Source" hidden="1">
            <a:extLst>
              <a:ext uri="{FF2B5EF4-FFF2-40B4-BE49-F238E27FC236}">
                <a16:creationId xmlns:a16="http://schemas.microsoft.com/office/drawing/2014/main" id="{6F449997-AFD6-42A0-A71B-BBB87E80FF14}"/>
              </a:ext>
            </a:extLst>
          </p:cNvPr>
          <p:cNvSpPr txBox="1"/>
          <p:nvPr userDrawn="1">
            <p:custDataLst>
              <p:tags r:id="rId2"/>
            </p:custDataLst>
          </p:nvPr>
        </p:nvSpPr>
        <p:spPr>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3515160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reakout">
    <p:bg>
      <p:bgPr>
        <a:gradFill flip="none" rotWithShape="1">
          <a:gsLst>
            <a:gs pos="0">
              <a:schemeClr val="accent2"/>
            </a:gs>
            <a:gs pos="100000">
              <a:srgbClr val="51AE32"/>
            </a:gs>
          </a:gsLst>
          <a:lin ang="2700000" scaled="1"/>
          <a:tileRect/>
        </a:gra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C5E2A55B-1C58-4CF5-681F-142C8D4240E3}"/>
              </a:ext>
            </a:extLst>
          </p:cNvPr>
          <p:cNvSpPr>
            <a:spLocks noGrp="1"/>
          </p:cNvSpPr>
          <p:nvPr>
            <p:ph type="title" hasCustomPrompt="1"/>
          </p:nvPr>
        </p:nvSpPr>
        <p:spPr>
          <a:xfrm>
            <a:off x="460375" y="549275"/>
            <a:ext cx="11036300" cy="5400673"/>
          </a:xfrm>
          <a:prstGeom prst="rect">
            <a:avLst/>
          </a:prstGeom>
          <a:noFill/>
        </p:spPr>
        <p:txBody>
          <a:bodyPr vert="horz" lIns="0" tIns="0" rIns="0" bIns="0" rtlCol="0" anchor="ctr">
            <a:normAutofit/>
          </a:bodyPr>
          <a:lstStyle>
            <a:lvl1pPr>
              <a:lnSpc>
                <a:spcPct val="100000"/>
              </a:lnSpc>
              <a:defRPr sz="4400"/>
            </a:lvl1pPr>
          </a:lstStyle>
          <a:p>
            <a:r>
              <a:rPr lang="en-GB"/>
              <a:t>Click to edit large breakout text.</a:t>
            </a:r>
            <a:endParaRPr lang="en-DE"/>
          </a:p>
        </p:txBody>
      </p:sp>
    </p:spTree>
    <p:extLst>
      <p:ext uri="{BB962C8B-B14F-4D97-AF65-F5344CB8AC3E}">
        <p14:creationId xmlns:p14="http://schemas.microsoft.com/office/powerpoint/2010/main" val="12165572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97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pic>
        <p:nvPicPr>
          <p:cNvPr id="5" name="Picture 4">
            <a:extLst>
              <a:ext uri="{FF2B5EF4-FFF2-40B4-BE49-F238E27FC236}">
                <a16:creationId xmlns:a16="http://schemas.microsoft.com/office/drawing/2014/main" id="{132BFDD1-DE28-4818-B15E-5F96E6A3055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4538776" y="2651761"/>
            <a:ext cx="3114450" cy="1554480"/>
          </a:xfrm>
          <a:prstGeom prst="rect">
            <a:avLst/>
          </a:prstGeom>
        </p:spPr>
      </p:pic>
    </p:spTree>
    <p:extLst>
      <p:ext uri="{BB962C8B-B14F-4D97-AF65-F5344CB8AC3E}">
        <p14:creationId xmlns:p14="http://schemas.microsoft.com/office/powerpoint/2010/main" val="651378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3323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65988" y="1408557"/>
            <a:ext cx="3813048" cy="769441"/>
          </a:xfrm>
          <a:prstGeom prst="rect">
            <a:avLst/>
          </a:prstGeom>
        </p:spPr>
        <p:txBody>
          <a:bodyPr vert="horz" anchor="t">
            <a:noAutofit/>
          </a:bodyPr>
          <a:lstStyle>
            <a:lvl1pPr rtl="0">
              <a:defRPr sz="2100">
                <a:ln w="6350" cap="flat">
                  <a:noFill/>
                  <a:miter lim="800000"/>
                </a:ln>
              </a:defRPr>
            </a:lvl1pPr>
          </a:lstStyle>
          <a:p>
            <a:r>
              <a:rPr lang="en-US"/>
              <a:t>Click to edit Master title style</a:t>
            </a:r>
          </a:p>
        </p:txBody>
      </p:sp>
      <p:sp>
        <p:nvSpPr>
          <p:cNvPr id="11" name="5. Source" hidden="1">
            <a:extLst>
              <a:ext uri="{FF2B5EF4-FFF2-40B4-BE49-F238E27FC236}">
                <a16:creationId xmlns:a16="http://schemas.microsoft.com/office/drawing/2014/main" id="{229396C5-72C6-4651-9138-41CA66D9EB47}"/>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Tree>
    <p:extLst>
      <p:ext uri="{BB962C8B-B14F-4D97-AF65-F5344CB8AC3E}">
        <p14:creationId xmlns:p14="http://schemas.microsoft.com/office/powerpoint/2010/main" val="24921185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amp; subtitle with gre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1C36EB6-B427-2135-F4B5-D5DF5A719ACF}"/>
              </a:ext>
            </a:extLst>
          </p:cNvPr>
          <p:cNvGraphicFramePr>
            <a:graphicFrameLocks noChangeAspect="1"/>
          </p:cNvGraphicFramePr>
          <p:nvPr userDrawn="1">
            <p:custDataLst>
              <p:tags r:id="rId1"/>
            </p:custDataLst>
            <p:extLst>
              <p:ext uri="{D42A27DB-BD31-4B8C-83A1-F6EECF244321}">
                <p14:modId xmlns:p14="http://schemas.microsoft.com/office/powerpoint/2010/main" val="1313676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41C36EB6-B427-2135-F4B5-D5DF5A719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296A612-9B80-9DFD-9251-26A5525E6F32}"/>
              </a:ext>
            </a:extLst>
          </p:cNvPr>
          <p:cNvSpPr/>
          <p:nvPr userDrawn="1"/>
        </p:nvSpPr>
        <p:spPr>
          <a:xfrm>
            <a:off x="268112" y="1128923"/>
            <a:ext cx="11923888" cy="3496757"/>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lumMod val="65000"/>
                  </a:schemeClr>
                </a:solidFill>
              </a:defRPr>
            </a:lvl1pPr>
          </a:lstStyle>
          <a:p>
            <a:pPr lvl="0"/>
            <a:r>
              <a:rPr lang="en-US"/>
              <a:t>Click to add subtitle</a:t>
            </a:r>
          </a:p>
        </p:txBody>
      </p:sp>
      <p:sp>
        <p:nvSpPr>
          <p:cNvPr id="5" name="Title 4">
            <a:extLst>
              <a:ext uri="{FF2B5EF4-FFF2-40B4-BE49-F238E27FC236}">
                <a16:creationId xmlns:a16="http://schemas.microsoft.com/office/drawing/2014/main" id="{AA31B46E-9201-7FDF-800E-4A9B382B23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91364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521617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rc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2" name="2. Slide Title">
            <a:extLst>
              <a:ext uri="{FF2B5EF4-FFF2-40B4-BE49-F238E27FC236}">
                <a16:creationId xmlns:a16="http://schemas.microsoft.com/office/drawing/2014/main" id="{F56A421F-F59B-42D8-BB01-FF8F21454C29}"/>
              </a:ext>
            </a:extLst>
          </p:cNvPr>
          <p:cNvSpPr>
            <a:spLocks noGrp="1"/>
          </p:cNvSpPr>
          <p:nvPr>
            <p:ph type="title"/>
            <p:custDataLst>
              <p:tags r:id="rId4"/>
            </p:custDataLst>
          </p:nvPr>
        </p:nvSpPr>
        <p:spPr>
          <a:xfrm>
            <a:off x="565988" y="591463"/>
            <a:ext cx="9868332" cy="3231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sz="2100"/>
            </a:lvl1pPr>
          </a:lstStyle>
          <a:p>
            <a:pPr lvl="0"/>
            <a:r>
              <a:rPr lang="en-US"/>
              <a:t>Click to edit Master title style</a:t>
            </a:r>
          </a:p>
        </p:txBody>
      </p:sp>
      <p:sp>
        <p:nvSpPr>
          <p:cNvPr id="6" name="3. Subtitle">
            <a:extLst>
              <a:ext uri="{FF2B5EF4-FFF2-40B4-BE49-F238E27FC236}">
                <a16:creationId xmlns:a16="http://schemas.microsoft.com/office/drawing/2014/main" id="{62289DCA-560D-4796-A6DE-842B6BBE6040}"/>
              </a:ext>
            </a:extLst>
          </p:cNvPr>
          <p:cNvSpPr>
            <a:spLocks noGrp="1"/>
          </p:cNvSpPr>
          <p:nvPr>
            <p:ph type="subTitle" idx="1"/>
            <p:custDataLst>
              <p:tags r:id="rId5"/>
            </p:custDataLst>
          </p:nvPr>
        </p:nvSpPr>
        <p:spPr>
          <a:xfrm>
            <a:off x="565988" y="1448192"/>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1" dirty="0">
                <a:solidFill>
                  <a:schemeClr val="accent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13" name="1. On-page tracker">
            <a:extLst>
              <a:ext uri="{FF2B5EF4-FFF2-40B4-BE49-F238E27FC236}">
                <a16:creationId xmlns:a16="http://schemas.microsoft.com/office/drawing/2014/main" id="{91ED9290-FB27-4EE9-8465-225E19567937}"/>
              </a:ext>
            </a:extLst>
          </p:cNvPr>
          <p:cNvSpPr>
            <a:spLocks noGrp="1"/>
          </p:cNvSpPr>
          <p:nvPr>
            <p:ph type="body" sz="quarter" idx="10" hasCustomPrompt="1"/>
            <p:custDataLst>
              <p:tags r:id="rId6"/>
            </p:custDataLst>
          </p:nvPr>
        </p:nvSpPr>
        <p:spPr>
          <a:xfrm>
            <a:off x="10730041" y="682874"/>
            <a:ext cx="1221560"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800" b="0" dirty="0">
                <a:solidFill>
                  <a:srgbClr val="7F7F7F"/>
                </a:solidFill>
                <a:cs typeface="+mn-cs"/>
              </a:defRPr>
            </a:lvl1pPr>
          </a:lstStyle>
          <a:p>
            <a:pPr lvl="0">
              <a:buNone/>
            </a:pPr>
            <a:r>
              <a:rPr lang="en-US"/>
              <a:t>Add tracker</a:t>
            </a:r>
          </a:p>
        </p:txBody>
      </p:sp>
    </p:spTree>
    <p:extLst>
      <p:ext uri="{BB962C8B-B14F-4D97-AF65-F5344CB8AC3E}">
        <p14:creationId xmlns:p14="http://schemas.microsoft.com/office/powerpoint/2010/main" val="35198215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ontent | Headin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0134B91-84B8-3D36-D3F5-5D62AB2D882B}"/>
              </a:ext>
            </a:extLst>
          </p:cNvPr>
          <p:cNvGraphicFramePr>
            <a:graphicFrameLocks noChangeAspect="1"/>
          </p:cNvGraphicFramePr>
          <p:nvPr userDrawn="1">
            <p:custDataLst>
              <p:tags r:id="rId1"/>
            </p:custDataLst>
            <p:extLst>
              <p:ext uri="{D42A27DB-BD31-4B8C-83A1-F6EECF244321}">
                <p14:modId xmlns:p14="http://schemas.microsoft.com/office/powerpoint/2010/main" val="1821465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think-cell data - do not delete" hidden="1">
                        <a:extLst>
                          <a:ext uri="{FF2B5EF4-FFF2-40B4-BE49-F238E27FC236}">
                            <a16:creationId xmlns:a16="http://schemas.microsoft.com/office/drawing/2014/main" id="{60134B91-84B8-3D36-D3F5-5D62AB2D88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8">
            <a:extLst>
              <a:ext uri="{FF2B5EF4-FFF2-40B4-BE49-F238E27FC236}">
                <a16:creationId xmlns:a16="http://schemas.microsoft.com/office/drawing/2014/main" id="{E8437DE8-9E63-8C21-DF03-F1390EDC5E7D}"/>
              </a:ext>
            </a:extLst>
          </p:cNvPr>
          <p:cNvSpPr>
            <a:spLocks noGrp="1"/>
          </p:cNvSpPr>
          <p:nvPr>
            <p:ph type="body" sz="quarter" idx="13" hasCustomPrompt="1"/>
          </p:nvPr>
        </p:nvSpPr>
        <p:spPr>
          <a:xfrm>
            <a:off x="460374" y="688975"/>
            <a:ext cx="11295063" cy="579438"/>
          </a:xfrm>
          <a:prstGeom prst="rect">
            <a:avLst/>
          </a:prstGeom>
        </p:spPr>
        <p:txBody>
          <a:bodyPr lIns="0" tIns="0" rIns="0" bIns="0">
            <a:noAutofit/>
          </a:bodyPr>
          <a:lstStyle>
            <a:lvl1pPr marL="0" indent="0">
              <a:buNone/>
              <a:defRPr sz="1800" b="0">
                <a:solidFill>
                  <a:srgbClr val="53565A"/>
                </a:solidFill>
                <a:latin typeface="+mn-lt"/>
              </a:defRPr>
            </a:lvl1pPr>
          </a:lstStyle>
          <a:p>
            <a:pPr lvl="0"/>
            <a:r>
              <a:rPr lang="en-US"/>
              <a:t>Click to add subtitle</a:t>
            </a:r>
          </a:p>
        </p:txBody>
      </p:sp>
      <p:sp>
        <p:nvSpPr>
          <p:cNvPr id="2" name="Title 1">
            <a:extLst>
              <a:ext uri="{FF2B5EF4-FFF2-40B4-BE49-F238E27FC236}">
                <a16:creationId xmlns:a16="http://schemas.microsoft.com/office/drawing/2014/main" id="{27F2247C-F6F9-ECCE-0B14-3210A9320E34}"/>
              </a:ext>
            </a:extLst>
          </p:cNvPr>
          <p:cNvSpPr>
            <a:spLocks noGrp="1"/>
          </p:cNvSpPr>
          <p:nvPr>
            <p:ph type="title"/>
          </p:nvPr>
        </p:nvSpPr>
        <p:spPr>
          <a:xfrm>
            <a:off x="460374" y="319643"/>
            <a:ext cx="9707882" cy="369332"/>
          </a:xfrm>
        </p:spPr>
        <p:txBody>
          <a:bodyPr vert="horz"/>
          <a:lstStyle>
            <a:lvl1pPr>
              <a:defRPr>
                <a:latin typeface="+mj-lt"/>
              </a:defRPr>
            </a:lvl1pPr>
          </a:lstStyle>
          <a:p>
            <a:r>
              <a:rPr lang="en-GB"/>
              <a:t>Click to edit Master title style</a:t>
            </a:r>
            <a:endParaRPr lang="en-US"/>
          </a:p>
        </p:txBody>
      </p:sp>
      <p:sp>
        <p:nvSpPr>
          <p:cNvPr id="4" name="Text Placeholder 3">
            <a:extLst>
              <a:ext uri="{FF2B5EF4-FFF2-40B4-BE49-F238E27FC236}">
                <a16:creationId xmlns:a16="http://schemas.microsoft.com/office/drawing/2014/main" id="{DC196FB9-52A4-0976-CF63-63F3044AC744}"/>
              </a:ext>
            </a:extLst>
          </p:cNvPr>
          <p:cNvSpPr>
            <a:spLocks noGrp="1"/>
          </p:cNvSpPr>
          <p:nvPr>
            <p:ph type="body" sz="quarter" idx="14"/>
          </p:nvPr>
        </p:nvSpPr>
        <p:spPr>
          <a:xfrm>
            <a:off x="460375" y="1684338"/>
            <a:ext cx="4705350" cy="1640064"/>
          </a:xfrm>
        </p:spPr>
        <p:txBody>
          <a:bodyPr/>
          <a:lstStyle>
            <a:lvl1pPr>
              <a:defRPr sz="1400">
                <a:latin typeface="+mn-lt"/>
              </a:defRPr>
            </a:lvl1pPr>
            <a:lvl2pPr>
              <a:defRPr sz="1200">
                <a:latin typeface="+mn-lt"/>
              </a:defRPr>
            </a:lvl2pPr>
            <a:lvl3pPr>
              <a:defRPr sz="12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B33DE4E-79CA-9E7F-B447-F698C18D3572}"/>
              </a:ext>
            </a:extLst>
          </p:cNvPr>
          <p:cNvSpPr>
            <a:spLocks noGrp="1"/>
          </p:cNvSpPr>
          <p:nvPr>
            <p:ph type="body" sz="quarter" idx="15"/>
          </p:nvPr>
        </p:nvSpPr>
        <p:spPr>
          <a:xfrm>
            <a:off x="5619115" y="1684338"/>
            <a:ext cx="4705350" cy="1640064"/>
          </a:xfrm>
        </p:spPr>
        <p:txBody>
          <a:bodyPr/>
          <a:lstStyle>
            <a:lvl1pPr>
              <a:defRPr sz="1400">
                <a:latin typeface="+mn-lt"/>
              </a:defRPr>
            </a:lvl1pPr>
            <a:lvl2pPr>
              <a:defRPr sz="1200">
                <a:latin typeface="+mn-lt"/>
              </a:defRPr>
            </a:lvl2pPr>
            <a:lvl3pPr>
              <a:defRPr sz="12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780138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750355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81E2484B-3E40-408C-A350-5EB40C8A09F0}"/>
              </a:ext>
            </a:extLst>
          </p:cNvPr>
          <p:cNvSpPr txBox="1"/>
          <p:nvPr userDrawn="1">
            <p:custDataLst>
              <p:tags r:id="rId2"/>
            </p:custDataLst>
          </p:nvPr>
        </p:nvSpPr>
        <p:spPr>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65988" y="2093008"/>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9" name="2. Slide Title">
            <a:extLst>
              <a:ext uri="{FF2B5EF4-FFF2-40B4-BE49-F238E27FC236}">
                <a16:creationId xmlns:a16="http://schemas.microsoft.com/office/drawing/2014/main" id="{5CD0FD19-ECFA-43ED-AF58-975525455AA0}"/>
              </a:ext>
            </a:extLst>
          </p:cNvPr>
          <p:cNvSpPr>
            <a:spLocks noGrp="1"/>
          </p:cNvSpPr>
          <p:nvPr>
            <p:ph type="title" hasCustomPrompt="1"/>
            <p:custDataLst>
              <p:tags r:id="rId3"/>
            </p:custDataLst>
          </p:nvPr>
        </p:nvSpPr>
        <p:spPr>
          <a:xfrm>
            <a:off x="565988" y="591463"/>
            <a:ext cx="9758682" cy="9694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sz="2100"/>
            </a:lvl1pPr>
          </a:lstStyle>
          <a:p>
            <a:pPr lvl="0"/>
            <a:r>
              <a:rPr lang="en-US"/>
              <a:t>Click to edit Master title style</a:t>
            </a:r>
            <a:br>
              <a:rPr lang="en-US"/>
            </a:br>
            <a:br>
              <a:rPr lang="en-US"/>
            </a:br>
            <a:endParaRPr lang="en-US"/>
          </a:p>
        </p:txBody>
      </p:sp>
      <p:cxnSp>
        <p:nvCxnSpPr>
          <p:cNvPr id="21" name="Straight Connector 20">
            <a:extLst>
              <a:ext uri="{FF2B5EF4-FFF2-40B4-BE49-F238E27FC236}">
                <a16:creationId xmlns:a16="http://schemas.microsoft.com/office/drawing/2014/main" id="{41DE7007-650F-41C6-9535-AD348FE79082}"/>
              </a:ext>
            </a:extLst>
          </p:cNvPr>
          <p:cNvCxnSpPr>
            <a:cxnSpLocks/>
          </p:cNvCxnSpPr>
          <p:nvPr userDrawn="1"/>
        </p:nvCxnSpPr>
        <p:spPr bwMode="auto">
          <a:xfrm>
            <a:off x="565988" y="1760419"/>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pic>
        <p:nvPicPr>
          <p:cNvPr id="22" name="Picture 21">
            <a:extLst>
              <a:ext uri="{FF2B5EF4-FFF2-40B4-BE49-F238E27FC236}">
                <a16:creationId xmlns:a16="http://schemas.microsoft.com/office/drawing/2014/main" id="{8883D3D0-9DA7-4DA0-9612-283F1A12E54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23" name="Slide Number Placeholder 3">
            <a:extLst>
              <a:ext uri="{FF2B5EF4-FFF2-40B4-BE49-F238E27FC236}">
                <a16:creationId xmlns:a16="http://schemas.microsoft.com/office/drawing/2014/main" id="{690CE7DB-8DB6-4B07-A22B-4D4D95FAC97F}"/>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sp>
        <p:nvSpPr>
          <p:cNvPr id="11" name="3. Subtitle">
            <a:extLst>
              <a:ext uri="{FF2B5EF4-FFF2-40B4-BE49-F238E27FC236}">
                <a16:creationId xmlns:a16="http://schemas.microsoft.com/office/drawing/2014/main" id="{C3D524AF-BE65-49F3-850C-8B9BC2C88EEF}"/>
              </a:ext>
            </a:extLst>
          </p:cNvPr>
          <p:cNvSpPr>
            <a:spLocks noGrp="1"/>
          </p:cNvSpPr>
          <p:nvPr>
            <p:ph type="subTitle" idx="1"/>
            <p:custDataLst>
              <p:tags r:id="rId4"/>
            </p:custDataLst>
          </p:nvPr>
        </p:nvSpPr>
        <p:spPr>
          <a:xfrm>
            <a:off x="565988" y="1811985"/>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1" dirty="0">
                <a:solidFill>
                  <a:schemeClr val="accent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12" name="1. On-page tracker">
            <a:extLst>
              <a:ext uri="{FF2B5EF4-FFF2-40B4-BE49-F238E27FC236}">
                <a16:creationId xmlns:a16="http://schemas.microsoft.com/office/drawing/2014/main" id="{13E70907-E144-4ECF-8BE4-6F2FEF1B7F7C}"/>
              </a:ext>
            </a:extLst>
          </p:cNvPr>
          <p:cNvSpPr>
            <a:spLocks noGrp="1"/>
          </p:cNvSpPr>
          <p:nvPr>
            <p:ph type="body" sz="quarter" idx="10" hasCustomPrompt="1"/>
            <p:custDataLst>
              <p:tags r:id="rId5"/>
            </p:custDataLst>
          </p:nvPr>
        </p:nvSpPr>
        <p:spPr>
          <a:xfrm>
            <a:off x="10730041" y="682874"/>
            <a:ext cx="1221560"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800" b="0" dirty="0">
                <a:solidFill>
                  <a:srgbClr val="7F7F7F"/>
                </a:solidFill>
                <a:cs typeface="+mn-cs"/>
              </a:defRPr>
            </a:lvl1pPr>
          </a:lstStyle>
          <a:p>
            <a:pPr lvl="0">
              <a:buNone/>
            </a:pPr>
            <a:r>
              <a:rPr lang="en-US"/>
              <a:t>Add tracker</a:t>
            </a:r>
          </a:p>
        </p:txBody>
      </p:sp>
      <p:sp>
        <p:nvSpPr>
          <p:cNvPr id="2" name="Rectangle 1">
            <a:extLst>
              <a:ext uri="{FF2B5EF4-FFF2-40B4-BE49-F238E27FC236}">
                <a16:creationId xmlns:a16="http://schemas.microsoft.com/office/drawing/2014/main" id="{C83E4CA6-CCF8-0CC9-2FC7-0F57F8B2ABAD}"/>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73715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540941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997BD7F3-A5CE-4B91-8821-057F763C3380}"/>
              </a:ext>
            </a:extLst>
          </p:cNvPr>
          <p:cNvGrpSpPr/>
          <p:nvPr userDrawn="1"/>
        </p:nvGrpSpPr>
        <p:grpSpPr>
          <a:xfrm>
            <a:off x="9799782" y="65923"/>
            <a:ext cx="2209338" cy="1046292"/>
            <a:chOff x="9232351" y="5695297"/>
            <a:chExt cx="1314128" cy="622341"/>
          </a:xfrm>
        </p:grpSpPr>
        <p:pic>
          <p:nvPicPr>
            <p:cNvPr id="14" name="Picture 13">
              <a:extLst>
                <a:ext uri="{FF2B5EF4-FFF2-40B4-BE49-F238E27FC236}">
                  <a16:creationId xmlns:a16="http://schemas.microsoft.com/office/drawing/2014/main" id="{736A1E07-03FC-4E80-AD6A-088EFAC55610}"/>
                </a:ext>
              </a:extLst>
            </p:cNvPr>
            <p:cNvPicPr>
              <a:picLocks noChangeAspect="1"/>
            </p:cNvPicPr>
            <p:nvPr userDrawn="1"/>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16" name="object 7">
              <a:extLst>
                <a:ext uri="{FF2B5EF4-FFF2-40B4-BE49-F238E27FC236}">
                  <a16:creationId xmlns:a16="http://schemas.microsoft.com/office/drawing/2014/main" id="{175EBB4F-202D-4515-B05E-79733551471C}"/>
                </a:ext>
              </a:extLst>
            </p:cNvPr>
            <p:cNvPicPr/>
            <p:nvPr userDrawn="1"/>
          </p:nvPicPr>
          <p:blipFill rotWithShape="1">
            <a:blip r:embed="rId10" cstate="print"/>
            <a:srcRect t="80403" r="52383" b="7412"/>
            <a:stretch/>
          </p:blipFill>
          <p:spPr>
            <a:xfrm>
              <a:off x="9232351" y="6226197"/>
              <a:ext cx="1260690" cy="91441"/>
            </a:xfrm>
            <a:prstGeom prst="rect">
              <a:avLst/>
            </a:prstGeom>
          </p:spPr>
        </p:pic>
        <p:pic>
          <p:nvPicPr>
            <p:cNvPr id="17" name="object 7">
              <a:extLst>
                <a:ext uri="{FF2B5EF4-FFF2-40B4-BE49-F238E27FC236}">
                  <a16:creationId xmlns:a16="http://schemas.microsoft.com/office/drawing/2014/main" id="{4726A1C9-331C-4926-91D5-6D6D502E713C}"/>
                </a:ext>
              </a:extLst>
            </p:cNvPr>
            <p:cNvPicPr/>
            <p:nvPr userDrawn="1"/>
          </p:nvPicPr>
          <p:blipFill rotWithShape="1">
            <a:blip r:embed="rId10" cstate="print"/>
            <a:srcRect t="7514" r="83396" b="19716"/>
            <a:stretch/>
          </p:blipFill>
          <p:spPr>
            <a:xfrm>
              <a:off x="9266848" y="5764571"/>
              <a:ext cx="382911" cy="456621"/>
            </a:xfrm>
            <a:prstGeom prst="rect">
              <a:avLst/>
            </a:prstGeom>
          </p:spPr>
        </p:pic>
      </p:grpSp>
      <p:sp>
        <p:nvSpPr>
          <p:cNvPr id="15" name="Rectangle 14">
            <a:extLst>
              <a:ext uri="{FF2B5EF4-FFF2-40B4-BE49-F238E27FC236}">
                <a16:creationId xmlns:a16="http://schemas.microsoft.com/office/drawing/2014/main" id="{3CF57F82-7DFB-4B63-8E10-AFEE0E548D19}"/>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8" name="Documenttype">
            <a:extLst>
              <a:ext uri="{FF2B5EF4-FFF2-40B4-BE49-F238E27FC236}">
                <a16:creationId xmlns:a16="http://schemas.microsoft.com/office/drawing/2014/main" id="{24D574DE-D905-48DC-96A1-8680C88B8D8A}"/>
              </a:ext>
            </a:extLst>
          </p:cNvPr>
          <p:cNvSpPr>
            <a:spLocks noGrp="1"/>
          </p:cNvSpPr>
          <p:nvPr>
            <p:ph type="body" sz="quarter" idx="13" hasCustomPrompt="1"/>
            <p:custDataLst>
              <p:tags r:id="rId2"/>
            </p:custDataLst>
          </p:nvPr>
        </p:nvSpPr>
        <p:spPr>
          <a:xfrm>
            <a:off x="665377" y="3475182"/>
            <a:ext cx="915096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b="1" baseline="0" dirty="0">
                <a:solidFill>
                  <a:schemeClr val="tx1"/>
                </a:solidFill>
              </a:defRPr>
            </a:lvl1pPr>
          </a:lstStyle>
          <a:p>
            <a:pPr lvl="0"/>
            <a:r>
              <a:rPr lang="en-US"/>
              <a:t>Edit date or title/role</a:t>
            </a:r>
          </a:p>
        </p:txBody>
      </p:sp>
      <p:sp>
        <p:nvSpPr>
          <p:cNvPr id="19" name="Subtitle">
            <a:extLst>
              <a:ext uri="{FF2B5EF4-FFF2-40B4-BE49-F238E27FC236}">
                <a16:creationId xmlns:a16="http://schemas.microsoft.com/office/drawing/2014/main" id="{4C0FE3BA-EF10-47E0-94C1-1828F4C1D2F2}"/>
              </a:ext>
            </a:extLst>
          </p:cNvPr>
          <p:cNvSpPr>
            <a:spLocks noGrp="1"/>
          </p:cNvSpPr>
          <p:nvPr>
            <p:ph type="subTitle" idx="1"/>
            <p:custDataLst>
              <p:tags r:id="rId3"/>
            </p:custDataLst>
          </p:nvPr>
        </p:nvSpPr>
        <p:spPr>
          <a:xfrm>
            <a:off x="665377" y="3075042"/>
            <a:ext cx="915096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000" b="1" baseline="0" dirty="0">
                <a:solidFill>
                  <a:schemeClr val="tx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37831FB1-3B06-44BD-A40D-20A9D9763D96}"/>
              </a:ext>
            </a:extLst>
          </p:cNvPr>
          <p:cNvSpPr>
            <a:spLocks noGrp="1"/>
          </p:cNvSpPr>
          <p:nvPr>
            <p:ph type="title"/>
            <p:custDataLst>
              <p:tags r:id="rId4"/>
            </p:custDataLst>
          </p:nvPr>
        </p:nvSpPr>
        <p:spPr>
          <a:xfrm>
            <a:off x="665377" y="2262219"/>
            <a:ext cx="9150968"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2600" cap="none" baseline="0" dirty="0">
                <a:solidFill>
                  <a:schemeClr val="tx1"/>
                </a:solidFill>
              </a:defRPr>
            </a:lvl1pPr>
          </a:lstStyle>
          <a:p>
            <a:pPr lvl="0"/>
            <a:r>
              <a:rPr lang="en-US"/>
              <a:t>Click to edit Master title style</a:t>
            </a:r>
          </a:p>
        </p:txBody>
      </p:sp>
      <p:cxnSp>
        <p:nvCxnSpPr>
          <p:cNvPr id="21" name="Straight Connector 20">
            <a:extLst>
              <a:ext uri="{FF2B5EF4-FFF2-40B4-BE49-F238E27FC236}">
                <a16:creationId xmlns:a16="http://schemas.microsoft.com/office/drawing/2014/main" id="{9277DBF8-1A29-43A4-A978-1BC120A88293}"/>
              </a:ext>
            </a:extLst>
          </p:cNvPr>
          <p:cNvCxnSpPr>
            <a:cxnSpLocks/>
          </p:cNvCxnSpPr>
          <p:nvPr userDrawn="1"/>
        </p:nvCxnSpPr>
        <p:spPr bwMode="auto">
          <a:xfrm>
            <a:off x="677946" y="3429001"/>
            <a:ext cx="8696963" cy="0"/>
          </a:xfrm>
          <a:prstGeom prst="line">
            <a:avLst/>
          </a:prstGeom>
          <a:solidFill>
            <a:schemeClr val="accent1"/>
          </a:solidFill>
          <a:ln w="28575" cap="rnd" cmpd="sng" algn="ctr">
            <a:solidFill>
              <a:schemeClr val="tx1"/>
            </a:solidFill>
            <a:prstDash val="sysDot"/>
            <a:round/>
            <a:headEnd type="none" w="med" len="med"/>
            <a:tailEnd type="none" w="med" len="med"/>
          </a:ln>
          <a:effectLst/>
        </p:spPr>
      </p:cxnSp>
      <p:grpSp>
        <p:nvGrpSpPr>
          <p:cNvPr id="22" name="Group 21">
            <a:extLst>
              <a:ext uri="{FF2B5EF4-FFF2-40B4-BE49-F238E27FC236}">
                <a16:creationId xmlns:a16="http://schemas.microsoft.com/office/drawing/2014/main" id="{112BC6EF-0F2A-49A8-99AF-9701FB4BDA14}"/>
              </a:ext>
            </a:extLst>
          </p:cNvPr>
          <p:cNvGrpSpPr/>
          <p:nvPr userDrawn="1"/>
        </p:nvGrpSpPr>
        <p:grpSpPr>
          <a:xfrm>
            <a:off x="400521" y="2266383"/>
            <a:ext cx="154903" cy="434384"/>
            <a:chOff x="2479040" y="1473200"/>
            <a:chExt cx="182880" cy="512837"/>
          </a:xfrm>
        </p:grpSpPr>
        <p:sp>
          <p:nvSpPr>
            <p:cNvPr id="23" name="Oval 22">
              <a:extLst>
                <a:ext uri="{FF2B5EF4-FFF2-40B4-BE49-F238E27FC236}">
                  <a16:creationId xmlns:a16="http://schemas.microsoft.com/office/drawing/2014/main" id="{ECC48068-5D76-4CFE-8CEC-18021F25513C}"/>
                </a:ext>
              </a:extLst>
            </p:cNvPr>
            <p:cNvSpPr/>
            <p:nvPr userDrawn="1"/>
          </p:nvSpPr>
          <p:spPr>
            <a:xfrm>
              <a:off x="2479040" y="1473200"/>
              <a:ext cx="182880" cy="18288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24" name="Oval 23">
              <a:extLst>
                <a:ext uri="{FF2B5EF4-FFF2-40B4-BE49-F238E27FC236}">
                  <a16:creationId xmlns:a16="http://schemas.microsoft.com/office/drawing/2014/main" id="{CD7DA95D-D1E0-460F-8422-2BB1500B9F77}"/>
                </a:ext>
              </a:extLst>
            </p:cNvPr>
            <p:cNvSpPr/>
            <p:nvPr userDrawn="1"/>
          </p:nvSpPr>
          <p:spPr>
            <a:xfrm>
              <a:off x="2479040" y="1803157"/>
              <a:ext cx="182880" cy="18288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grpSp>
    </p:spTree>
    <p:extLst>
      <p:ext uri="{BB962C8B-B14F-4D97-AF65-F5344CB8AC3E}">
        <p14:creationId xmlns:p14="http://schemas.microsoft.com/office/powerpoint/2010/main" val="16692671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620412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6" name="2. Slide Title">
            <a:extLst>
              <a:ext uri="{FF2B5EF4-FFF2-40B4-BE49-F238E27FC236}">
                <a16:creationId xmlns:a16="http://schemas.microsoft.com/office/drawing/2014/main" id="{9C997005-2526-49B1-A95B-FA27D34BCA90}"/>
              </a:ext>
            </a:extLst>
          </p:cNvPr>
          <p:cNvSpPr>
            <a:spLocks noGrp="1"/>
          </p:cNvSpPr>
          <p:nvPr>
            <p:ph type="title"/>
            <p:custDataLst>
              <p:tags r:id="rId4"/>
            </p:custDataLst>
          </p:nvPr>
        </p:nvSpPr>
        <p:spPr>
          <a:xfrm>
            <a:off x="565988" y="591463"/>
            <a:ext cx="964178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cap="none" baseline="0"/>
            </a:lvl1pPr>
          </a:lstStyle>
          <a:p>
            <a:pPr lvl="0"/>
            <a:r>
              <a:rPr lang="en-US"/>
              <a:t>Click to edit Master title style</a:t>
            </a:r>
          </a:p>
        </p:txBody>
      </p:sp>
      <p:sp>
        <p:nvSpPr>
          <p:cNvPr id="6" name="3. Subtitle">
            <a:extLst>
              <a:ext uri="{FF2B5EF4-FFF2-40B4-BE49-F238E27FC236}">
                <a16:creationId xmlns:a16="http://schemas.microsoft.com/office/drawing/2014/main" id="{84A9DB84-60C8-4821-959E-BB9927C30C45}"/>
              </a:ext>
            </a:extLst>
          </p:cNvPr>
          <p:cNvSpPr>
            <a:spLocks noGrp="1"/>
          </p:cNvSpPr>
          <p:nvPr>
            <p:ph type="subTitle" idx="1"/>
            <p:custDataLst>
              <p:tags r:id="rId5"/>
            </p:custDataLst>
          </p:nvPr>
        </p:nvSpPr>
        <p:spPr>
          <a:xfrm>
            <a:off x="565988" y="1448192"/>
            <a:ext cx="964178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31214641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781774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6" name="2. Slide Title">
            <a:extLst>
              <a:ext uri="{FF2B5EF4-FFF2-40B4-BE49-F238E27FC236}">
                <a16:creationId xmlns:a16="http://schemas.microsoft.com/office/drawing/2014/main" id="{9C997005-2526-49B1-A95B-FA27D34BCA90}"/>
              </a:ext>
            </a:extLst>
          </p:cNvPr>
          <p:cNvSpPr>
            <a:spLocks noGrp="1"/>
          </p:cNvSpPr>
          <p:nvPr>
            <p:ph type="title"/>
            <p:custDataLst>
              <p:tags r:id="rId4"/>
            </p:custDataLst>
          </p:nvPr>
        </p:nvSpPr>
        <p:spPr>
          <a:xfrm>
            <a:off x="565988" y="591463"/>
            <a:ext cx="964178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cap="none" baseline="0"/>
            </a:lvl1pPr>
          </a:lstStyle>
          <a:p>
            <a:pPr lvl="0"/>
            <a:r>
              <a:rPr lang="en-US"/>
              <a:t>Click to edit Master title style</a:t>
            </a:r>
          </a:p>
        </p:txBody>
      </p:sp>
      <p:sp>
        <p:nvSpPr>
          <p:cNvPr id="6" name="3. Subtitle">
            <a:extLst>
              <a:ext uri="{FF2B5EF4-FFF2-40B4-BE49-F238E27FC236}">
                <a16:creationId xmlns:a16="http://schemas.microsoft.com/office/drawing/2014/main" id="{84A9DB84-60C8-4821-959E-BB9927C30C45}"/>
              </a:ext>
            </a:extLst>
          </p:cNvPr>
          <p:cNvSpPr>
            <a:spLocks noGrp="1"/>
          </p:cNvSpPr>
          <p:nvPr>
            <p:ph type="subTitle" idx="1"/>
            <p:custDataLst>
              <p:tags r:id="rId5"/>
            </p:custDataLst>
          </p:nvPr>
        </p:nvSpPr>
        <p:spPr>
          <a:xfrm>
            <a:off x="565988" y="1448192"/>
            <a:ext cx="964178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7" name="Chart Placeholder 13">
            <a:extLst>
              <a:ext uri="{FF2B5EF4-FFF2-40B4-BE49-F238E27FC236}">
                <a16:creationId xmlns:a16="http://schemas.microsoft.com/office/drawing/2014/main" id="{CF697B98-A1FB-49E5-A509-EDF0DD086414}"/>
              </a:ext>
            </a:extLst>
          </p:cNvPr>
          <p:cNvSpPr>
            <a:spLocks noGrp="1"/>
          </p:cNvSpPr>
          <p:nvPr>
            <p:ph type="chart" sz="quarter" idx="11"/>
          </p:nvPr>
        </p:nvSpPr>
        <p:spPr>
          <a:xfrm>
            <a:off x="565988" y="2168525"/>
            <a:ext cx="8159675" cy="4041775"/>
          </a:xfrm>
        </p:spPr>
        <p:txBody>
          <a:bodyPr>
            <a:noAutofit/>
          </a:bodyPr>
          <a:lstStyle/>
          <a:p>
            <a:r>
              <a:rPr lang="en-US"/>
              <a:t>Click icon to add chart</a:t>
            </a:r>
            <a:endParaRPr lang="en-GB"/>
          </a:p>
        </p:txBody>
      </p:sp>
      <p:sp>
        <p:nvSpPr>
          <p:cNvPr id="8" name="Text Placeholder 3">
            <a:extLst>
              <a:ext uri="{FF2B5EF4-FFF2-40B4-BE49-F238E27FC236}">
                <a16:creationId xmlns:a16="http://schemas.microsoft.com/office/drawing/2014/main" id="{DB0C84BB-D4C4-4CFE-B1C0-D5ADD35F0DC1}"/>
              </a:ext>
            </a:extLst>
          </p:cNvPr>
          <p:cNvSpPr>
            <a:spLocks noGrp="1"/>
          </p:cNvSpPr>
          <p:nvPr>
            <p:ph type="body" sz="quarter" idx="12"/>
          </p:nvPr>
        </p:nvSpPr>
        <p:spPr>
          <a:xfrm>
            <a:off x="8813211" y="2168525"/>
            <a:ext cx="2842214" cy="4041775"/>
          </a:xfrm>
          <a:solidFill>
            <a:srgbClr val="00638A"/>
          </a:solidFill>
        </p:spPr>
        <p:txBody>
          <a:bodyPr>
            <a:noAutofit/>
          </a:bodyPr>
          <a:lstStyle>
            <a:lvl1pPr marL="0" indent="0">
              <a:buFont typeface="Arial" panose="020B0604020202020204" pitchFamily="34" charset="0"/>
              <a:buNone/>
              <a:defRPr b="1">
                <a:solidFill>
                  <a:schemeClr val="tx1"/>
                </a:solidFill>
              </a:defRPr>
            </a:lvl1pPr>
            <a:lvl2pPr marL="173038" indent="-173038">
              <a:defRPr>
                <a:solidFill>
                  <a:schemeClr val="tx1"/>
                </a:solidFill>
              </a:defRPr>
            </a:lvl2pPr>
            <a:lvl3pPr marL="284163" indent="-171450">
              <a:tabLst>
                <a:tab pos="284163" algn="l"/>
              </a:tabLst>
              <a:defRPr>
                <a:solidFill>
                  <a:schemeClr val="tx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343339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37760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6" name="2. Slide Title">
            <a:extLst>
              <a:ext uri="{FF2B5EF4-FFF2-40B4-BE49-F238E27FC236}">
                <a16:creationId xmlns:a16="http://schemas.microsoft.com/office/drawing/2014/main" id="{9C997005-2526-49B1-A95B-FA27D34BCA90}"/>
              </a:ext>
            </a:extLst>
          </p:cNvPr>
          <p:cNvSpPr>
            <a:spLocks noGrp="1"/>
          </p:cNvSpPr>
          <p:nvPr>
            <p:ph type="title"/>
            <p:custDataLst>
              <p:tags r:id="rId4"/>
            </p:custDataLst>
          </p:nvPr>
        </p:nvSpPr>
        <p:spPr>
          <a:xfrm>
            <a:off x="565988" y="591463"/>
            <a:ext cx="964178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cap="none" baseline="0"/>
            </a:lvl1pPr>
          </a:lstStyle>
          <a:p>
            <a:pPr lvl="0"/>
            <a:r>
              <a:rPr lang="en-US"/>
              <a:t>Click to edit Master title style</a:t>
            </a:r>
          </a:p>
        </p:txBody>
      </p:sp>
      <p:sp>
        <p:nvSpPr>
          <p:cNvPr id="6" name="3. Subtitle">
            <a:extLst>
              <a:ext uri="{FF2B5EF4-FFF2-40B4-BE49-F238E27FC236}">
                <a16:creationId xmlns:a16="http://schemas.microsoft.com/office/drawing/2014/main" id="{84A9DB84-60C8-4821-959E-BB9927C30C45}"/>
              </a:ext>
            </a:extLst>
          </p:cNvPr>
          <p:cNvSpPr>
            <a:spLocks noGrp="1"/>
          </p:cNvSpPr>
          <p:nvPr>
            <p:ph type="subTitle" idx="1"/>
            <p:custDataLst>
              <p:tags r:id="rId5"/>
            </p:custDataLst>
          </p:nvPr>
        </p:nvSpPr>
        <p:spPr>
          <a:xfrm>
            <a:off x="565988" y="1448192"/>
            <a:ext cx="964178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7" name="Chart Placeholder 13">
            <a:extLst>
              <a:ext uri="{FF2B5EF4-FFF2-40B4-BE49-F238E27FC236}">
                <a16:creationId xmlns:a16="http://schemas.microsoft.com/office/drawing/2014/main" id="{781AC9C3-1274-4AED-BBC5-42D94388BAAF}"/>
              </a:ext>
            </a:extLst>
          </p:cNvPr>
          <p:cNvSpPr>
            <a:spLocks noGrp="1"/>
          </p:cNvSpPr>
          <p:nvPr>
            <p:ph type="chart" sz="quarter" idx="11"/>
          </p:nvPr>
        </p:nvSpPr>
        <p:spPr>
          <a:xfrm>
            <a:off x="565988" y="2168525"/>
            <a:ext cx="6423557" cy="4041775"/>
          </a:xfrm>
        </p:spPr>
        <p:txBody>
          <a:bodyPr>
            <a:noAutofit/>
          </a:bodyPr>
          <a:lstStyle/>
          <a:p>
            <a:r>
              <a:rPr lang="en-US"/>
              <a:t>Click icon to add chart</a:t>
            </a:r>
            <a:endParaRPr lang="en-GB"/>
          </a:p>
        </p:txBody>
      </p:sp>
      <p:sp>
        <p:nvSpPr>
          <p:cNvPr id="10" name="Text Placeholder 3">
            <a:extLst>
              <a:ext uri="{FF2B5EF4-FFF2-40B4-BE49-F238E27FC236}">
                <a16:creationId xmlns:a16="http://schemas.microsoft.com/office/drawing/2014/main" id="{AAF6C2CF-0F9F-4C08-89B3-457378A59255}"/>
              </a:ext>
            </a:extLst>
          </p:cNvPr>
          <p:cNvSpPr>
            <a:spLocks noGrp="1"/>
          </p:cNvSpPr>
          <p:nvPr>
            <p:ph type="body" sz="quarter" idx="13"/>
          </p:nvPr>
        </p:nvSpPr>
        <p:spPr>
          <a:xfrm>
            <a:off x="7078445" y="2168525"/>
            <a:ext cx="4576980" cy="4041775"/>
          </a:xfrm>
          <a:solidFill>
            <a:srgbClr val="00638A"/>
          </a:solidFill>
        </p:spPr>
        <p:txBody>
          <a:bodyPr>
            <a:noAutofit/>
          </a:bodyPr>
          <a:lstStyle>
            <a:lvl1pPr marL="0" indent="0">
              <a:buFont typeface="Arial" panose="020B0604020202020204" pitchFamily="34" charset="0"/>
              <a:buNone/>
              <a:defRPr b="1">
                <a:solidFill>
                  <a:schemeClr val="tx1"/>
                </a:solidFill>
              </a:defRPr>
            </a:lvl1pPr>
            <a:lvl2pPr marL="173038" indent="-173038">
              <a:defRPr>
                <a:solidFill>
                  <a:schemeClr val="tx1"/>
                </a:solidFill>
              </a:defRPr>
            </a:lvl2pPr>
            <a:lvl3pPr marL="284163" indent="-171450">
              <a:tabLst>
                <a:tab pos="284163" algn="l"/>
              </a:tabLst>
              <a:defRPr>
                <a:solidFill>
                  <a:schemeClr val="tx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52931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 | Headin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E8437DE8-9E63-8C21-DF03-F1390EDC5E7D}"/>
              </a:ext>
            </a:extLst>
          </p:cNvPr>
          <p:cNvSpPr>
            <a:spLocks noGrp="1"/>
          </p:cNvSpPr>
          <p:nvPr>
            <p:ph type="body" sz="quarter" idx="13" hasCustomPrompt="1"/>
          </p:nvPr>
        </p:nvSpPr>
        <p:spPr>
          <a:xfrm>
            <a:off x="460374" y="688975"/>
            <a:ext cx="11295063" cy="579438"/>
          </a:xfrm>
          <a:prstGeom prst="rect">
            <a:avLst/>
          </a:prstGeom>
        </p:spPr>
        <p:txBody>
          <a:bodyPr lIns="0" tIns="0" rIns="0" bIns="0">
            <a:noAutofit/>
          </a:bodyPr>
          <a:lstStyle>
            <a:lvl1pPr marL="0" indent="0">
              <a:buNone/>
              <a:defRPr sz="1800" b="0">
                <a:solidFill>
                  <a:schemeClr val="bg1">
                    <a:lumMod val="65000"/>
                  </a:schemeClr>
                </a:solidFill>
                <a:latin typeface="+mn-lt"/>
              </a:defRPr>
            </a:lvl1pPr>
          </a:lstStyle>
          <a:p>
            <a:pPr lvl="0"/>
            <a:r>
              <a:rPr lang="en-US"/>
              <a:t>Click to add subtitle</a:t>
            </a:r>
          </a:p>
        </p:txBody>
      </p:sp>
      <p:sp>
        <p:nvSpPr>
          <p:cNvPr id="2" name="Title 1">
            <a:extLst>
              <a:ext uri="{FF2B5EF4-FFF2-40B4-BE49-F238E27FC236}">
                <a16:creationId xmlns:a16="http://schemas.microsoft.com/office/drawing/2014/main" id="{27F2247C-F6F9-ECCE-0B14-3210A9320E34}"/>
              </a:ext>
            </a:extLst>
          </p:cNvPr>
          <p:cNvSpPr>
            <a:spLocks noGrp="1"/>
          </p:cNvSpPr>
          <p:nvPr>
            <p:ph type="title"/>
          </p:nvPr>
        </p:nvSpPr>
        <p:spPr/>
        <p:txBody>
          <a:bodyPr/>
          <a:lstStyle>
            <a:lvl1pPr>
              <a:defRPr>
                <a:latin typeface="+mj-lt"/>
              </a:defRPr>
            </a:lvl1pPr>
          </a:lstStyle>
          <a:p>
            <a:r>
              <a:rPr lang="en-GB"/>
              <a:t>Click to edit Master title style</a:t>
            </a:r>
            <a:endParaRPr lang="en-US"/>
          </a:p>
        </p:txBody>
      </p:sp>
      <p:sp>
        <p:nvSpPr>
          <p:cNvPr id="4" name="Text Placeholder 3">
            <a:extLst>
              <a:ext uri="{FF2B5EF4-FFF2-40B4-BE49-F238E27FC236}">
                <a16:creationId xmlns:a16="http://schemas.microsoft.com/office/drawing/2014/main" id="{DC196FB9-52A4-0976-CF63-63F3044AC744}"/>
              </a:ext>
            </a:extLst>
          </p:cNvPr>
          <p:cNvSpPr>
            <a:spLocks noGrp="1"/>
          </p:cNvSpPr>
          <p:nvPr>
            <p:ph type="body" sz="quarter" idx="14"/>
          </p:nvPr>
        </p:nvSpPr>
        <p:spPr>
          <a:xfrm>
            <a:off x="460375" y="1684338"/>
            <a:ext cx="4705350" cy="1640064"/>
          </a:xfrm>
        </p:spPr>
        <p:txBody>
          <a:bodyPr/>
          <a:lstStyle>
            <a:lvl1pPr>
              <a:defRPr sz="1400">
                <a:latin typeface="+mn-lt"/>
              </a:defRPr>
            </a:lvl1pPr>
            <a:lvl2pPr>
              <a:defRPr sz="1200">
                <a:latin typeface="+mn-lt"/>
              </a:defRPr>
            </a:lvl2pPr>
            <a:lvl3pPr>
              <a:defRPr sz="12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B33DE4E-79CA-9E7F-B447-F698C18D3572}"/>
              </a:ext>
            </a:extLst>
          </p:cNvPr>
          <p:cNvSpPr>
            <a:spLocks noGrp="1"/>
          </p:cNvSpPr>
          <p:nvPr>
            <p:ph type="body" sz="quarter" idx="15"/>
          </p:nvPr>
        </p:nvSpPr>
        <p:spPr>
          <a:xfrm>
            <a:off x="5619115" y="1684338"/>
            <a:ext cx="4705350" cy="1640064"/>
          </a:xfrm>
        </p:spPr>
        <p:txBody>
          <a:bodyPr/>
          <a:lstStyle>
            <a:lvl1pPr>
              <a:defRPr sz="1400">
                <a:latin typeface="+mn-lt"/>
              </a:defRPr>
            </a:lvl1pPr>
            <a:lvl2pPr>
              <a:defRPr sz="1200">
                <a:latin typeface="+mn-lt"/>
              </a:defRPr>
            </a:lvl2pPr>
            <a:lvl3pPr>
              <a:defRPr sz="12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344530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39912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65988" y="1408557"/>
            <a:ext cx="3813048" cy="769441"/>
          </a:xfrm>
          <a:prstGeom prst="rect">
            <a:avLst/>
          </a:prstGeom>
        </p:spPr>
        <p:txBody>
          <a:bodyPr vert="horz" anchor="t">
            <a:noAutofit/>
          </a:bodyPr>
          <a:lstStyle>
            <a:lvl1pPr rtl="0">
              <a:defRPr cap="none" baseline="0">
                <a:ln w="6350" cap="flat">
                  <a:noFill/>
                  <a:miter lim="800000"/>
                </a:ln>
              </a:defRPr>
            </a:lvl1pPr>
          </a:lstStyle>
          <a:p>
            <a:r>
              <a:rPr lang="en-US"/>
              <a:t>Click to edit Master title style</a:t>
            </a:r>
          </a:p>
        </p:txBody>
      </p:sp>
      <p:sp>
        <p:nvSpPr>
          <p:cNvPr id="11" name="5. Source" hidden="1">
            <a:extLst>
              <a:ext uri="{FF2B5EF4-FFF2-40B4-BE49-F238E27FC236}">
                <a16:creationId xmlns:a16="http://schemas.microsoft.com/office/drawing/2014/main" id="{229396C5-72C6-4651-9138-41CA66D9EB47}"/>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Tree>
    <p:extLst>
      <p:ext uri="{BB962C8B-B14F-4D97-AF65-F5344CB8AC3E}">
        <p14:creationId xmlns:p14="http://schemas.microsoft.com/office/powerpoint/2010/main" val="30509647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585271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65988" y="3044280"/>
            <a:ext cx="5065776" cy="769441"/>
          </a:xfrm>
          <a:prstGeom prst="rect">
            <a:avLst/>
          </a:prstGeom>
        </p:spPr>
        <p:txBody>
          <a:bodyPr vert="horz" rIns="365760" anchor="ctr">
            <a:noAutofit/>
          </a:bodyPr>
          <a:lstStyle>
            <a:lvl1pPr rtl="0">
              <a:defRPr cap="none" baseline="0">
                <a:ln w="6350" cap="flat">
                  <a:noFill/>
                  <a:miter lim="800000"/>
                </a:ln>
              </a:defRPr>
            </a:lvl1pPr>
          </a:lstStyle>
          <a:p>
            <a:r>
              <a:rPr lang="en-US"/>
              <a:t>Click to edit Master title style</a:t>
            </a:r>
          </a:p>
        </p:txBody>
      </p:sp>
      <p:sp>
        <p:nvSpPr>
          <p:cNvPr id="11" name="5. Source" hidden="1">
            <a:extLst>
              <a:ext uri="{FF2B5EF4-FFF2-40B4-BE49-F238E27FC236}">
                <a16:creationId xmlns:a16="http://schemas.microsoft.com/office/drawing/2014/main" id="{A654E608-6FB3-410F-A0BE-0B6953BE9D97}"/>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Tree>
    <p:extLst>
      <p:ext uri="{BB962C8B-B14F-4D97-AF65-F5344CB8AC3E}">
        <p14:creationId xmlns:p14="http://schemas.microsoft.com/office/powerpoint/2010/main" val="18808957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64501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65988" y="4580468"/>
            <a:ext cx="10799065" cy="677108"/>
          </a:xfrm>
          <a:prstGeom prst="rect">
            <a:avLst/>
          </a:prstGeom>
        </p:spPr>
        <p:txBody>
          <a:bodyPr vert="horz" anchor="b">
            <a:noAutofit/>
          </a:bodyPr>
          <a:lstStyle>
            <a:lvl1pPr rtl="0">
              <a:lnSpc>
                <a:spcPct val="100000"/>
              </a:lnSpc>
              <a:defRPr sz="4400"/>
            </a:lvl1pPr>
          </a:lstStyle>
          <a:p>
            <a:r>
              <a:rPr lang="en-US"/>
              <a:t>Click to edit Master title style</a:t>
            </a:r>
          </a:p>
        </p:txBody>
      </p:sp>
      <p:sp>
        <p:nvSpPr>
          <p:cNvPr id="11" name="5. Source" hidden="1">
            <a:extLst>
              <a:ext uri="{FF2B5EF4-FFF2-40B4-BE49-F238E27FC236}">
                <a16:creationId xmlns:a16="http://schemas.microsoft.com/office/drawing/2014/main" id="{C3428D24-8F0C-4EA5-8D25-EA162062221B}"/>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Tree>
    <p:extLst>
      <p:ext uri="{BB962C8B-B14F-4D97-AF65-F5344CB8AC3E}">
        <p14:creationId xmlns:p14="http://schemas.microsoft.com/office/powerpoint/2010/main" val="23260453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368535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7" name="Rectangle 6">
            <a:extLst>
              <a:ext uri="{FF2B5EF4-FFF2-40B4-BE49-F238E27FC236}">
                <a16:creationId xmlns:a16="http://schemas.microsoft.com/office/drawing/2014/main" id="{E367BDC1-D3E2-4E53-AC83-6BF812102D6E}"/>
              </a:ext>
            </a:extLst>
          </p:cNvPr>
          <p:cNvSpPr/>
          <p:nvPr userDrawn="1"/>
        </p:nvSpPr>
        <p:spPr>
          <a:xfrm>
            <a:off x="523875" y="1266825"/>
            <a:ext cx="2676525" cy="17145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8" name="Rectangle 7">
            <a:extLst>
              <a:ext uri="{FF2B5EF4-FFF2-40B4-BE49-F238E27FC236}">
                <a16:creationId xmlns:a16="http://schemas.microsoft.com/office/drawing/2014/main" id="{3C5C7458-D969-4320-A941-E778F44A56B3}"/>
              </a:ext>
            </a:extLst>
          </p:cNvPr>
          <p:cNvSpPr/>
          <p:nvPr userDrawn="1"/>
        </p:nvSpPr>
        <p:spPr>
          <a:xfrm>
            <a:off x="0" y="1"/>
            <a:ext cx="276225"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0" name="Picture Placeholder 4">
            <a:extLst>
              <a:ext uri="{FF2B5EF4-FFF2-40B4-BE49-F238E27FC236}">
                <a16:creationId xmlns:a16="http://schemas.microsoft.com/office/drawing/2014/main" id="{B971F796-8BF2-41CA-B622-07B16C1A67DD}"/>
              </a:ext>
            </a:extLst>
          </p:cNvPr>
          <p:cNvSpPr>
            <a:spLocks noGrp="1"/>
          </p:cNvSpPr>
          <p:nvPr>
            <p:ph type="pic" sz="quarter" idx="13"/>
          </p:nvPr>
        </p:nvSpPr>
        <p:spPr>
          <a:xfrm>
            <a:off x="0" y="1312914"/>
            <a:ext cx="12192000" cy="4897386"/>
          </a:xfrm>
        </p:spPr>
        <p:txBody>
          <a:bodyPr/>
          <a:lstStyle/>
          <a:p>
            <a:endParaRPr lang="en-US"/>
          </a:p>
        </p:txBody>
      </p:sp>
      <p:sp>
        <p:nvSpPr>
          <p:cNvPr id="12" name="Rectangle 11">
            <a:extLst>
              <a:ext uri="{FF2B5EF4-FFF2-40B4-BE49-F238E27FC236}">
                <a16:creationId xmlns:a16="http://schemas.microsoft.com/office/drawing/2014/main" id="{E1A06A38-FF9A-4EB1-B431-B9538AC8EFD7}"/>
              </a:ext>
            </a:extLst>
          </p:cNvPr>
          <p:cNvSpPr/>
          <p:nvPr userDrawn="1"/>
        </p:nvSpPr>
        <p:spPr>
          <a:xfrm>
            <a:off x="955314" y="66675"/>
            <a:ext cx="2006961" cy="28574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cap="none" baseline="0">
              <a:solidFill>
                <a:schemeClr val="bg1"/>
              </a:solidFill>
            </a:endParaRPr>
          </a:p>
        </p:txBody>
      </p:sp>
      <p:sp>
        <p:nvSpPr>
          <p:cNvPr id="13" name="Footer Placeholder 4">
            <a:extLst>
              <a:ext uri="{FF2B5EF4-FFF2-40B4-BE49-F238E27FC236}">
                <a16:creationId xmlns:a16="http://schemas.microsoft.com/office/drawing/2014/main" id="{AFC97064-537D-47FE-A527-1B2880A3FBA8}"/>
              </a:ext>
            </a:extLst>
          </p:cNvPr>
          <p:cNvSpPr txBox="1">
            <a:spLocks/>
          </p:cNvSpPr>
          <p:nvPr userDrawn="1"/>
        </p:nvSpPr>
        <p:spPr>
          <a:xfrm>
            <a:off x="1102555"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orecast Policy Scenario 2023</a:t>
            </a:r>
            <a:endParaRPr lang="en-GB"/>
          </a:p>
        </p:txBody>
      </p:sp>
      <p:sp>
        <p:nvSpPr>
          <p:cNvPr id="14" name="2. Slide Title">
            <a:extLst>
              <a:ext uri="{FF2B5EF4-FFF2-40B4-BE49-F238E27FC236}">
                <a16:creationId xmlns:a16="http://schemas.microsoft.com/office/drawing/2014/main" id="{5C869BA2-847F-4E0A-92F5-5591C9F73B63}"/>
              </a:ext>
            </a:extLst>
          </p:cNvPr>
          <p:cNvSpPr>
            <a:spLocks noGrp="1"/>
          </p:cNvSpPr>
          <p:nvPr>
            <p:ph type="title"/>
            <p:custDataLst>
              <p:tags r:id="rId4"/>
            </p:custDataLst>
          </p:nvPr>
        </p:nvSpPr>
        <p:spPr>
          <a:xfrm>
            <a:off x="1102555" y="414084"/>
            <a:ext cx="933176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sz="3800" cap="none" baseline="0"/>
            </a:lvl1pPr>
          </a:lstStyle>
          <a:p>
            <a:pPr lvl="0"/>
            <a:r>
              <a:rPr lang="en-US"/>
              <a:t>Click to edit Master title style</a:t>
            </a:r>
          </a:p>
        </p:txBody>
      </p:sp>
      <p:sp>
        <p:nvSpPr>
          <p:cNvPr id="15" name="Rectangle 14">
            <a:extLst>
              <a:ext uri="{FF2B5EF4-FFF2-40B4-BE49-F238E27FC236}">
                <a16:creationId xmlns:a16="http://schemas.microsoft.com/office/drawing/2014/main" id="{C5AA0A9F-1AE3-4008-839F-C05F70F0A7DC}"/>
              </a:ext>
            </a:extLst>
          </p:cNvPr>
          <p:cNvSpPr>
            <a:spLocks/>
          </p:cNvSpPr>
          <p:nvPr userDrawn="1"/>
        </p:nvSpPr>
        <p:spPr>
          <a:xfrm>
            <a:off x="0" y="0"/>
            <a:ext cx="955314" cy="1312914"/>
          </a:xfrm>
          <a:prstGeom prst="rect">
            <a:avLst/>
          </a:prstGeom>
          <a:gradFill>
            <a:gsLst>
              <a:gs pos="50000">
                <a:schemeClr val="accent3"/>
              </a:gs>
              <a:gs pos="0">
                <a:schemeClr val="accent4"/>
              </a:gs>
              <a:gs pos="100000">
                <a:schemeClr val="bg1">
                  <a:lumMod val="91000"/>
                  <a:lumOff val="9000"/>
                  <a:alpha val="5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Tree>
    <p:extLst>
      <p:ext uri="{BB962C8B-B14F-4D97-AF65-F5344CB8AC3E}">
        <p14:creationId xmlns:p14="http://schemas.microsoft.com/office/powerpoint/2010/main" val="19015530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401897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75414216-39A7-4119-8E1C-14D8BDD724C5}"/>
              </a:ext>
            </a:extLst>
          </p:cNvPr>
          <p:cNvSpPr/>
          <p:nvPr userDrawn="1"/>
        </p:nvSpPr>
        <p:spPr>
          <a:xfrm>
            <a:off x="2" y="0"/>
            <a:ext cx="12191999" cy="6870757"/>
          </a:xfrm>
          <a:prstGeom prst="rect">
            <a:avLst/>
          </a:prstGeom>
          <a:gradFill flip="none" rotWithShape="1">
            <a:gsLst>
              <a:gs pos="0">
                <a:srgbClr val="1486B9">
                  <a:shade val="30000"/>
                  <a:satMod val="115000"/>
                </a:srgbClr>
              </a:gs>
              <a:gs pos="50000">
                <a:srgbClr val="1486B9">
                  <a:shade val="67500"/>
                  <a:satMod val="115000"/>
                </a:srgbClr>
              </a:gs>
              <a:gs pos="100000">
                <a:srgbClr val="1486B9">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2. Slide Title">
            <a:extLst>
              <a:ext uri="{FF2B5EF4-FFF2-40B4-BE49-F238E27FC236}">
                <a16:creationId xmlns:a16="http://schemas.microsoft.com/office/drawing/2014/main" id="{4B41AF9C-077B-4311-AE5D-FB3B754F3E62}"/>
              </a:ext>
            </a:extLst>
          </p:cNvPr>
          <p:cNvSpPr>
            <a:spLocks noGrp="1"/>
          </p:cNvSpPr>
          <p:nvPr>
            <p:ph type="title"/>
            <p:custDataLst>
              <p:tags r:id="rId2"/>
            </p:custDataLst>
          </p:nvPr>
        </p:nvSpPr>
        <p:spPr>
          <a:xfrm>
            <a:off x="565988" y="5159868"/>
            <a:ext cx="11089437" cy="553998"/>
          </a:xfrm>
        </p:spPr>
        <p:txBody>
          <a:bodyPr vert="horz" anchor="b">
            <a:noAutofit/>
          </a:bodyPr>
          <a:lstStyle>
            <a:lvl1pPr algn="ctr" rtl="0">
              <a:lnSpc>
                <a:spcPct val="100000"/>
              </a:lnSpc>
              <a:defRPr sz="3600" b="0">
                <a:solidFill>
                  <a:schemeClr val="tx1"/>
                </a:solidFill>
                <a:latin typeface="+mn-lt"/>
              </a:defRPr>
            </a:lvl1pPr>
          </a:lstStyle>
          <a:p>
            <a:r>
              <a:rPr lang="en-US"/>
              <a:t>Click to edit Master title style</a:t>
            </a:r>
          </a:p>
        </p:txBody>
      </p:sp>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C3428D24-8F0C-4EA5-8D25-EA162062221B}"/>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2" name="Slide Number Placeholder 3">
            <a:extLst>
              <a:ext uri="{FF2B5EF4-FFF2-40B4-BE49-F238E27FC236}">
                <a16:creationId xmlns:a16="http://schemas.microsoft.com/office/drawing/2014/main" id="{6970B565-83F2-4846-A685-A2A56243AF4A}"/>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sp>
        <p:nvSpPr>
          <p:cNvPr id="13" name="Picture Placeholder 4">
            <a:extLst>
              <a:ext uri="{FF2B5EF4-FFF2-40B4-BE49-F238E27FC236}">
                <a16:creationId xmlns:a16="http://schemas.microsoft.com/office/drawing/2014/main" id="{14E5C1E9-EC64-41E8-A435-303F32CBA85E}"/>
              </a:ext>
            </a:extLst>
          </p:cNvPr>
          <p:cNvSpPr>
            <a:spLocks noGrp="1"/>
          </p:cNvSpPr>
          <p:nvPr>
            <p:ph type="pic" sz="quarter" idx="13"/>
          </p:nvPr>
        </p:nvSpPr>
        <p:spPr>
          <a:xfrm>
            <a:off x="565988" y="1107202"/>
            <a:ext cx="11089437" cy="553998"/>
          </a:xfrm>
          <a:prstGeom prst="rect">
            <a:avLst/>
          </a:prstGeom>
        </p:spPr>
        <p:txBody>
          <a:bodyPr/>
          <a:lstStyle>
            <a:lvl1pPr>
              <a:defRPr>
                <a:solidFill>
                  <a:schemeClr val="tx1"/>
                </a:solidFill>
                <a:latin typeface="+mn-lt"/>
              </a:defRPr>
            </a:lvl1pPr>
          </a:lstStyle>
          <a:p>
            <a:endParaRPr lang="en-US"/>
          </a:p>
        </p:txBody>
      </p:sp>
    </p:spTree>
    <p:extLst>
      <p:ext uri="{BB962C8B-B14F-4D97-AF65-F5344CB8AC3E}">
        <p14:creationId xmlns:p14="http://schemas.microsoft.com/office/powerpoint/2010/main" val="18413076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297765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3" name="5. Source" hidden="1">
            <a:extLst>
              <a:ext uri="{FF2B5EF4-FFF2-40B4-BE49-F238E27FC236}">
                <a16:creationId xmlns:a16="http://schemas.microsoft.com/office/drawing/2014/main" id="{4368256B-2952-4859-903F-3440381597FE}"/>
              </a:ext>
            </a:extLst>
          </p:cNvPr>
          <p:cNvSpPr txBox="1"/>
          <p:nvPr userDrawn="1">
            <p:custDataLst>
              <p:tags r:id="rId5"/>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Tree>
    <p:extLst>
      <p:ext uri="{BB962C8B-B14F-4D97-AF65-F5344CB8AC3E}">
        <p14:creationId xmlns:p14="http://schemas.microsoft.com/office/powerpoint/2010/main" val="41117909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45529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2" name="5. Source" hidden="1">
            <a:extLst>
              <a:ext uri="{FF2B5EF4-FFF2-40B4-BE49-F238E27FC236}">
                <a16:creationId xmlns:a16="http://schemas.microsoft.com/office/drawing/2014/main" id="{F4ACA671-C364-4E9B-84F5-524CC27A30A7}"/>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r>
              <a:rPr lang="en-US" dirty="0">
                <a:solidFill>
                  <a:schemeClr val="bg2"/>
                </a:solidFill>
              </a:rPr>
              <a:t>…</a:t>
            </a:r>
          </a:p>
        </p:txBody>
      </p:sp>
      <p:sp>
        <p:nvSpPr>
          <p:cNvPr id="22" name="Slide Number Placeholder 3">
            <a:extLst>
              <a:ext uri="{FF2B5EF4-FFF2-40B4-BE49-F238E27FC236}">
                <a16:creationId xmlns:a16="http://schemas.microsoft.com/office/drawing/2014/main" id="{593EA38B-07B4-43B6-BF63-D1C063BCF42C}"/>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sp>
        <p:nvSpPr>
          <p:cNvPr id="24" name="Rectangle 23">
            <a:extLst>
              <a:ext uri="{FF2B5EF4-FFF2-40B4-BE49-F238E27FC236}">
                <a16:creationId xmlns:a16="http://schemas.microsoft.com/office/drawing/2014/main" id="{5A3E0262-F42E-4D78-BAE3-03CC64643EC9}"/>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26" name="Group 25">
            <a:extLst>
              <a:ext uri="{FF2B5EF4-FFF2-40B4-BE49-F238E27FC236}">
                <a16:creationId xmlns:a16="http://schemas.microsoft.com/office/drawing/2014/main" id="{6A510F25-182B-46C8-A5DE-AF3684249438}"/>
              </a:ext>
            </a:extLst>
          </p:cNvPr>
          <p:cNvGrpSpPr/>
          <p:nvPr userDrawn="1"/>
        </p:nvGrpSpPr>
        <p:grpSpPr>
          <a:xfrm>
            <a:off x="10672980" y="57875"/>
            <a:ext cx="1314128" cy="622341"/>
            <a:chOff x="9232351" y="5695297"/>
            <a:chExt cx="1314128" cy="622341"/>
          </a:xfrm>
        </p:grpSpPr>
        <p:pic>
          <p:nvPicPr>
            <p:cNvPr id="27" name="Picture 26">
              <a:extLst>
                <a:ext uri="{FF2B5EF4-FFF2-40B4-BE49-F238E27FC236}">
                  <a16:creationId xmlns:a16="http://schemas.microsoft.com/office/drawing/2014/main" id="{E271E93D-6B95-4D86-A017-C6E319632740}"/>
                </a:ext>
              </a:extLst>
            </p:cNvPr>
            <p:cNvPicPr>
              <a:picLocks noChangeAspect="1"/>
            </p:cNvPicPr>
            <p:nvPr userDrawn="1"/>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28" name="object 7">
              <a:extLst>
                <a:ext uri="{FF2B5EF4-FFF2-40B4-BE49-F238E27FC236}">
                  <a16:creationId xmlns:a16="http://schemas.microsoft.com/office/drawing/2014/main" id="{6E3CA0BA-EBE0-4308-9978-BBBA9AF3F621}"/>
                </a:ext>
              </a:extLst>
            </p:cNvPr>
            <p:cNvPicPr/>
            <p:nvPr userDrawn="1"/>
          </p:nvPicPr>
          <p:blipFill rotWithShape="1">
            <a:blip r:embed="rId12" cstate="print"/>
            <a:srcRect t="80403" r="52383" b="7412"/>
            <a:stretch/>
          </p:blipFill>
          <p:spPr>
            <a:xfrm>
              <a:off x="9232351" y="6226197"/>
              <a:ext cx="1260690" cy="91441"/>
            </a:xfrm>
            <a:prstGeom prst="rect">
              <a:avLst/>
            </a:prstGeom>
          </p:spPr>
        </p:pic>
        <p:pic>
          <p:nvPicPr>
            <p:cNvPr id="29" name="object 7">
              <a:extLst>
                <a:ext uri="{FF2B5EF4-FFF2-40B4-BE49-F238E27FC236}">
                  <a16:creationId xmlns:a16="http://schemas.microsoft.com/office/drawing/2014/main" id="{6F75F1C8-C798-431A-85DE-63D867486548}"/>
                </a:ext>
              </a:extLst>
            </p:cNvPr>
            <p:cNvPicPr/>
            <p:nvPr userDrawn="1"/>
          </p:nvPicPr>
          <p:blipFill rotWithShape="1">
            <a:blip r:embed="rId12" cstate="print"/>
            <a:srcRect t="7514" r="83396" b="19716"/>
            <a:stretch/>
          </p:blipFill>
          <p:spPr>
            <a:xfrm>
              <a:off x="9266848" y="5764571"/>
              <a:ext cx="382911" cy="456621"/>
            </a:xfrm>
            <a:prstGeom prst="rect">
              <a:avLst/>
            </a:prstGeom>
          </p:spPr>
        </p:pic>
      </p:grpSp>
      <p:sp>
        <p:nvSpPr>
          <p:cNvPr id="18" name="Footer Placeholder 4">
            <a:extLst>
              <a:ext uri="{FF2B5EF4-FFF2-40B4-BE49-F238E27FC236}">
                <a16:creationId xmlns:a16="http://schemas.microsoft.com/office/drawing/2014/main" id="{198847C0-F089-48E0-9F78-7EA6E9DF1C65}"/>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7F7F7F"/>
                </a:solidFill>
              </a:rPr>
              <a:t>Forecast Policy Scenario 2023</a:t>
            </a:r>
          </a:p>
        </p:txBody>
      </p:sp>
      <p:sp>
        <p:nvSpPr>
          <p:cNvPr id="17" name="2. Slide Title">
            <a:extLst>
              <a:ext uri="{FF2B5EF4-FFF2-40B4-BE49-F238E27FC236}">
                <a16:creationId xmlns:a16="http://schemas.microsoft.com/office/drawing/2014/main" id="{6CAD5C79-7FBB-4FBB-BC96-BE2D437A6DA4}"/>
              </a:ext>
            </a:extLst>
          </p:cNvPr>
          <p:cNvSpPr>
            <a:spLocks noGrp="1"/>
          </p:cNvSpPr>
          <p:nvPr>
            <p:ph type="title"/>
            <p:custDataLst>
              <p:tags r:id="rId5"/>
            </p:custDataLst>
          </p:nvPr>
        </p:nvSpPr>
        <p:spPr>
          <a:xfrm>
            <a:off x="565988" y="2775146"/>
            <a:ext cx="2514600" cy="738664"/>
          </a:xfrm>
          <a:prstGeom prst="rect">
            <a:avLst/>
          </a:prstGeom>
        </p:spPr>
        <p:txBody>
          <a:bodyPr vert="horz" wrap="square" lIns="0" tIns="0" rIns="0" bIns="0" rtlCol="0" anchor="b" anchorCtr="0">
            <a:spAutoFit/>
          </a:bodyPr>
          <a:lstStyle>
            <a:lvl1pPr>
              <a:defRPr cap="none" baseline="0">
                <a:solidFill>
                  <a:schemeClr val="bg2"/>
                </a:solidFill>
              </a:defRPr>
            </a:lvl1pPr>
          </a:lstStyle>
          <a:p>
            <a:pPr lvl="0"/>
            <a:r>
              <a:rPr lang="en-US"/>
              <a:t>Click to edit Master title style</a:t>
            </a:r>
          </a:p>
        </p:txBody>
      </p:sp>
      <p:cxnSp>
        <p:nvCxnSpPr>
          <p:cNvPr id="20" name="Straight Connector 19">
            <a:extLst>
              <a:ext uri="{FF2B5EF4-FFF2-40B4-BE49-F238E27FC236}">
                <a16:creationId xmlns:a16="http://schemas.microsoft.com/office/drawing/2014/main" id="{479FE9A1-EC70-4089-8A32-26E7B3C91353}"/>
              </a:ext>
            </a:extLst>
          </p:cNvPr>
          <p:cNvCxnSpPr>
            <a:cxnSpLocks/>
          </p:cNvCxnSpPr>
          <p:nvPr userDrawn="1"/>
        </p:nvCxnSpPr>
        <p:spPr bwMode="auto">
          <a:xfrm>
            <a:off x="565988" y="3625570"/>
            <a:ext cx="2514600" cy="0"/>
          </a:xfrm>
          <a:prstGeom prst="line">
            <a:avLst/>
          </a:prstGeom>
          <a:solidFill>
            <a:schemeClr val="accent1"/>
          </a:solidFill>
          <a:ln w="28575" cap="rnd" cmpd="sng" algn="ctr">
            <a:solidFill>
              <a:schemeClr val="accent3"/>
            </a:solidFill>
            <a:prstDash val="sysDot"/>
            <a:round/>
            <a:headEnd type="none" w="med" len="med"/>
            <a:tailEnd type="none" w="med" len="med"/>
          </a:ln>
          <a:effectLst/>
        </p:spPr>
      </p:cxnSp>
      <p:sp>
        <p:nvSpPr>
          <p:cNvPr id="21" name="3. Subtitle">
            <a:extLst>
              <a:ext uri="{FF2B5EF4-FFF2-40B4-BE49-F238E27FC236}">
                <a16:creationId xmlns:a16="http://schemas.microsoft.com/office/drawing/2014/main" id="{8325269F-F3C1-43D8-BEB3-C9F9FF70F60C}"/>
              </a:ext>
            </a:extLst>
          </p:cNvPr>
          <p:cNvSpPr>
            <a:spLocks noGrp="1"/>
          </p:cNvSpPr>
          <p:nvPr>
            <p:ph type="subTitle" idx="1"/>
            <p:custDataLst>
              <p:tags r:id="rId6"/>
            </p:custDataLst>
          </p:nvPr>
        </p:nvSpPr>
        <p:spPr>
          <a:xfrm>
            <a:off x="565988" y="3701770"/>
            <a:ext cx="2514600"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bg2"/>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36720697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89164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8" name="Slide Number Placeholder 3">
            <a:extLst>
              <a:ext uri="{FF2B5EF4-FFF2-40B4-BE49-F238E27FC236}">
                <a16:creationId xmlns:a16="http://schemas.microsoft.com/office/drawing/2014/main" id="{5AD637DB-F845-44B9-B0B4-0A18D953F801}"/>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sp>
        <p:nvSpPr>
          <p:cNvPr id="22" name="Rectangle 21">
            <a:extLst>
              <a:ext uri="{FF2B5EF4-FFF2-40B4-BE49-F238E27FC236}">
                <a16:creationId xmlns:a16="http://schemas.microsoft.com/office/drawing/2014/main" id="{4FD33FCC-816F-459C-A8A2-E5AB9BF8D61E}"/>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24" name="Group 23">
            <a:extLst>
              <a:ext uri="{FF2B5EF4-FFF2-40B4-BE49-F238E27FC236}">
                <a16:creationId xmlns:a16="http://schemas.microsoft.com/office/drawing/2014/main" id="{2E6E67D3-54F1-467B-96AF-C415DF457144}"/>
              </a:ext>
            </a:extLst>
          </p:cNvPr>
          <p:cNvGrpSpPr/>
          <p:nvPr userDrawn="1"/>
        </p:nvGrpSpPr>
        <p:grpSpPr>
          <a:xfrm>
            <a:off x="10672980" y="57875"/>
            <a:ext cx="1314128" cy="622341"/>
            <a:chOff x="9232351" y="5695297"/>
            <a:chExt cx="1314128" cy="622341"/>
          </a:xfrm>
        </p:grpSpPr>
        <p:pic>
          <p:nvPicPr>
            <p:cNvPr id="25" name="Picture 24">
              <a:extLst>
                <a:ext uri="{FF2B5EF4-FFF2-40B4-BE49-F238E27FC236}">
                  <a16:creationId xmlns:a16="http://schemas.microsoft.com/office/drawing/2014/main" id="{F62C8283-8B19-456F-98C0-9E4BA11D8910}"/>
                </a:ext>
              </a:extLst>
            </p:cNvPr>
            <p:cNvPicPr>
              <a:picLocks noChangeAspect="1"/>
            </p:cNvPicPr>
            <p:nvPr userDrawn="1"/>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26" name="object 7">
              <a:extLst>
                <a:ext uri="{FF2B5EF4-FFF2-40B4-BE49-F238E27FC236}">
                  <a16:creationId xmlns:a16="http://schemas.microsoft.com/office/drawing/2014/main" id="{152A043D-51E6-4074-B98A-0A911FCBEBE1}"/>
                </a:ext>
              </a:extLst>
            </p:cNvPr>
            <p:cNvPicPr/>
            <p:nvPr userDrawn="1"/>
          </p:nvPicPr>
          <p:blipFill rotWithShape="1">
            <a:blip r:embed="rId12" cstate="print"/>
            <a:srcRect t="80403" r="52383" b="7412"/>
            <a:stretch/>
          </p:blipFill>
          <p:spPr>
            <a:xfrm>
              <a:off x="9232351" y="6226197"/>
              <a:ext cx="1260690" cy="91441"/>
            </a:xfrm>
            <a:prstGeom prst="rect">
              <a:avLst/>
            </a:prstGeom>
          </p:spPr>
        </p:pic>
        <p:pic>
          <p:nvPicPr>
            <p:cNvPr id="27" name="object 7">
              <a:extLst>
                <a:ext uri="{FF2B5EF4-FFF2-40B4-BE49-F238E27FC236}">
                  <a16:creationId xmlns:a16="http://schemas.microsoft.com/office/drawing/2014/main" id="{938B8DA4-2561-44E1-817B-D71B808A1AF5}"/>
                </a:ext>
              </a:extLst>
            </p:cNvPr>
            <p:cNvPicPr/>
            <p:nvPr userDrawn="1"/>
          </p:nvPicPr>
          <p:blipFill rotWithShape="1">
            <a:blip r:embed="rId12" cstate="print"/>
            <a:srcRect t="7514" r="83396" b="19716"/>
            <a:stretch/>
          </p:blipFill>
          <p:spPr>
            <a:xfrm>
              <a:off x="9266848" y="5764571"/>
              <a:ext cx="382911" cy="456621"/>
            </a:xfrm>
            <a:prstGeom prst="rect">
              <a:avLst/>
            </a:prstGeom>
          </p:spPr>
        </p:pic>
      </p:grpSp>
      <p:sp>
        <p:nvSpPr>
          <p:cNvPr id="17" name="5. Source" hidden="1">
            <a:extLst>
              <a:ext uri="{FF2B5EF4-FFF2-40B4-BE49-F238E27FC236}">
                <a16:creationId xmlns:a16="http://schemas.microsoft.com/office/drawing/2014/main" id="{0F839AA2-00F4-4FC3-AB85-010148162B93}"/>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r>
              <a:rPr lang="en-US" dirty="0">
                <a:solidFill>
                  <a:schemeClr val="bg2"/>
                </a:solidFill>
              </a:rPr>
              <a:t>…</a:t>
            </a:r>
          </a:p>
        </p:txBody>
      </p:sp>
      <p:sp>
        <p:nvSpPr>
          <p:cNvPr id="20" name="Footer Placeholder 4">
            <a:extLst>
              <a:ext uri="{FF2B5EF4-FFF2-40B4-BE49-F238E27FC236}">
                <a16:creationId xmlns:a16="http://schemas.microsoft.com/office/drawing/2014/main" id="{504BE519-C245-4153-A2B8-B8B741C91AB3}"/>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7F7F7F"/>
                </a:solidFill>
              </a:rPr>
              <a:t>Forecast Policy Scenario 2023</a:t>
            </a:r>
          </a:p>
        </p:txBody>
      </p:sp>
      <p:sp>
        <p:nvSpPr>
          <p:cNvPr id="19" name="2. Slide Title">
            <a:extLst>
              <a:ext uri="{FF2B5EF4-FFF2-40B4-BE49-F238E27FC236}">
                <a16:creationId xmlns:a16="http://schemas.microsoft.com/office/drawing/2014/main" id="{04D13E0D-5385-41C7-B808-BAC1EC43F128}"/>
              </a:ext>
            </a:extLst>
          </p:cNvPr>
          <p:cNvSpPr>
            <a:spLocks noGrp="1"/>
          </p:cNvSpPr>
          <p:nvPr>
            <p:ph type="title"/>
            <p:custDataLst>
              <p:tags r:id="rId5"/>
            </p:custDataLst>
          </p:nvPr>
        </p:nvSpPr>
        <p:spPr>
          <a:xfrm>
            <a:off x="565988" y="2744369"/>
            <a:ext cx="3498012" cy="769441"/>
          </a:xfrm>
          <a:prstGeom prst="rect">
            <a:avLst/>
          </a:prstGeom>
        </p:spPr>
        <p:txBody>
          <a:bodyPr vert="horz" wrap="square" lIns="0" tIns="0" rIns="0" bIns="0" rtlCol="0" anchor="b" anchorCtr="0">
            <a:noAutofit/>
          </a:bodyPr>
          <a:lstStyle>
            <a:lvl1pPr>
              <a:defRPr>
                <a:solidFill>
                  <a:schemeClr val="bg2"/>
                </a:solidFill>
              </a:defRPr>
            </a:lvl1pPr>
          </a:lstStyle>
          <a:p>
            <a:pPr lvl="0"/>
            <a:r>
              <a:rPr lang="en-US"/>
              <a:t>Click to edit Master title style</a:t>
            </a:r>
          </a:p>
        </p:txBody>
      </p:sp>
      <p:cxnSp>
        <p:nvCxnSpPr>
          <p:cNvPr id="21" name="Straight Connector 20">
            <a:extLst>
              <a:ext uri="{FF2B5EF4-FFF2-40B4-BE49-F238E27FC236}">
                <a16:creationId xmlns:a16="http://schemas.microsoft.com/office/drawing/2014/main" id="{9C3208FD-E324-4DBA-BA7F-B82A1F43F311}"/>
              </a:ext>
            </a:extLst>
          </p:cNvPr>
          <p:cNvCxnSpPr>
            <a:cxnSpLocks/>
          </p:cNvCxnSpPr>
          <p:nvPr userDrawn="1"/>
        </p:nvCxnSpPr>
        <p:spPr bwMode="auto">
          <a:xfrm>
            <a:off x="565988" y="3625570"/>
            <a:ext cx="2514600" cy="0"/>
          </a:xfrm>
          <a:prstGeom prst="line">
            <a:avLst/>
          </a:prstGeom>
          <a:solidFill>
            <a:schemeClr val="accent1"/>
          </a:solidFill>
          <a:ln w="28575" cap="rnd" cmpd="sng" algn="ctr">
            <a:solidFill>
              <a:schemeClr val="accent3"/>
            </a:solidFill>
            <a:prstDash val="sysDot"/>
            <a:round/>
            <a:headEnd type="none" w="med" len="med"/>
            <a:tailEnd type="none" w="med" len="med"/>
          </a:ln>
          <a:effectLst/>
        </p:spPr>
      </p:cxnSp>
      <p:sp>
        <p:nvSpPr>
          <p:cNvPr id="28" name="3. Subtitle">
            <a:extLst>
              <a:ext uri="{FF2B5EF4-FFF2-40B4-BE49-F238E27FC236}">
                <a16:creationId xmlns:a16="http://schemas.microsoft.com/office/drawing/2014/main" id="{DF98A58E-D388-45C7-820F-9EBC1CDC6DE4}"/>
              </a:ext>
            </a:extLst>
          </p:cNvPr>
          <p:cNvSpPr>
            <a:spLocks noGrp="1"/>
          </p:cNvSpPr>
          <p:nvPr>
            <p:ph type="subTitle" idx="1"/>
            <p:custDataLst>
              <p:tags r:id="rId6"/>
            </p:custDataLst>
          </p:nvPr>
        </p:nvSpPr>
        <p:spPr>
          <a:xfrm>
            <a:off x="565988" y="3701770"/>
            <a:ext cx="349801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bg2"/>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11489776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83394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4" name="Slide Number Placeholder 3">
            <a:extLst>
              <a:ext uri="{FF2B5EF4-FFF2-40B4-BE49-F238E27FC236}">
                <a16:creationId xmlns:a16="http://schemas.microsoft.com/office/drawing/2014/main" id="{03C594D9-7827-4520-B183-31028FC218DE}"/>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sp>
        <p:nvSpPr>
          <p:cNvPr id="16" name="Rectangle 15">
            <a:extLst>
              <a:ext uri="{FF2B5EF4-FFF2-40B4-BE49-F238E27FC236}">
                <a16:creationId xmlns:a16="http://schemas.microsoft.com/office/drawing/2014/main" id="{7FCD805C-5BED-442B-89F9-AEF10147F128}"/>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2" name="2. Slide Title">
            <a:extLst>
              <a:ext uri="{FF2B5EF4-FFF2-40B4-BE49-F238E27FC236}">
                <a16:creationId xmlns:a16="http://schemas.microsoft.com/office/drawing/2014/main" id="{B1EF2959-EAD9-4DF9-9962-26431B5C5B8A}"/>
              </a:ext>
            </a:extLst>
          </p:cNvPr>
          <p:cNvSpPr>
            <a:spLocks noGrp="1"/>
          </p:cNvSpPr>
          <p:nvPr>
            <p:ph type="title"/>
            <p:custDataLst>
              <p:tags r:id="rId4"/>
            </p:custDataLst>
          </p:nvPr>
        </p:nvSpPr>
        <p:spPr>
          <a:xfrm>
            <a:off x="565988" y="591463"/>
            <a:ext cx="508508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cap="none" baseline="0">
                <a:solidFill>
                  <a:schemeClr val="bg2"/>
                </a:solidFill>
              </a:defRPr>
            </a:lvl1pPr>
          </a:lstStyle>
          <a:p>
            <a:pPr lvl="0"/>
            <a:r>
              <a:rPr lang="en-US"/>
              <a:t>Click to edit Master title style</a:t>
            </a:r>
          </a:p>
        </p:txBody>
      </p:sp>
      <p:cxnSp>
        <p:nvCxnSpPr>
          <p:cNvPr id="23" name="Straight Connector 22">
            <a:extLst>
              <a:ext uri="{FF2B5EF4-FFF2-40B4-BE49-F238E27FC236}">
                <a16:creationId xmlns:a16="http://schemas.microsoft.com/office/drawing/2014/main" id="{B6F7AB7B-2F26-44AA-B49F-FBBA89792ACD}"/>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3"/>
            </a:solidFill>
            <a:prstDash val="sysDot"/>
            <a:round/>
            <a:headEnd type="none" w="med" len="med"/>
            <a:tailEnd type="none" w="med" len="med"/>
          </a:ln>
          <a:effectLst/>
        </p:spPr>
      </p:cxnSp>
      <p:grpSp>
        <p:nvGrpSpPr>
          <p:cNvPr id="24" name="Group 23">
            <a:extLst>
              <a:ext uri="{FF2B5EF4-FFF2-40B4-BE49-F238E27FC236}">
                <a16:creationId xmlns:a16="http://schemas.microsoft.com/office/drawing/2014/main" id="{25AE284A-99C7-4577-9903-B243142C68ED}"/>
              </a:ext>
            </a:extLst>
          </p:cNvPr>
          <p:cNvGrpSpPr/>
          <p:nvPr userDrawn="1"/>
        </p:nvGrpSpPr>
        <p:grpSpPr>
          <a:xfrm>
            <a:off x="10672980" y="57875"/>
            <a:ext cx="1314128" cy="622341"/>
            <a:chOff x="9232351" y="5695297"/>
            <a:chExt cx="1314128" cy="622341"/>
          </a:xfrm>
        </p:grpSpPr>
        <p:pic>
          <p:nvPicPr>
            <p:cNvPr id="25" name="Picture 24">
              <a:extLst>
                <a:ext uri="{FF2B5EF4-FFF2-40B4-BE49-F238E27FC236}">
                  <a16:creationId xmlns:a16="http://schemas.microsoft.com/office/drawing/2014/main" id="{CD46F3F7-2A12-4179-8DC1-4CA027CF2C01}"/>
                </a:ext>
              </a:extLst>
            </p:cNvPr>
            <p:cNvPicPr>
              <a:picLocks noChangeAspect="1"/>
            </p:cNvPicPr>
            <p:nvPr userDrawn="1"/>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26" name="object 7">
              <a:extLst>
                <a:ext uri="{FF2B5EF4-FFF2-40B4-BE49-F238E27FC236}">
                  <a16:creationId xmlns:a16="http://schemas.microsoft.com/office/drawing/2014/main" id="{098E9F9F-9319-426D-8942-59F4E6E5DF05}"/>
                </a:ext>
              </a:extLst>
            </p:cNvPr>
            <p:cNvPicPr/>
            <p:nvPr userDrawn="1"/>
          </p:nvPicPr>
          <p:blipFill rotWithShape="1">
            <a:blip r:embed="rId12" cstate="print"/>
            <a:srcRect t="80403" r="52383" b="7412"/>
            <a:stretch/>
          </p:blipFill>
          <p:spPr>
            <a:xfrm>
              <a:off x="9232351" y="6226197"/>
              <a:ext cx="1260690" cy="91441"/>
            </a:xfrm>
            <a:prstGeom prst="rect">
              <a:avLst/>
            </a:prstGeom>
          </p:spPr>
        </p:pic>
        <p:pic>
          <p:nvPicPr>
            <p:cNvPr id="27" name="object 7">
              <a:extLst>
                <a:ext uri="{FF2B5EF4-FFF2-40B4-BE49-F238E27FC236}">
                  <a16:creationId xmlns:a16="http://schemas.microsoft.com/office/drawing/2014/main" id="{39CA561D-1EE1-4387-84E0-830B0DCFF771}"/>
                </a:ext>
              </a:extLst>
            </p:cNvPr>
            <p:cNvPicPr/>
            <p:nvPr userDrawn="1"/>
          </p:nvPicPr>
          <p:blipFill rotWithShape="1">
            <a:blip r:embed="rId12" cstate="print"/>
            <a:srcRect t="7514" r="83396" b="19716"/>
            <a:stretch/>
          </p:blipFill>
          <p:spPr>
            <a:xfrm>
              <a:off x="9266848" y="5764571"/>
              <a:ext cx="382911" cy="456621"/>
            </a:xfrm>
            <a:prstGeom prst="rect">
              <a:avLst/>
            </a:prstGeom>
          </p:spPr>
        </p:pic>
      </p:grpSp>
      <p:sp>
        <p:nvSpPr>
          <p:cNvPr id="18" name="5. Source" hidden="1">
            <a:extLst>
              <a:ext uri="{FF2B5EF4-FFF2-40B4-BE49-F238E27FC236}">
                <a16:creationId xmlns:a16="http://schemas.microsoft.com/office/drawing/2014/main" id="{A2B7BA35-F672-411C-9EA9-A1F9795DC8E9}"/>
              </a:ext>
            </a:extLst>
          </p:cNvPr>
          <p:cNvSpPr txBox="1"/>
          <p:nvPr userDrawn="1">
            <p:custDataLst>
              <p:tags r:id="rId5"/>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r>
              <a:rPr lang="en-US" dirty="0">
                <a:solidFill>
                  <a:schemeClr val="bg2"/>
                </a:solidFill>
              </a:rPr>
              <a:t>…</a:t>
            </a:r>
          </a:p>
        </p:txBody>
      </p:sp>
      <p:sp>
        <p:nvSpPr>
          <p:cNvPr id="19" name="Footer Placeholder 4">
            <a:extLst>
              <a:ext uri="{FF2B5EF4-FFF2-40B4-BE49-F238E27FC236}">
                <a16:creationId xmlns:a16="http://schemas.microsoft.com/office/drawing/2014/main" id="{17C942D9-5A0D-4C28-85EF-2693127D8D06}"/>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7F7F7F"/>
                </a:solidFill>
              </a:rPr>
              <a:t>Forecast Policy Scenario 2023</a:t>
            </a:r>
          </a:p>
        </p:txBody>
      </p:sp>
      <p:sp>
        <p:nvSpPr>
          <p:cNvPr id="17" name="3. Subtitle">
            <a:extLst>
              <a:ext uri="{FF2B5EF4-FFF2-40B4-BE49-F238E27FC236}">
                <a16:creationId xmlns:a16="http://schemas.microsoft.com/office/drawing/2014/main" id="{1F028EE6-6D1E-48DB-B272-F6A04B97E3BC}"/>
              </a:ext>
            </a:extLst>
          </p:cNvPr>
          <p:cNvSpPr>
            <a:spLocks noGrp="1"/>
          </p:cNvSpPr>
          <p:nvPr>
            <p:ph type="subTitle" idx="1"/>
            <p:custDataLst>
              <p:tags r:id="rId6"/>
            </p:custDataLst>
          </p:nvPr>
        </p:nvSpPr>
        <p:spPr>
          <a:xfrm>
            <a:off x="565988" y="1448192"/>
            <a:ext cx="508508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bg2"/>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19078981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249740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4" name="Slide Number Placeholder 3">
            <a:extLst>
              <a:ext uri="{FF2B5EF4-FFF2-40B4-BE49-F238E27FC236}">
                <a16:creationId xmlns:a16="http://schemas.microsoft.com/office/drawing/2014/main" id="{5C4FBAF3-5B76-41CA-9CB6-E0119EFFA787}"/>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sp>
        <p:nvSpPr>
          <p:cNvPr id="16" name="Rectangle 15">
            <a:extLst>
              <a:ext uri="{FF2B5EF4-FFF2-40B4-BE49-F238E27FC236}">
                <a16:creationId xmlns:a16="http://schemas.microsoft.com/office/drawing/2014/main" id="{C07F88E8-C18C-45BC-A030-7D4384B8405E}"/>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24" name="Group 23">
            <a:extLst>
              <a:ext uri="{FF2B5EF4-FFF2-40B4-BE49-F238E27FC236}">
                <a16:creationId xmlns:a16="http://schemas.microsoft.com/office/drawing/2014/main" id="{AD7919B6-D33F-4BC3-BE04-28F93B5DC173}"/>
              </a:ext>
            </a:extLst>
          </p:cNvPr>
          <p:cNvGrpSpPr/>
          <p:nvPr userDrawn="1"/>
        </p:nvGrpSpPr>
        <p:grpSpPr>
          <a:xfrm>
            <a:off x="10672980" y="57875"/>
            <a:ext cx="1314128" cy="622341"/>
            <a:chOff x="9232351" y="5695297"/>
            <a:chExt cx="1314128" cy="622341"/>
          </a:xfrm>
        </p:grpSpPr>
        <p:pic>
          <p:nvPicPr>
            <p:cNvPr id="25" name="Picture 24">
              <a:extLst>
                <a:ext uri="{FF2B5EF4-FFF2-40B4-BE49-F238E27FC236}">
                  <a16:creationId xmlns:a16="http://schemas.microsoft.com/office/drawing/2014/main" id="{4ACD72CA-D32F-4FE3-BEC7-FC9486F64B21}"/>
                </a:ext>
              </a:extLst>
            </p:cNvPr>
            <p:cNvPicPr>
              <a:picLocks noChangeAspect="1"/>
            </p:cNvPicPr>
            <p:nvPr userDrawn="1"/>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26" name="object 7">
              <a:extLst>
                <a:ext uri="{FF2B5EF4-FFF2-40B4-BE49-F238E27FC236}">
                  <a16:creationId xmlns:a16="http://schemas.microsoft.com/office/drawing/2014/main" id="{83908F40-4995-406D-A501-013AD7EB3D27}"/>
                </a:ext>
              </a:extLst>
            </p:cNvPr>
            <p:cNvPicPr/>
            <p:nvPr userDrawn="1"/>
          </p:nvPicPr>
          <p:blipFill rotWithShape="1">
            <a:blip r:embed="rId12" cstate="print"/>
            <a:srcRect t="80403" r="52383" b="7412"/>
            <a:stretch/>
          </p:blipFill>
          <p:spPr>
            <a:xfrm>
              <a:off x="9232351" y="6226197"/>
              <a:ext cx="1260690" cy="91441"/>
            </a:xfrm>
            <a:prstGeom prst="rect">
              <a:avLst/>
            </a:prstGeom>
          </p:spPr>
        </p:pic>
        <p:pic>
          <p:nvPicPr>
            <p:cNvPr id="27" name="object 7">
              <a:extLst>
                <a:ext uri="{FF2B5EF4-FFF2-40B4-BE49-F238E27FC236}">
                  <a16:creationId xmlns:a16="http://schemas.microsoft.com/office/drawing/2014/main" id="{0CD89F58-C8D0-4AA8-9CDE-4307ED08D2AD}"/>
                </a:ext>
              </a:extLst>
            </p:cNvPr>
            <p:cNvPicPr/>
            <p:nvPr userDrawn="1"/>
          </p:nvPicPr>
          <p:blipFill rotWithShape="1">
            <a:blip r:embed="rId12" cstate="print"/>
            <a:srcRect t="7514" r="83396" b="19716"/>
            <a:stretch/>
          </p:blipFill>
          <p:spPr>
            <a:xfrm>
              <a:off x="9266848" y="5764571"/>
              <a:ext cx="382911" cy="456621"/>
            </a:xfrm>
            <a:prstGeom prst="rect">
              <a:avLst/>
            </a:prstGeom>
          </p:spPr>
        </p:pic>
      </p:grpSp>
      <p:sp>
        <p:nvSpPr>
          <p:cNvPr id="17" name="2. Slide Title">
            <a:extLst>
              <a:ext uri="{FF2B5EF4-FFF2-40B4-BE49-F238E27FC236}">
                <a16:creationId xmlns:a16="http://schemas.microsoft.com/office/drawing/2014/main" id="{D161948B-64B6-46F3-9DA4-0378DB98C84B}"/>
              </a:ext>
            </a:extLst>
          </p:cNvPr>
          <p:cNvSpPr>
            <a:spLocks noGrp="1"/>
          </p:cNvSpPr>
          <p:nvPr>
            <p:ph type="title"/>
            <p:custDataLst>
              <p:tags r:id="rId4"/>
            </p:custDataLst>
          </p:nvPr>
        </p:nvSpPr>
        <p:spPr>
          <a:xfrm>
            <a:off x="565988" y="591463"/>
            <a:ext cx="683324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cap="none" baseline="0">
                <a:solidFill>
                  <a:schemeClr val="bg2"/>
                </a:solidFill>
              </a:defRPr>
            </a:lvl1pPr>
          </a:lstStyle>
          <a:p>
            <a:pPr lvl="0"/>
            <a:r>
              <a:rPr lang="en-US"/>
              <a:t>Click to edit Master title style</a:t>
            </a:r>
          </a:p>
        </p:txBody>
      </p:sp>
      <p:cxnSp>
        <p:nvCxnSpPr>
          <p:cNvPr id="18" name="Straight Connector 17">
            <a:extLst>
              <a:ext uri="{FF2B5EF4-FFF2-40B4-BE49-F238E27FC236}">
                <a16:creationId xmlns:a16="http://schemas.microsoft.com/office/drawing/2014/main" id="{3453E19A-92AF-4495-BF9E-5C2F376F47C7}"/>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3"/>
            </a:solidFill>
            <a:prstDash val="sysDot"/>
            <a:round/>
            <a:headEnd type="none" w="med" len="med"/>
            <a:tailEnd type="none" w="med" len="med"/>
          </a:ln>
          <a:effectLst/>
        </p:spPr>
      </p:cxnSp>
      <p:sp>
        <p:nvSpPr>
          <p:cNvPr id="20" name="5. Source" hidden="1">
            <a:extLst>
              <a:ext uri="{FF2B5EF4-FFF2-40B4-BE49-F238E27FC236}">
                <a16:creationId xmlns:a16="http://schemas.microsoft.com/office/drawing/2014/main" id="{B6A0950A-F708-40CC-AC04-4A28A23E233A}"/>
              </a:ext>
            </a:extLst>
          </p:cNvPr>
          <p:cNvSpPr txBox="1"/>
          <p:nvPr userDrawn="1">
            <p:custDataLst>
              <p:tags r:id="rId5"/>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r>
              <a:rPr lang="en-US" dirty="0">
                <a:solidFill>
                  <a:schemeClr val="bg2"/>
                </a:solidFill>
              </a:rPr>
              <a:t>…</a:t>
            </a:r>
          </a:p>
        </p:txBody>
      </p:sp>
      <p:sp>
        <p:nvSpPr>
          <p:cNvPr id="21" name="Footer Placeholder 4">
            <a:extLst>
              <a:ext uri="{FF2B5EF4-FFF2-40B4-BE49-F238E27FC236}">
                <a16:creationId xmlns:a16="http://schemas.microsoft.com/office/drawing/2014/main" id="{03F583B8-AF5E-49CA-A489-893669C4CF3C}"/>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7F7F7F"/>
                </a:solidFill>
              </a:rPr>
              <a:t>Forecast Policy Scenario 2023</a:t>
            </a:r>
          </a:p>
        </p:txBody>
      </p:sp>
      <p:sp>
        <p:nvSpPr>
          <p:cNvPr id="15" name="3. Subtitle">
            <a:extLst>
              <a:ext uri="{FF2B5EF4-FFF2-40B4-BE49-F238E27FC236}">
                <a16:creationId xmlns:a16="http://schemas.microsoft.com/office/drawing/2014/main" id="{ADD6984D-4545-4619-BE11-E1B4EFD484FE}"/>
              </a:ext>
            </a:extLst>
          </p:cNvPr>
          <p:cNvSpPr>
            <a:spLocks noGrp="1"/>
          </p:cNvSpPr>
          <p:nvPr>
            <p:ph type="subTitle" idx="1"/>
            <p:custDataLst>
              <p:tags r:id="rId6"/>
            </p:custDataLst>
          </p:nvPr>
        </p:nvSpPr>
        <p:spPr>
          <a:xfrm>
            <a:off x="565988" y="1448192"/>
            <a:ext cx="683324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bg2"/>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20954764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1080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665706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4" name="Slide Number Placeholder 3">
            <a:extLst>
              <a:ext uri="{FF2B5EF4-FFF2-40B4-BE49-F238E27FC236}">
                <a16:creationId xmlns:a16="http://schemas.microsoft.com/office/drawing/2014/main" id="{4C8BA22C-0C22-46C9-B50C-261B4AE18F21}"/>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sp>
        <p:nvSpPr>
          <p:cNvPr id="16" name="Rectangle 15">
            <a:extLst>
              <a:ext uri="{FF2B5EF4-FFF2-40B4-BE49-F238E27FC236}">
                <a16:creationId xmlns:a16="http://schemas.microsoft.com/office/drawing/2014/main" id="{A8B44105-8173-4996-B7FF-603C4115F0A4}"/>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25" name="Group 24">
            <a:extLst>
              <a:ext uri="{FF2B5EF4-FFF2-40B4-BE49-F238E27FC236}">
                <a16:creationId xmlns:a16="http://schemas.microsoft.com/office/drawing/2014/main" id="{ED5C4F5E-3A68-4F12-9677-11C62A8521AF}"/>
              </a:ext>
            </a:extLst>
          </p:cNvPr>
          <p:cNvGrpSpPr/>
          <p:nvPr userDrawn="1"/>
        </p:nvGrpSpPr>
        <p:grpSpPr>
          <a:xfrm>
            <a:off x="10672980" y="57875"/>
            <a:ext cx="1314128" cy="622341"/>
            <a:chOff x="9232351" y="5695297"/>
            <a:chExt cx="1314128" cy="622341"/>
          </a:xfrm>
        </p:grpSpPr>
        <p:pic>
          <p:nvPicPr>
            <p:cNvPr id="26" name="Picture 25">
              <a:extLst>
                <a:ext uri="{FF2B5EF4-FFF2-40B4-BE49-F238E27FC236}">
                  <a16:creationId xmlns:a16="http://schemas.microsoft.com/office/drawing/2014/main" id="{4EC253EB-5FF2-43C9-9462-72EE78156C69}"/>
                </a:ext>
              </a:extLst>
            </p:cNvPr>
            <p:cNvPicPr>
              <a:picLocks noChangeAspect="1"/>
            </p:cNvPicPr>
            <p:nvPr userDrawn="1"/>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27" name="object 7">
              <a:extLst>
                <a:ext uri="{FF2B5EF4-FFF2-40B4-BE49-F238E27FC236}">
                  <a16:creationId xmlns:a16="http://schemas.microsoft.com/office/drawing/2014/main" id="{928E7EEB-3648-47B3-8F06-613E19F1E19A}"/>
                </a:ext>
              </a:extLst>
            </p:cNvPr>
            <p:cNvPicPr/>
            <p:nvPr userDrawn="1"/>
          </p:nvPicPr>
          <p:blipFill rotWithShape="1">
            <a:blip r:embed="rId12" cstate="print"/>
            <a:srcRect t="80403" r="52383" b="7412"/>
            <a:stretch/>
          </p:blipFill>
          <p:spPr>
            <a:xfrm>
              <a:off x="9232351" y="6226197"/>
              <a:ext cx="1260690" cy="91441"/>
            </a:xfrm>
            <a:prstGeom prst="rect">
              <a:avLst/>
            </a:prstGeom>
          </p:spPr>
        </p:pic>
        <p:pic>
          <p:nvPicPr>
            <p:cNvPr id="28" name="object 7">
              <a:extLst>
                <a:ext uri="{FF2B5EF4-FFF2-40B4-BE49-F238E27FC236}">
                  <a16:creationId xmlns:a16="http://schemas.microsoft.com/office/drawing/2014/main" id="{4C5FFCEE-0E67-405E-AF57-87D32593FE09}"/>
                </a:ext>
              </a:extLst>
            </p:cNvPr>
            <p:cNvPicPr/>
            <p:nvPr userDrawn="1"/>
          </p:nvPicPr>
          <p:blipFill rotWithShape="1">
            <a:blip r:embed="rId12" cstate="print"/>
            <a:srcRect t="7514" r="83396" b="19716"/>
            <a:stretch/>
          </p:blipFill>
          <p:spPr>
            <a:xfrm>
              <a:off x="9266848" y="5764571"/>
              <a:ext cx="382911" cy="456621"/>
            </a:xfrm>
            <a:prstGeom prst="rect">
              <a:avLst/>
            </a:prstGeom>
          </p:spPr>
        </p:pic>
      </p:grpSp>
      <p:sp>
        <p:nvSpPr>
          <p:cNvPr id="18" name="2. Slide Title">
            <a:extLst>
              <a:ext uri="{FF2B5EF4-FFF2-40B4-BE49-F238E27FC236}">
                <a16:creationId xmlns:a16="http://schemas.microsoft.com/office/drawing/2014/main" id="{CD9E04EC-3837-463C-846A-13D07E6DF65F}"/>
              </a:ext>
            </a:extLst>
          </p:cNvPr>
          <p:cNvSpPr>
            <a:spLocks noGrp="1"/>
          </p:cNvSpPr>
          <p:nvPr>
            <p:ph type="title"/>
            <p:custDataLst>
              <p:tags r:id="rId4"/>
            </p:custDataLst>
          </p:nvPr>
        </p:nvSpPr>
        <p:spPr>
          <a:xfrm>
            <a:off x="565988" y="591463"/>
            <a:ext cx="782218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cap="none" baseline="0">
                <a:solidFill>
                  <a:schemeClr val="bg2"/>
                </a:solidFill>
              </a:defRPr>
            </a:lvl1pPr>
          </a:lstStyle>
          <a:p>
            <a:pPr lvl="0"/>
            <a:r>
              <a:rPr lang="en-US"/>
              <a:t>Click to edit Master title style</a:t>
            </a:r>
          </a:p>
        </p:txBody>
      </p:sp>
      <p:cxnSp>
        <p:nvCxnSpPr>
          <p:cNvPr id="19" name="Straight Connector 18">
            <a:extLst>
              <a:ext uri="{FF2B5EF4-FFF2-40B4-BE49-F238E27FC236}">
                <a16:creationId xmlns:a16="http://schemas.microsoft.com/office/drawing/2014/main" id="{425867A6-4C5B-4361-B512-24B7BCD0A990}"/>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3"/>
            </a:solidFill>
            <a:prstDash val="sysDot"/>
            <a:round/>
            <a:headEnd type="none" w="med" len="med"/>
            <a:tailEnd type="none" w="med" len="med"/>
          </a:ln>
          <a:effectLst/>
        </p:spPr>
      </p:cxnSp>
      <p:sp>
        <p:nvSpPr>
          <p:cNvPr id="20" name="5. Source" hidden="1">
            <a:extLst>
              <a:ext uri="{FF2B5EF4-FFF2-40B4-BE49-F238E27FC236}">
                <a16:creationId xmlns:a16="http://schemas.microsoft.com/office/drawing/2014/main" id="{313F577C-3B99-4E66-B403-4CAA6E43DEC8}"/>
              </a:ext>
            </a:extLst>
          </p:cNvPr>
          <p:cNvSpPr txBox="1"/>
          <p:nvPr userDrawn="1">
            <p:custDataLst>
              <p:tags r:id="rId5"/>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r>
              <a:rPr lang="en-US" dirty="0">
                <a:solidFill>
                  <a:schemeClr val="bg2"/>
                </a:solidFill>
              </a:rPr>
              <a:t>…</a:t>
            </a:r>
          </a:p>
        </p:txBody>
      </p:sp>
      <p:sp>
        <p:nvSpPr>
          <p:cNvPr id="21" name="Footer Placeholder 4">
            <a:extLst>
              <a:ext uri="{FF2B5EF4-FFF2-40B4-BE49-F238E27FC236}">
                <a16:creationId xmlns:a16="http://schemas.microsoft.com/office/drawing/2014/main" id="{D6AF8957-203C-42B6-8FE3-E68D036AE364}"/>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7F7F7F"/>
                </a:solidFill>
              </a:rPr>
              <a:t>Forecast Policy Scenario 2023</a:t>
            </a:r>
          </a:p>
        </p:txBody>
      </p:sp>
      <p:sp>
        <p:nvSpPr>
          <p:cNvPr id="15" name="3. Subtitle">
            <a:extLst>
              <a:ext uri="{FF2B5EF4-FFF2-40B4-BE49-F238E27FC236}">
                <a16:creationId xmlns:a16="http://schemas.microsoft.com/office/drawing/2014/main" id="{9BB509C1-C9E5-4794-996F-0339543E23F9}"/>
              </a:ext>
            </a:extLst>
          </p:cNvPr>
          <p:cNvSpPr>
            <a:spLocks noGrp="1"/>
          </p:cNvSpPr>
          <p:nvPr>
            <p:ph type="subTitle" idx="1"/>
            <p:custDataLst>
              <p:tags r:id="rId6"/>
            </p:custDataLst>
          </p:nvPr>
        </p:nvSpPr>
        <p:spPr>
          <a:xfrm>
            <a:off x="565988" y="1448192"/>
            <a:ext cx="782218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bg2"/>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32920409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98010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6" name="Rectangle 15">
            <a:extLst>
              <a:ext uri="{FF2B5EF4-FFF2-40B4-BE49-F238E27FC236}">
                <a16:creationId xmlns:a16="http://schemas.microsoft.com/office/drawing/2014/main" id="{D865AD08-08B7-4FD2-B8F4-4B29718A9E39}"/>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pic>
        <p:nvPicPr>
          <p:cNvPr id="24" name="Picture 23">
            <a:extLst>
              <a:ext uri="{FF2B5EF4-FFF2-40B4-BE49-F238E27FC236}">
                <a16:creationId xmlns:a16="http://schemas.microsoft.com/office/drawing/2014/main" id="{4FB4B8B2-028E-4F5D-BB46-1DFEAD7382A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672980" y="57875"/>
            <a:ext cx="1361639" cy="679619"/>
          </a:xfrm>
          <a:prstGeom prst="rect">
            <a:avLst/>
          </a:prstGeom>
        </p:spPr>
      </p:pic>
      <p:sp>
        <p:nvSpPr>
          <p:cNvPr id="25" name="Slide Number Placeholder 3">
            <a:extLst>
              <a:ext uri="{FF2B5EF4-FFF2-40B4-BE49-F238E27FC236}">
                <a16:creationId xmlns:a16="http://schemas.microsoft.com/office/drawing/2014/main" id="{C28DC989-3DF4-4F3D-97C3-879A58C6FE08}"/>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sp>
        <p:nvSpPr>
          <p:cNvPr id="14" name="2. Slide Title">
            <a:extLst>
              <a:ext uri="{FF2B5EF4-FFF2-40B4-BE49-F238E27FC236}">
                <a16:creationId xmlns:a16="http://schemas.microsoft.com/office/drawing/2014/main" id="{62FE4E1F-8973-419D-AA1A-F3E471DE2D47}"/>
              </a:ext>
            </a:extLst>
          </p:cNvPr>
          <p:cNvSpPr>
            <a:spLocks noGrp="1"/>
          </p:cNvSpPr>
          <p:nvPr>
            <p:ph type="title"/>
            <p:custDataLst>
              <p:tags r:id="rId4"/>
            </p:custDataLst>
          </p:nvPr>
        </p:nvSpPr>
        <p:spPr>
          <a:xfrm>
            <a:off x="565988" y="591463"/>
            <a:ext cx="508508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cap="none" baseline="0">
                <a:solidFill>
                  <a:schemeClr val="tx1"/>
                </a:solidFill>
              </a:defRPr>
            </a:lvl1pPr>
          </a:lstStyle>
          <a:p>
            <a:pPr lvl="0"/>
            <a:r>
              <a:rPr lang="en-US"/>
              <a:t>Click to edit Master title style</a:t>
            </a:r>
          </a:p>
        </p:txBody>
      </p:sp>
      <p:cxnSp>
        <p:nvCxnSpPr>
          <p:cNvPr id="18" name="Straight Connector 17">
            <a:extLst>
              <a:ext uri="{FF2B5EF4-FFF2-40B4-BE49-F238E27FC236}">
                <a16:creationId xmlns:a16="http://schemas.microsoft.com/office/drawing/2014/main" id="{032AE76A-19EF-49CE-B00E-C62751C8DD4E}"/>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tx1"/>
            </a:solidFill>
            <a:prstDash val="sysDot"/>
            <a:round/>
            <a:headEnd type="none" w="med" len="med"/>
            <a:tailEnd type="none" w="med" len="med"/>
          </a:ln>
          <a:effectLst/>
        </p:spPr>
      </p:cxnSp>
      <p:sp>
        <p:nvSpPr>
          <p:cNvPr id="19" name="5. Source" hidden="1">
            <a:extLst>
              <a:ext uri="{FF2B5EF4-FFF2-40B4-BE49-F238E27FC236}">
                <a16:creationId xmlns:a16="http://schemas.microsoft.com/office/drawing/2014/main" id="{578D71EA-5615-4945-A9F0-806ACBDADDBA}"/>
              </a:ext>
            </a:extLst>
          </p:cNvPr>
          <p:cNvSpPr txBox="1"/>
          <p:nvPr userDrawn="1">
            <p:custDataLst>
              <p:tags r:id="rId5"/>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r>
              <a:rPr lang="en-US" dirty="0">
                <a:solidFill>
                  <a:schemeClr val="tx1"/>
                </a:solidFill>
              </a:rPr>
              <a:t>…</a:t>
            </a:r>
          </a:p>
        </p:txBody>
      </p:sp>
      <p:sp>
        <p:nvSpPr>
          <p:cNvPr id="20" name="Footer Placeholder 4">
            <a:extLst>
              <a:ext uri="{FF2B5EF4-FFF2-40B4-BE49-F238E27FC236}">
                <a16:creationId xmlns:a16="http://schemas.microsoft.com/office/drawing/2014/main" id="{0BBF94DF-7F7F-40FA-B8BA-E07DD8430556}"/>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Forecast Policy Scenario 2023</a:t>
            </a:r>
          </a:p>
        </p:txBody>
      </p:sp>
      <p:sp>
        <p:nvSpPr>
          <p:cNvPr id="12" name="3. Subtitle">
            <a:extLst>
              <a:ext uri="{FF2B5EF4-FFF2-40B4-BE49-F238E27FC236}">
                <a16:creationId xmlns:a16="http://schemas.microsoft.com/office/drawing/2014/main" id="{2A857C8E-4C39-4811-9308-68FE5B311F67}"/>
              </a:ext>
            </a:extLst>
          </p:cNvPr>
          <p:cNvSpPr>
            <a:spLocks noGrp="1"/>
          </p:cNvSpPr>
          <p:nvPr>
            <p:ph type="subTitle" idx="1"/>
            <p:custDataLst>
              <p:tags r:id="rId6"/>
            </p:custDataLst>
          </p:nvPr>
        </p:nvSpPr>
        <p:spPr>
          <a:xfrm>
            <a:off x="565988" y="1448192"/>
            <a:ext cx="508508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7607880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685811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6" name="Picture 15">
            <a:extLst>
              <a:ext uri="{FF2B5EF4-FFF2-40B4-BE49-F238E27FC236}">
                <a16:creationId xmlns:a16="http://schemas.microsoft.com/office/drawing/2014/main" id="{7E980125-D713-49FB-B0C4-E55F77F01DD1}"/>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672980" y="57875"/>
            <a:ext cx="1361639" cy="679619"/>
          </a:xfrm>
          <a:prstGeom prst="rect">
            <a:avLst/>
          </a:prstGeom>
        </p:spPr>
      </p:pic>
      <p:sp>
        <p:nvSpPr>
          <p:cNvPr id="19" name="Slide Number Placeholder 3">
            <a:extLst>
              <a:ext uri="{FF2B5EF4-FFF2-40B4-BE49-F238E27FC236}">
                <a16:creationId xmlns:a16="http://schemas.microsoft.com/office/drawing/2014/main" id="{F1DE0078-1825-43AE-97EB-2FF34D000A86}"/>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sp>
        <p:nvSpPr>
          <p:cNvPr id="20" name="Rectangle 19">
            <a:extLst>
              <a:ext uri="{FF2B5EF4-FFF2-40B4-BE49-F238E27FC236}">
                <a16:creationId xmlns:a16="http://schemas.microsoft.com/office/drawing/2014/main" id="{ECAE938D-64EA-4793-BC88-8116F456D3FD}"/>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22" name="5. Source" hidden="1">
            <a:extLst>
              <a:ext uri="{FF2B5EF4-FFF2-40B4-BE49-F238E27FC236}">
                <a16:creationId xmlns:a16="http://schemas.microsoft.com/office/drawing/2014/main" id="{3AA69DBD-FA80-449B-8F2C-24A51A86E15E}"/>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r>
              <a:rPr lang="en-US" dirty="0">
                <a:solidFill>
                  <a:schemeClr val="tx1"/>
                </a:solidFill>
              </a:rPr>
              <a:t>…</a:t>
            </a:r>
          </a:p>
        </p:txBody>
      </p:sp>
      <p:sp>
        <p:nvSpPr>
          <p:cNvPr id="23" name="Footer Placeholder 4">
            <a:extLst>
              <a:ext uri="{FF2B5EF4-FFF2-40B4-BE49-F238E27FC236}">
                <a16:creationId xmlns:a16="http://schemas.microsoft.com/office/drawing/2014/main" id="{8235B500-A331-4A2C-A2F2-3180E34839DA}"/>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Forecast Policy Scenario 2023</a:t>
            </a:r>
          </a:p>
        </p:txBody>
      </p:sp>
      <p:sp>
        <p:nvSpPr>
          <p:cNvPr id="14" name="2. Slide Title">
            <a:extLst>
              <a:ext uri="{FF2B5EF4-FFF2-40B4-BE49-F238E27FC236}">
                <a16:creationId xmlns:a16="http://schemas.microsoft.com/office/drawing/2014/main" id="{40A2AF43-439A-4306-B9D8-E6C87CB6E95C}"/>
              </a:ext>
            </a:extLst>
          </p:cNvPr>
          <p:cNvSpPr>
            <a:spLocks noGrp="1"/>
          </p:cNvSpPr>
          <p:nvPr>
            <p:ph type="title"/>
            <p:custDataLst>
              <p:tags r:id="rId5"/>
            </p:custDataLst>
          </p:nvPr>
        </p:nvSpPr>
        <p:spPr>
          <a:xfrm>
            <a:off x="565988" y="2744369"/>
            <a:ext cx="3498012" cy="769441"/>
          </a:xfrm>
          <a:prstGeom prst="rect">
            <a:avLst/>
          </a:prstGeom>
        </p:spPr>
        <p:txBody>
          <a:bodyPr vert="horz" wrap="square" lIns="0" tIns="0" rIns="0" bIns="0" rtlCol="0" anchor="b" anchorCtr="0">
            <a:noAutofit/>
          </a:bodyPr>
          <a:lstStyle>
            <a:lvl1pPr>
              <a:defRPr cap="none" baseline="0">
                <a:solidFill>
                  <a:schemeClr val="tx1"/>
                </a:solidFill>
              </a:defRPr>
            </a:lvl1pPr>
          </a:lstStyle>
          <a:p>
            <a:pPr lvl="0"/>
            <a:r>
              <a:rPr lang="en-US"/>
              <a:t>Click to edit Master title style</a:t>
            </a:r>
          </a:p>
        </p:txBody>
      </p:sp>
      <p:cxnSp>
        <p:nvCxnSpPr>
          <p:cNvPr id="15" name="Straight Connector 14">
            <a:extLst>
              <a:ext uri="{FF2B5EF4-FFF2-40B4-BE49-F238E27FC236}">
                <a16:creationId xmlns:a16="http://schemas.microsoft.com/office/drawing/2014/main" id="{AD7AA607-8C27-43F7-B91D-7C903DD8C816}"/>
              </a:ext>
            </a:extLst>
          </p:cNvPr>
          <p:cNvCxnSpPr>
            <a:cxnSpLocks/>
          </p:cNvCxnSpPr>
          <p:nvPr userDrawn="1"/>
        </p:nvCxnSpPr>
        <p:spPr bwMode="auto">
          <a:xfrm>
            <a:off x="565988" y="3625570"/>
            <a:ext cx="2514600" cy="0"/>
          </a:xfrm>
          <a:prstGeom prst="line">
            <a:avLst/>
          </a:prstGeom>
          <a:solidFill>
            <a:schemeClr val="accent1"/>
          </a:solidFill>
          <a:ln w="28575" cap="rnd" cmpd="sng" algn="ctr">
            <a:solidFill>
              <a:schemeClr val="accent1"/>
            </a:solidFill>
            <a:prstDash val="sysDot"/>
            <a:round/>
            <a:headEnd type="none" w="med" len="med"/>
            <a:tailEnd type="none" w="med" len="med"/>
          </a:ln>
          <a:effectLst/>
        </p:spPr>
      </p:cxnSp>
      <p:sp>
        <p:nvSpPr>
          <p:cNvPr id="17" name="3. Subtitle">
            <a:extLst>
              <a:ext uri="{FF2B5EF4-FFF2-40B4-BE49-F238E27FC236}">
                <a16:creationId xmlns:a16="http://schemas.microsoft.com/office/drawing/2014/main" id="{16E720D2-112A-4D35-B118-49E77B8ECBFA}"/>
              </a:ext>
            </a:extLst>
          </p:cNvPr>
          <p:cNvSpPr>
            <a:spLocks noGrp="1"/>
          </p:cNvSpPr>
          <p:nvPr>
            <p:ph type="subTitle" idx="1"/>
            <p:custDataLst>
              <p:tags r:id="rId6"/>
            </p:custDataLst>
          </p:nvPr>
        </p:nvSpPr>
        <p:spPr>
          <a:xfrm>
            <a:off x="565988" y="3701770"/>
            <a:ext cx="349801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295695740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336358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pic>
        <p:nvPicPr>
          <p:cNvPr id="21" name="Picture 20">
            <a:extLst>
              <a:ext uri="{FF2B5EF4-FFF2-40B4-BE49-F238E27FC236}">
                <a16:creationId xmlns:a16="http://schemas.microsoft.com/office/drawing/2014/main" id="{C7048707-F410-4D3E-B383-5CD27EA84411}"/>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672980" y="57875"/>
            <a:ext cx="1361639" cy="679619"/>
          </a:xfrm>
          <a:prstGeom prst="rect">
            <a:avLst/>
          </a:prstGeom>
        </p:spPr>
      </p:pic>
      <p:sp>
        <p:nvSpPr>
          <p:cNvPr id="23" name="Slide Number Placeholder 3">
            <a:extLst>
              <a:ext uri="{FF2B5EF4-FFF2-40B4-BE49-F238E27FC236}">
                <a16:creationId xmlns:a16="http://schemas.microsoft.com/office/drawing/2014/main" id="{9A85A581-4514-4936-9322-0BE19482105D}"/>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sp>
        <p:nvSpPr>
          <p:cNvPr id="24" name="Rectangle 23">
            <a:extLst>
              <a:ext uri="{FF2B5EF4-FFF2-40B4-BE49-F238E27FC236}">
                <a16:creationId xmlns:a16="http://schemas.microsoft.com/office/drawing/2014/main" id="{FCD5DDE7-31BA-423D-81CB-622DF50BFF70}"/>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26" name="5. Source" hidden="1">
            <a:extLst>
              <a:ext uri="{FF2B5EF4-FFF2-40B4-BE49-F238E27FC236}">
                <a16:creationId xmlns:a16="http://schemas.microsoft.com/office/drawing/2014/main" id="{4EF04C0B-431A-4561-B06A-157948FB1F08}"/>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r>
              <a:rPr lang="en-US" dirty="0">
                <a:solidFill>
                  <a:schemeClr val="tx1"/>
                </a:solidFill>
              </a:rPr>
              <a:t>…</a:t>
            </a:r>
          </a:p>
        </p:txBody>
      </p:sp>
      <p:sp>
        <p:nvSpPr>
          <p:cNvPr id="27" name="Footer Placeholder 4">
            <a:extLst>
              <a:ext uri="{FF2B5EF4-FFF2-40B4-BE49-F238E27FC236}">
                <a16:creationId xmlns:a16="http://schemas.microsoft.com/office/drawing/2014/main" id="{1B0F711F-94D0-408D-8152-C4BDE03847FF}"/>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Forecast Policy Scenario 2023</a:t>
            </a:r>
          </a:p>
        </p:txBody>
      </p:sp>
      <p:sp>
        <p:nvSpPr>
          <p:cNvPr id="20" name="2. Slide Title">
            <a:extLst>
              <a:ext uri="{FF2B5EF4-FFF2-40B4-BE49-F238E27FC236}">
                <a16:creationId xmlns:a16="http://schemas.microsoft.com/office/drawing/2014/main" id="{472B7B5C-A68A-4834-821F-7AC9ABB4E2C0}"/>
              </a:ext>
            </a:extLst>
          </p:cNvPr>
          <p:cNvSpPr>
            <a:spLocks noGrp="1"/>
          </p:cNvSpPr>
          <p:nvPr>
            <p:ph type="title"/>
            <p:custDataLst>
              <p:tags r:id="rId5"/>
            </p:custDataLst>
          </p:nvPr>
        </p:nvSpPr>
        <p:spPr>
          <a:xfrm>
            <a:off x="565988" y="2775146"/>
            <a:ext cx="2514600" cy="738664"/>
          </a:xfrm>
          <a:prstGeom prst="rect">
            <a:avLst/>
          </a:prstGeom>
        </p:spPr>
        <p:txBody>
          <a:bodyPr vert="horz" wrap="square" lIns="0" tIns="0" rIns="0" bIns="0" rtlCol="0" anchor="b" anchorCtr="0">
            <a:spAutoFit/>
          </a:bodyPr>
          <a:lstStyle>
            <a:lvl1pPr>
              <a:defRPr cap="none" baseline="0">
                <a:solidFill>
                  <a:schemeClr val="tx1"/>
                </a:solidFill>
              </a:defRPr>
            </a:lvl1pPr>
          </a:lstStyle>
          <a:p>
            <a:pPr lvl="0"/>
            <a:r>
              <a:rPr lang="en-US"/>
              <a:t>Click to edit Master title style</a:t>
            </a:r>
          </a:p>
        </p:txBody>
      </p:sp>
      <p:cxnSp>
        <p:nvCxnSpPr>
          <p:cNvPr id="25" name="Straight Connector 24">
            <a:extLst>
              <a:ext uri="{FF2B5EF4-FFF2-40B4-BE49-F238E27FC236}">
                <a16:creationId xmlns:a16="http://schemas.microsoft.com/office/drawing/2014/main" id="{B25DBD07-5CE3-4836-B383-9430F14E4648}"/>
              </a:ext>
            </a:extLst>
          </p:cNvPr>
          <p:cNvCxnSpPr>
            <a:cxnSpLocks/>
          </p:cNvCxnSpPr>
          <p:nvPr userDrawn="1"/>
        </p:nvCxnSpPr>
        <p:spPr bwMode="auto">
          <a:xfrm>
            <a:off x="565988" y="3625570"/>
            <a:ext cx="2514600" cy="0"/>
          </a:xfrm>
          <a:prstGeom prst="line">
            <a:avLst/>
          </a:prstGeom>
          <a:solidFill>
            <a:schemeClr val="accent1"/>
          </a:solidFill>
          <a:ln w="28575" cap="rnd" cmpd="sng" algn="ctr">
            <a:solidFill>
              <a:schemeClr val="accent1"/>
            </a:solidFill>
            <a:prstDash val="sysDot"/>
            <a:round/>
            <a:headEnd type="none" w="med" len="med"/>
            <a:tailEnd type="none" w="med" len="med"/>
          </a:ln>
          <a:effectLst/>
        </p:spPr>
      </p:cxnSp>
      <p:sp>
        <p:nvSpPr>
          <p:cNvPr id="28" name="3. Subtitle">
            <a:extLst>
              <a:ext uri="{FF2B5EF4-FFF2-40B4-BE49-F238E27FC236}">
                <a16:creationId xmlns:a16="http://schemas.microsoft.com/office/drawing/2014/main" id="{B8D23CB1-EF48-4667-BA51-1152B2F6B3C3}"/>
              </a:ext>
            </a:extLst>
          </p:cNvPr>
          <p:cNvSpPr>
            <a:spLocks noGrp="1"/>
          </p:cNvSpPr>
          <p:nvPr>
            <p:ph type="subTitle" idx="1"/>
            <p:custDataLst>
              <p:tags r:id="rId6"/>
            </p:custDataLst>
          </p:nvPr>
        </p:nvSpPr>
        <p:spPr>
          <a:xfrm>
            <a:off x="565988" y="3701770"/>
            <a:ext cx="2514600"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7646675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355093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8" name="Sticker" hidden="1">
            <a:extLst>
              <a:ext uri="{FF2B5EF4-FFF2-40B4-BE49-F238E27FC236}">
                <a16:creationId xmlns:a16="http://schemas.microsoft.com/office/drawing/2014/main" id="{02AE8CE4-BD27-40D4-AB6E-9F41E7636086}"/>
              </a:ext>
            </a:extLst>
          </p:cNvPr>
          <p:cNvSpPr txBox="1"/>
          <p:nvPr userDrawn="1"/>
        </p:nvSpPr>
        <p:spPr>
          <a:xfrm>
            <a:off x="558489" y="1401800"/>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9" name="5. Source" hidden="1">
            <a:extLst>
              <a:ext uri="{FF2B5EF4-FFF2-40B4-BE49-F238E27FC236}">
                <a16:creationId xmlns:a16="http://schemas.microsoft.com/office/drawing/2014/main" id="{EB1D5AD1-7462-44AD-BFE5-EAD1D9C9E8CB}"/>
              </a:ext>
            </a:extLst>
          </p:cNvPr>
          <p:cNvSpPr txBox="1"/>
          <p:nvPr userDrawn="1">
            <p:custDataLst>
              <p:tags r:id="rId3"/>
            </p:custDataLst>
          </p:nvPr>
        </p:nvSpPr>
        <p:spPr>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
        <p:nvSpPr>
          <p:cNvPr id="11" name="2. Slide Title">
            <a:extLst>
              <a:ext uri="{FF2B5EF4-FFF2-40B4-BE49-F238E27FC236}">
                <a16:creationId xmlns:a16="http://schemas.microsoft.com/office/drawing/2014/main" id="{CA32D3DF-366C-44AA-834F-D887A7B5D6B8}"/>
              </a:ext>
            </a:extLst>
          </p:cNvPr>
          <p:cNvSpPr>
            <a:spLocks noGrp="1"/>
          </p:cNvSpPr>
          <p:nvPr>
            <p:ph type="title" hasCustomPrompt="1"/>
            <p:custDataLst>
              <p:tags r:id="rId4"/>
            </p:custDataLst>
          </p:nvPr>
        </p:nvSpPr>
        <p:spPr>
          <a:xfrm>
            <a:off x="565988" y="591463"/>
            <a:ext cx="9677402" cy="11079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cap="none" baseline="0"/>
            </a:lvl1pPr>
          </a:lstStyle>
          <a:p>
            <a:pPr lvl="0"/>
            <a:r>
              <a:rPr lang="en-US"/>
              <a:t>Click to edit Master title style</a:t>
            </a:r>
            <a:br>
              <a:rPr lang="en-US"/>
            </a:br>
            <a:br>
              <a:rPr lang="en-US"/>
            </a:br>
            <a:endParaRPr lang="en-US"/>
          </a:p>
        </p:txBody>
      </p:sp>
      <p:cxnSp>
        <p:nvCxnSpPr>
          <p:cNvPr id="13" name="Straight Connector 12">
            <a:extLst>
              <a:ext uri="{FF2B5EF4-FFF2-40B4-BE49-F238E27FC236}">
                <a16:creationId xmlns:a16="http://schemas.microsoft.com/office/drawing/2014/main" id="{A41C1B29-B98A-4FA7-9CA3-C14C4BBF36F6}"/>
              </a:ext>
            </a:extLst>
          </p:cNvPr>
          <p:cNvCxnSpPr>
            <a:cxnSpLocks/>
          </p:cNvCxnSpPr>
          <p:nvPr userDrawn="1"/>
        </p:nvCxnSpPr>
        <p:spPr bwMode="auto">
          <a:xfrm>
            <a:off x="565988" y="1760419"/>
            <a:ext cx="2573956" cy="0"/>
          </a:xfrm>
          <a:prstGeom prst="line">
            <a:avLst/>
          </a:prstGeom>
          <a:solidFill>
            <a:schemeClr val="accent1"/>
          </a:solidFill>
          <a:ln w="28575" cap="rnd" cmpd="sng" algn="ctr">
            <a:solidFill>
              <a:schemeClr val="tx1"/>
            </a:solidFill>
            <a:prstDash val="sysDot"/>
            <a:round/>
            <a:headEnd type="none" w="med" len="med"/>
            <a:tailEnd type="none" w="med" len="med"/>
          </a:ln>
          <a:effectLst/>
        </p:spPr>
      </p:cxnSp>
      <p:sp>
        <p:nvSpPr>
          <p:cNvPr id="16" name="Slide Number Placeholder 3">
            <a:extLst>
              <a:ext uri="{FF2B5EF4-FFF2-40B4-BE49-F238E27FC236}">
                <a16:creationId xmlns:a16="http://schemas.microsoft.com/office/drawing/2014/main" id="{7E6E9E02-7CCA-48D9-BD1E-5333CF895A1A}"/>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grpSp>
        <p:nvGrpSpPr>
          <p:cNvPr id="20" name="Group 19">
            <a:extLst>
              <a:ext uri="{FF2B5EF4-FFF2-40B4-BE49-F238E27FC236}">
                <a16:creationId xmlns:a16="http://schemas.microsoft.com/office/drawing/2014/main" id="{326FD644-4B3D-450E-AD42-80BB9425F1AA}"/>
              </a:ext>
            </a:extLst>
          </p:cNvPr>
          <p:cNvGrpSpPr/>
          <p:nvPr userDrawn="1"/>
        </p:nvGrpSpPr>
        <p:grpSpPr>
          <a:xfrm>
            <a:off x="10672980" y="57875"/>
            <a:ext cx="1314128" cy="622341"/>
            <a:chOff x="9232351" y="5695297"/>
            <a:chExt cx="1314128" cy="622341"/>
          </a:xfrm>
        </p:grpSpPr>
        <p:pic>
          <p:nvPicPr>
            <p:cNvPr id="21" name="Picture 20">
              <a:extLst>
                <a:ext uri="{FF2B5EF4-FFF2-40B4-BE49-F238E27FC236}">
                  <a16:creationId xmlns:a16="http://schemas.microsoft.com/office/drawing/2014/main" id="{E8A08FFD-D3DF-495B-8699-80CC977AB389}"/>
                </a:ext>
              </a:extLst>
            </p:cNvPr>
            <p:cNvPicPr>
              <a:picLocks noChangeAspect="1"/>
            </p:cNvPicPr>
            <p:nvPr userDrawn="1"/>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22" name="object 7">
              <a:extLst>
                <a:ext uri="{FF2B5EF4-FFF2-40B4-BE49-F238E27FC236}">
                  <a16:creationId xmlns:a16="http://schemas.microsoft.com/office/drawing/2014/main" id="{B1740131-5099-44EC-B904-C945751E544F}"/>
                </a:ext>
              </a:extLst>
            </p:cNvPr>
            <p:cNvPicPr/>
            <p:nvPr userDrawn="1"/>
          </p:nvPicPr>
          <p:blipFill rotWithShape="1">
            <a:blip r:embed="rId10" cstate="print"/>
            <a:srcRect t="80403" r="52383" b="7412"/>
            <a:stretch/>
          </p:blipFill>
          <p:spPr>
            <a:xfrm>
              <a:off x="9232351" y="6226197"/>
              <a:ext cx="1260690" cy="91441"/>
            </a:xfrm>
            <a:prstGeom prst="rect">
              <a:avLst/>
            </a:prstGeom>
          </p:spPr>
        </p:pic>
        <p:pic>
          <p:nvPicPr>
            <p:cNvPr id="23" name="object 7">
              <a:extLst>
                <a:ext uri="{FF2B5EF4-FFF2-40B4-BE49-F238E27FC236}">
                  <a16:creationId xmlns:a16="http://schemas.microsoft.com/office/drawing/2014/main" id="{017D9AC4-9242-406E-A870-F8325DA89D23}"/>
                </a:ext>
              </a:extLst>
            </p:cNvPr>
            <p:cNvPicPr/>
            <p:nvPr userDrawn="1"/>
          </p:nvPicPr>
          <p:blipFill rotWithShape="1">
            <a:blip r:embed="rId10" cstate="print"/>
            <a:srcRect t="7514" r="83396" b="19716"/>
            <a:stretch/>
          </p:blipFill>
          <p:spPr>
            <a:xfrm>
              <a:off x="9266848" y="5764571"/>
              <a:ext cx="382911" cy="456621"/>
            </a:xfrm>
            <a:prstGeom prst="rect">
              <a:avLst/>
            </a:prstGeom>
          </p:spPr>
        </p:pic>
      </p:grpSp>
      <p:sp>
        <p:nvSpPr>
          <p:cNvPr id="19" name="Rectangle 18">
            <a:extLst>
              <a:ext uri="{FF2B5EF4-FFF2-40B4-BE49-F238E27FC236}">
                <a16:creationId xmlns:a16="http://schemas.microsoft.com/office/drawing/2014/main" id="{E1EECBC0-509F-4388-91E4-81862E282CD0}"/>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4" name="Footer Placeholder 4">
            <a:extLst>
              <a:ext uri="{FF2B5EF4-FFF2-40B4-BE49-F238E27FC236}">
                <a16:creationId xmlns:a16="http://schemas.microsoft.com/office/drawing/2014/main" id="{6AB5ABF5-DB66-4F90-B975-86611CBD4439}"/>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tx1"/>
                </a:solidFill>
              </a:rPr>
              <a:t>Forecast Policy Scenario 2023</a:t>
            </a:r>
          </a:p>
        </p:txBody>
      </p:sp>
    </p:spTree>
    <p:extLst>
      <p:ext uri="{BB962C8B-B14F-4D97-AF65-F5344CB8AC3E}">
        <p14:creationId xmlns:p14="http://schemas.microsoft.com/office/powerpoint/2010/main" val="19696966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60EED3-3C1F-42E2-8DBB-A1464FB41748}"/>
              </a:ext>
            </a:extLst>
          </p:cNvPr>
          <p:cNvSpPr txBox="1"/>
          <p:nvPr userDrawn="1">
            <p:custDataLst>
              <p:tags r:id="rId2"/>
            </p:custDataLst>
          </p:nvPr>
        </p:nvSpPr>
        <p:spPr>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
        <p:nvSpPr>
          <p:cNvPr id="9" name="Slide Number Placeholder 3">
            <a:extLst>
              <a:ext uri="{FF2B5EF4-FFF2-40B4-BE49-F238E27FC236}">
                <a16:creationId xmlns:a16="http://schemas.microsoft.com/office/drawing/2014/main" id="{0ED3053B-CD3E-458F-BFB3-675528BDF418}"/>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grpSp>
        <p:nvGrpSpPr>
          <p:cNvPr id="12" name="Group 11">
            <a:extLst>
              <a:ext uri="{FF2B5EF4-FFF2-40B4-BE49-F238E27FC236}">
                <a16:creationId xmlns:a16="http://schemas.microsoft.com/office/drawing/2014/main" id="{7233830A-74D2-4606-B986-51D050304A93}"/>
              </a:ext>
            </a:extLst>
          </p:cNvPr>
          <p:cNvGrpSpPr/>
          <p:nvPr userDrawn="1"/>
        </p:nvGrpSpPr>
        <p:grpSpPr>
          <a:xfrm>
            <a:off x="10672980" y="57875"/>
            <a:ext cx="1314128" cy="622341"/>
            <a:chOff x="9232351" y="5695297"/>
            <a:chExt cx="1314128" cy="622341"/>
          </a:xfrm>
        </p:grpSpPr>
        <p:pic>
          <p:nvPicPr>
            <p:cNvPr id="13" name="Picture 12">
              <a:extLst>
                <a:ext uri="{FF2B5EF4-FFF2-40B4-BE49-F238E27FC236}">
                  <a16:creationId xmlns:a16="http://schemas.microsoft.com/office/drawing/2014/main" id="{3CF425DA-8BD8-4D51-8758-E659900E37F9}"/>
                </a:ext>
              </a:extLst>
            </p:cNvPr>
            <p:cNvPicPr>
              <a:picLocks noChangeAspect="1"/>
            </p:cNvPicPr>
            <p:nvPr userDrawn="1"/>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14" name="object 7">
              <a:extLst>
                <a:ext uri="{FF2B5EF4-FFF2-40B4-BE49-F238E27FC236}">
                  <a16:creationId xmlns:a16="http://schemas.microsoft.com/office/drawing/2014/main" id="{1292F100-B37A-4B7E-A01E-7003C23118D0}"/>
                </a:ext>
              </a:extLst>
            </p:cNvPr>
            <p:cNvPicPr/>
            <p:nvPr userDrawn="1"/>
          </p:nvPicPr>
          <p:blipFill rotWithShape="1">
            <a:blip r:embed="rId8" cstate="print"/>
            <a:srcRect t="80403" r="52383" b="7412"/>
            <a:stretch/>
          </p:blipFill>
          <p:spPr>
            <a:xfrm>
              <a:off x="9232351" y="6226197"/>
              <a:ext cx="1260690" cy="91441"/>
            </a:xfrm>
            <a:prstGeom prst="rect">
              <a:avLst/>
            </a:prstGeom>
          </p:spPr>
        </p:pic>
        <p:pic>
          <p:nvPicPr>
            <p:cNvPr id="15" name="object 7">
              <a:extLst>
                <a:ext uri="{FF2B5EF4-FFF2-40B4-BE49-F238E27FC236}">
                  <a16:creationId xmlns:a16="http://schemas.microsoft.com/office/drawing/2014/main" id="{7896E6A7-E101-48F9-A09A-1DADA3DEED27}"/>
                </a:ext>
              </a:extLst>
            </p:cNvPr>
            <p:cNvPicPr/>
            <p:nvPr userDrawn="1"/>
          </p:nvPicPr>
          <p:blipFill rotWithShape="1">
            <a:blip r:embed="rId8" cstate="print"/>
            <a:srcRect t="7514" r="83396" b="19716"/>
            <a:stretch/>
          </p:blipFill>
          <p:spPr>
            <a:xfrm>
              <a:off x="9266848" y="5764571"/>
              <a:ext cx="382911" cy="456621"/>
            </a:xfrm>
            <a:prstGeom prst="rect">
              <a:avLst/>
            </a:prstGeom>
          </p:spPr>
        </p:pic>
      </p:grpSp>
    </p:spTree>
    <p:extLst>
      <p:ext uri="{BB962C8B-B14F-4D97-AF65-F5344CB8AC3E}">
        <p14:creationId xmlns:p14="http://schemas.microsoft.com/office/powerpoint/2010/main" val="6096706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grpSp>
        <p:nvGrpSpPr>
          <p:cNvPr id="5" name="Group 4">
            <a:extLst>
              <a:ext uri="{FF2B5EF4-FFF2-40B4-BE49-F238E27FC236}">
                <a16:creationId xmlns:a16="http://schemas.microsoft.com/office/drawing/2014/main" id="{C25C8D54-1846-438E-807C-CA6471E8B9D2}"/>
              </a:ext>
            </a:extLst>
          </p:cNvPr>
          <p:cNvGrpSpPr/>
          <p:nvPr userDrawn="1"/>
        </p:nvGrpSpPr>
        <p:grpSpPr>
          <a:xfrm>
            <a:off x="4813653" y="2821710"/>
            <a:ext cx="2564694" cy="1214582"/>
            <a:chOff x="9232351" y="5695297"/>
            <a:chExt cx="1314128" cy="622341"/>
          </a:xfrm>
        </p:grpSpPr>
        <p:pic>
          <p:nvPicPr>
            <p:cNvPr id="6" name="Picture 5">
              <a:extLst>
                <a:ext uri="{FF2B5EF4-FFF2-40B4-BE49-F238E27FC236}">
                  <a16:creationId xmlns:a16="http://schemas.microsoft.com/office/drawing/2014/main" id="{EB2855EE-A3E1-4B97-BD7C-F050E00C0379}"/>
                </a:ext>
              </a:extLst>
            </p:cNvPr>
            <p:cNvPicPr>
              <a:picLocks noChangeAspect="1"/>
            </p:cNvPicPr>
            <p:nvPr userDrawn="1"/>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7" name="object 7">
              <a:extLst>
                <a:ext uri="{FF2B5EF4-FFF2-40B4-BE49-F238E27FC236}">
                  <a16:creationId xmlns:a16="http://schemas.microsoft.com/office/drawing/2014/main" id="{D020D7DA-37A5-4CE2-9D25-FF0228620EEC}"/>
                </a:ext>
              </a:extLst>
            </p:cNvPr>
            <p:cNvPicPr/>
            <p:nvPr userDrawn="1"/>
          </p:nvPicPr>
          <p:blipFill rotWithShape="1">
            <a:blip r:embed="rId8" cstate="print"/>
            <a:srcRect t="80403" r="52383" b="7412"/>
            <a:stretch/>
          </p:blipFill>
          <p:spPr>
            <a:xfrm>
              <a:off x="9232351" y="6226197"/>
              <a:ext cx="1260690" cy="91441"/>
            </a:xfrm>
            <a:prstGeom prst="rect">
              <a:avLst/>
            </a:prstGeom>
          </p:spPr>
        </p:pic>
        <p:pic>
          <p:nvPicPr>
            <p:cNvPr id="8" name="object 7">
              <a:extLst>
                <a:ext uri="{FF2B5EF4-FFF2-40B4-BE49-F238E27FC236}">
                  <a16:creationId xmlns:a16="http://schemas.microsoft.com/office/drawing/2014/main" id="{C797978D-3AA8-4881-8DED-707777B59FAF}"/>
                </a:ext>
              </a:extLst>
            </p:cNvPr>
            <p:cNvPicPr/>
            <p:nvPr userDrawn="1"/>
          </p:nvPicPr>
          <p:blipFill rotWithShape="1">
            <a:blip r:embed="rId8" cstate="print"/>
            <a:srcRect t="7514" r="83396" b="19716"/>
            <a:stretch/>
          </p:blipFill>
          <p:spPr>
            <a:xfrm>
              <a:off x="9266848" y="5764571"/>
              <a:ext cx="382911" cy="456621"/>
            </a:xfrm>
            <a:prstGeom prst="rect">
              <a:avLst/>
            </a:prstGeom>
          </p:spPr>
        </p:pic>
      </p:grpSp>
    </p:spTree>
    <p:extLst>
      <p:ext uri="{BB962C8B-B14F-4D97-AF65-F5344CB8AC3E}">
        <p14:creationId xmlns:p14="http://schemas.microsoft.com/office/powerpoint/2010/main" val="36319195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470479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D5F2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B98689D6-21FB-4D3A-B5F0-9347514302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4" name="Slide Number Placeholder 3">
            <a:extLst>
              <a:ext uri="{FF2B5EF4-FFF2-40B4-BE49-F238E27FC236}">
                <a16:creationId xmlns:a16="http://schemas.microsoft.com/office/drawing/2014/main" id="{FE4DD3A5-3A0C-42E6-98C7-084E53C2E975}"/>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sp>
        <p:nvSpPr>
          <p:cNvPr id="15" name="Rectangle 14">
            <a:extLst>
              <a:ext uri="{FF2B5EF4-FFF2-40B4-BE49-F238E27FC236}">
                <a16:creationId xmlns:a16="http://schemas.microsoft.com/office/drawing/2014/main" id="{B2E6D070-2163-48FD-869F-A86635BE8163}"/>
              </a:ext>
            </a:extLst>
          </p:cNvPr>
          <p:cNvSpPr>
            <a:spLocks/>
          </p:cNvSpPr>
          <p:nvPr userDrawn="1"/>
        </p:nvSpPr>
        <p:spPr bwMode="ltGray">
          <a:xfrm>
            <a:off x="0" y="-1"/>
            <a:ext cx="134911" cy="6858001"/>
          </a:xfrm>
          <a:prstGeom prst="rect">
            <a:avLst/>
          </a:prstGeom>
          <a:gradFill>
            <a:gsLst>
              <a:gs pos="50000">
                <a:schemeClr val="accent3"/>
              </a:gs>
              <a:gs pos="0">
                <a:schemeClr val="accent4"/>
              </a:gs>
              <a:gs pos="100000">
                <a:schemeClr val="bg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3" name="2. Slide Title">
            <a:extLst>
              <a:ext uri="{FF2B5EF4-FFF2-40B4-BE49-F238E27FC236}">
                <a16:creationId xmlns:a16="http://schemas.microsoft.com/office/drawing/2014/main" id="{7DC2BF9B-2D96-4F5A-AD02-7B477B24D202}"/>
              </a:ext>
            </a:extLst>
          </p:cNvPr>
          <p:cNvSpPr>
            <a:spLocks noGrp="1"/>
          </p:cNvSpPr>
          <p:nvPr>
            <p:ph type="title"/>
            <p:custDataLst>
              <p:tags r:id="rId4"/>
            </p:custDataLst>
          </p:nvPr>
        </p:nvSpPr>
        <p:spPr>
          <a:xfrm>
            <a:off x="565988" y="591463"/>
            <a:ext cx="505460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p>
            <a:pPr lvl="0"/>
            <a:r>
              <a:rPr lang="en-US"/>
              <a:t>Click to edit Master title style</a:t>
            </a:r>
          </a:p>
        </p:txBody>
      </p:sp>
      <p:sp>
        <p:nvSpPr>
          <p:cNvPr id="18" name="5. Source" hidden="1">
            <a:extLst>
              <a:ext uri="{FF2B5EF4-FFF2-40B4-BE49-F238E27FC236}">
                <a16:creationId xmlns:a16="http://schemas.microsoft.com/office/drawing/2014/main" id="{AACD8E13-B433-44DB-AD04-AF762CA019BB}"/>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
        <p:nvSpPr>
          <p:cNvPr id="19" name="Footer Placeholder 4">
            <a:extLst>
              <a:ext uri="{FF2B5EF4-FFF2-40B4-BE49-F238E27FC236}">
                <a16:creationId xmlns:a16="http://schemas.microsoft.com/office/drawing/2014/main" id="{63BB20E1-3B4E-43F9-8FEC-D1B0DA2AF3E7}"/>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orecast Policy Scenario 2023</a:t>
            </a:r>
          </a:p>
        </p:txBody>
      </p:sp>
      <p:cxnSp>
        <p:nvCxnSpPr>
          <p:cNvPr id="20" name="Straight Connector 19">
            <a:extLst>
              <a:ext uri="{FF2B5EF4-FFF2-40B4-BE49-F238E27FC236}">
                <a16:creationId xmlns:a16="http://schemas.microsoft.com/office/drawing/2014/main" id="{4A328B8F-85B5-4DAE-AD49-99E3EB04A971}"/>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2" name="3. Subtitle">
            <a:extLst>
              <a:ext uri="{FF2B5EF4-FFF2-40B4-BE49-F238E27FC236}">
                <a16:creationId xmlns:a16="http://schemas.microsoft.com/office/drawing/2014/main" id="{3466EDC1-B0F1-4508-B77F-24C0EA286570}"/>
              </a:ext>
            </a:extLst>
          </p:cNvPr>
          <p:cNvSpPr>
            <a:spLocks noGrp="1"/>
          </p:cNvSpPr>
          <p:nvPr>
            <p:ph type="subTitle" idx="1"/>
            <p:custDataLst>
              <p:tags r:id="rId6"/>
            </p:custDataLst>
          </p:nvPr>
        </p:nvSpPr>
        <p:spPr>
          <a:xfrm>
            <a:off x="565988" y="1448192"/>
            <a:ext cx="505460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34958717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717373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4" name="Slide Number Placeholder 3">
            <a:extLst>
              <a:ext uri="{FF2B5EF4-FFF2-40B4-BE49-F238E27FC236}">
                <a16:creationId xmlns:a16="http://schemas.microsoft.com/office/drawing/2014/main" id="{5C4FBAF3-5B76-41CA-9CB6-E0119EFFA787}"/>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sp>
        <p:nvSpPr>
          <p:cNvPr id="16" name="Rectangle 15">
            <a:extLst>
              <a:ext uri="{FF2B5EF4-FFF2-40B4-BE49-F238E27FC236}">
                <a16:creationId xmlns:a16="http://schemas.microsoft.com/office/drawing/2014/main" id="{C07F88E8-C18C-45BC-A030-7D4384B8405E}"/>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7" name="2. Slide Title">
            <a:extLst>
              <a:ext uri="{FF2B5EF4-FFF2-40B4-BE49-F238E27FC236}">
                <a16:creationId xmlns:a16="http://schemas.microsoft.com/office/drawing/2014/main" id="{D161948B-64B6-46F3-9DA4-0378DB98C84B}"/>
              </a:ext>
            </a:extLst>
          </p:cNvPr>
          <p:cNvSpPr>
            <a:spLocks noGrp="1"/>
          </p:cNvSpPr>
          <p:nvPr>
            <p:ph type="title"/>
            <p:custDataLst>
              <p:tags r:id="rId4"/>
            </p:custDataLst>
          </p:nvPr>
        </p:nvSpPr>
        <p:spPr>
          <a:xfrm>
            <a:off x="565988" y="591463"/>
            <a:ext cx="683324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a:solidFill>
                  <a:schemeClr val="bg2"/>
                </a:solidFill>
              </a:defRPr>
            </a:lvl1pPr>
          </a:lstStyle>
          <a:p>
            <a:pPr lvl="0"/>
            <a:r>
              <a:rPr lang="en-US"/>
              <a:t>Click to edit Master title style</a:t>
            </a:r>
          </a:p>
        </p:txBody>
      </p:sp>
      <p:cxnSp>
        <p:nvCxnSpPr>
          <p:cNvPr id="18" name="Straight Connector 17">
            <a:extLst>
              <a:ext uri="{FF2B5EF4-FFF2-40B4-BE49-F238E27FC236}">
                <a16:creationId xmlns:a16="http://schemas.microsoft.com/office/drawing/2014/main" id="{3453E19A-92AF-4495-BF9E-5C2F376F47C7}"/>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3"/>
            </a:solidFill>
            <a:prstDash val="sysDot"/>
            <a:round/>
            <a:headEnd type="none" w="med" len="med"/>
            <a:tailEnd type="none" w="med" len="med"/>
          </a:ln>
          <a:effectLst/>
        </p:spPr>
      </p:cxnSp>
      <p:sp>
        <p:nvSpPr>
          <p:cNvPr id="20" name="5. Source" hidden="1">
            <a:extLst>
              <a:ext uri="{FF2B5EF4-FFF2-40B4-BE49-F238E27FC236}">
                <a16:creationId xmlns:a16="http://schemas.microsoft.com/office/drawing/2014/main" id="{B6A0950A-F708-40CC-AC04-4A28A23E233A}"/>
              </a:ext>
            </a:extLst>
          </p:cNvPr>
          <p:cNvSpPr txBox="1"/>
          <p:nvPr userDrawn="1">
            <p:custDataLst>
              <p:tags r:id="rId5"/>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r>
              <a:rPr lang="en-US" dirty="0">
                <a:solidFill>
                  <a:schemeClr val="bg2"/>
                </a:solidFill>
              </a:rPr>
              <a:t>…</a:t>
            </a:r>
          </a:p>
        </p:txBody>
      </p:sp>
      <p:sp>
        <p:nvSpPr>
          <p:cNvPr id="21" name="Footer Placeholder 4">
            <a:extLst>
              <a:ext uri="{FF2B5EF4-FFF2-40B4-BE49-F238E27FC236}">
                <a16:creationId xmlns:a16="http://schemas.microsoft.com/office/drawing/2014/main" id="{03F583B8-AF5E-49CA-A489-893669C4CF3C}"/>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7F7F7F"/>
                </a:solidFill>
              </a:rPr>
              <a:t>Forecast Policy Scenario 2023</a:t>
            </a:r>
          </a:p>
        </p:txBody>
      </p:sp>
      <p:sp>
        <p:nvSpPr>
          <p:cNvPr id="15" name="3. Subtitle">
            <a:extLst>
              <a:ext uri="{FF2B5EF4-FFF2-40B4-BE49-F238E27FC236}">
                <a16:creationId xmlns:a16="http://schemas.microsoft.com/office/drawing/2014/main" id="{ADD6984D-4545-4619-BE11-E1B4EFD484FE}"/>
              </a:ext>
            </a:extLst>
          </p:cNvPr>
          <p:cNvSpPr>
            <a:spLocks noGrp="1"/>
          </p:cNvSpPr>
          <p:nvPr>
            <p:ph type="subTitle" idx="1"/>
            <p:custDataLst>
              <p:tags r:id="rId6"/>
            </p:custDataLst>
          </p:nvPr>
        </p:nvSpPr>
        <p:spPr>
          <a:xfrm>
            <a:off x="565988" y="1448192"/>
            <a:ext cx="683324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1" dirty="0">
                <a:solidFill>
                  <a:schemeClr val="accent2"/>
                </a:solidFill>
                <a:latin typeface="Calibri" panose="020F0502020204030204" pitchFamily="34" charset="0"/>
                <a:cs typeface="Calibri" panose="020F0502020204030204" pitchFamily="34" charset="0"/>
              </a:defRPr>
            </a:lvl1pPr>
          </a:lstStyle>
          <a:p>
            <a:pPr lvl="0"/>
            <a:r>
              <a:rPr lang="en-US"/>
              <a:t>Click to edit Master subtitle style</a:t>
            </a:r>
          </a:p>
        </p:txBody>
      </p:sp>
      <p:sp>
        <p:nvSpPr>
          <p:cNvPr id="19" name="1. On-page tracker">
            <a:extLst>
              <a:ext uri="{FF2B5EF4-FFF2-40B4-BE49-F238E27FC236}">
                <a16:creationId xmlns:a16="http://schemas.microsoft.com/office/drawing/2014/main" id="{4A4DD71C-B454-4341-92CC-D5FB61C2FED2}"/>
              </a:ext>
            </a:extLst>
          </p:cNvPr>
          <p:cNvSpPr>
            <a:spLocks noGrp="1"/>
          </p:cNvSpPr>
          <p:nvPr>
            <p:ph type="body" sz="quarter" idx="10" hasCustomPrompt="1"/>
            <p:custDataLst>
              <p:tags r:id="rId7"/>
            </p:custDataLst>
          </p:nvPr>
        </p:nvSpPr>
        <p:spPr>
          <a:xfrm>
            <a:off x="10730041" y="682874"/>
            <a:ext cx="1221560"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800" b="0" dirty="0">
                <a:solidFill>
                  <a:schemeClr val="tx1"/>
                </a:solidFill>
                <a:cs typeface="+mn-cs"/>
              </a:defRPr>
            </a:lvl1pPr>
          </a:lstStyle>
          <a:p>
            <a:pPr lvl="0">
              <a:buNone/>
            </a:pPr>
            <a:r>
              <a:rPr lang="en-US"/>
              <a:t>Add tracker</a:t>
            </a:r>
          </a:p>
        </p:txBody>
      </p:sp>
      <p:grpSp>
        <p:nvGrpSpPr>
          <p:cNvPr id="22" name="Group 21">
            <a:extLst>
              <a:ext uri="{FF2B5EF4-FFF2-40B4-BE49-F238E27FC236}">
                <a16:creationId xmlns:a16="http://schemas.microsoft.com/office/drawing/2014/main" id="{C1B112BD-9E69-4318-A2BE-385113CA5B79}"/>
              </a:ext>
            </a:extLst>
          </p:cNvPr>
          <p:cNvGrpSpPr/>
          <p:nvPr userDrawn="1"/>
        </p:nvGrpSpPr>
        <p:grpSpPr>
          <a:xfrm>
            <a:off x="10722510" y="57875"/>
            <a:ext cx="1314128" cy="622341"/>
            <a:chOff x="9232351" y="5695297"/>
            <a:chExt cx="1314128" cy="622341"/>
          </a:xfrm>
        </p:grpSpPr>
        <p:pic>
          <p:nvPicPr>
            <p:cNvPr id="23" name="Picture 22">
              <a:extLst>
                <a:ext uri="{FF2B5EF4-FFF2-40B4-BE49-F238E27FC236}">
                  <a16:creationId xmlns:a16="http://schemas.microsoft.com/office/drawing/2014/main" id="{08F9A5AF-E47F-454D-8ED2-59E3D3905CC2}"/>
                </a:ext>
              </a:extLst>
            </p:cNvPr>
            <p:cNvPicPr>
              <a:picLocks noChangeAspect="1"/>
            </p:cNvPicPr>
            <p:nvPr userDrawn="1"/>
          </p:nvPicPr>
          <p:blipFill rotWithShape="1">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28" name="object 7">
              <a:extLst>
                <a:ext uri="{FF2B5EF4-FFF2-40B4-BE49-F238E27FC236}">
                  <a16:creationId xmlns:a16="http://schemas.microsoft.com/office/drawing/2014/main" id="{44026D94-1828-4CF2-927C-F23591A5ADD7}"/>
                </a:ext>
              </a:extLst>
            </p:cNvPr>
            <p:cNvPicPr/>
            <p:nvPr userDrawn="1"/>
          </p:nvPicPr>
          <p:blipFill rotWithShape="1">
            <a:blip r:embed="rId13" cstate="print"/>
            <a:srcRect t="80403" r="52383" b="7412"/>
            <a:stretch/>
          </p:blipFill>
          <p:spPr>
            <a:xfrm>
              <a:off x="9232351" y="6226197"/>
              <a:ext cx="1260690" cy="91441"/>
            </a:xfrm>
            <a:prstGeom prst="rect">
              <a:avLst/>
            </a:prstGeom>
          </p:spPr>
        </p:pic>
        <p:pic>
          <p:nvPicPr>
            <p:cNvPr id="29" name="object 7">
              <a:extLst>
                <a:ext uri="{FF2B5EF4-FFF2-40B4-BE49-F238E27FC236}">
                  <a16:creationId xmlns:a16="http://schemas.microsoft.com/office/drawing/2014/main" id="{1130A5AF-1E3E-4A2E-9392-7BC249BB5F5D}"/>
                </a:ext>
              </a:extLst>
            </p:cNvPr>
            <p:cNvPicPr/>
            <p:nvPr userDrawn="1"/>
          </p:nvPicPr>
          <p:blipFill rotWithShape="1">
            <a:blip r:embed="rId13" cstate="print"/>
            <a:srcRect t="7514" r="83396" b="19716"/>
            <a:stretch/>
          </p:blipFill>
          <p:spPr>
            <a:xfrm>
              <a:off x="9266848" y="5764571"/>
              <a:ext cx="382911" cy="456621"/>
            </a:xfrm>
            <a:prstGeom prst="rect">
              <a:avLst/>
            </a:prstGeom>
          </p:spPr>
        </p:pic>
      </p:grpSp>
    </p:spTree>
    <p:extLst>
      <p:ext uri="{BB962C8B-B14F-4D97-AF65-F5344CB8AC3E}">
        <p14:creationId xmlns:p14="http://schemas.microsoft.com/office/powerpoint/2010/main" val="22561411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Slide">
    <p:bg>
      <p:bgPr>
        <a:gradFill flip="none" rotWithShape="1">
          <a:gsLst>
            <a:gs pos="0">
              <a:srgbClr val="007CB0"/>
            </a:gs>
            <a:gs pos="100000">
              <a:srgbClr val="51AE32"/>
            </a:gs>
          </a:gsLst>
          <a:lin ang="2700000" scaled="1"/>
          <a:tileRect/>
        </a:gradFill>
        <a:effectLst/>
      </p:bgPr>
    </p:bg>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F1F8B71E-334D-318C-B845-1CE39486361F}"/>
              </a:ext>
            </a:extLst>
          </p:cNvPr>
          <p:cNvGraphicFramePr>
            <a:graphicFrameLocks noChangeAspect="1"/>
          </p:cNvGraphicFramePr>
          <p:nvPr userDrawn="1">
            <p:custDataLst>
              <p:tags r:id="rId1"/>
            </p:custDataLst>
            <p:extLst>
              <p:ext uri="{D42A27DB-BD31-4B8C-83A1-F6EECF244321}">
                <p14:modId xmlns:p14="http://schemas.microsoft.com/office/powerpoint/2010/main" val="3286885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28" name="think-cell data - do not delete" hidden="1">
                        <a:extLst>
                          <a:ext uri="{FF2B5EF4-FFF2-40B4-BE49-F238E27FC236}">
                            <a16:creationId xmlns:a16="http://schemas.microsoft.com/office/drawing/2014/main" id="{F1F8B71E-334D-318C-B845-1CE3948636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aphic 38">
            <a:extLst>
              <a:ext uri="{FF2B5EF4-FFF2-40B4-BE49-F238E27FC236}">
                <a16:creationId xmlns:a16="http://schemas.microsoft.com/office/drawing/2014/main" id="{68BA95B7-43B6-D0F4-F93F-1849508B63F0}"/>
              </a:ext>
            </a:extLst>
          </p:cNvPr>
          <p:cNvGrpSpPr/>
          <p:nvPr userDrawn="1"/>
        </p:nvGrpSpPr>
        <p:grpSpPr>
          <a:xfrm>
            <a:off x="5344512" y="-13487"/>
            <a:ext cx="6847493" cy="6871484"/>
            <a:chOff x="6243150" y="2493851"/>
            <a:chExt cx="2720899" cy="2730432"/>
          </a:xfrm>
          <a:solidFill>
            <a:schemeClr val="tx1">
              <a:alpha val="25000"/>
            </a:schemeClr>
          </a:solidFill>
        </p:grpSpPr>
        <p:sp>
          <p:nvSpPr>
            <p:cNvPr id="3" name="Freeform: Shape 2">
              <a:extLst>
                <a:ext uri="{FF2B5EF4-FFF2-40B4-BE49-F238E27FC236}">
                  <a16:creationId xmlns:a16="http://schemas.microsoft.com/office/drawing/2014/main" id="{E1D9E72A-A2C4-79DA-520D-777AEE523D3D}"/>
                </a:ext>
              </a:extLst>
            </p:cNvPr>
            <p:cNvSpPr/>
            <p:nvPr/>
          </p:nvSpPr>
          <p:spPr>
            <a:xfrm>
              <a:off x="6243150" y="2493851"/>
              <a:ext cx="2693395" cy="2693419"/>
            </a:xfrm>
            <a:custGeom>
              <a:avLst/>
              <a:gdLst>
                <a:gd name="connsiteX0" fmla="*/ 5234 w 2693395"/>
                <a:gd name="connsiteY0" fmla="*/ 2693420 h 2693419"/>
                <a:gd name="connsiteX1" fmla="*/ 1532 w 2693395"/>
                <a:gd name="connsiteY1" fmla="*/ 2691883 h 2693419"/>
                <a:gd name="connsiteX2" fmla="*/ 1532 w 2693395"/>
                <a:gd name="connsiteY2" fmla="*/ 2684480 h 2693419"/>
                <a:gd name="connsiteX3" fmla="*/ 1654 w 2693395"/>
                <a:gd name="connsiteY3" fmla="*/ 2684358 h 2693419"/>
                <a:gd name="connsiteX4" fmla="*/ 9057 w 2693395"/>
                <a:gd name="connsiteY4" fmla="*/ 2684358 h 2693419"/>
                <a:gd name="connsiteX5" fmla="*/ 9057 w 2693395"/>
                <a:gd name="connsiteY5" fmla="*/ 2691761 h 2693419"/>
                <a:gd name="connsiteX6" fmla="*/ 8935 w 2693395"/>
                <a:gd name="connsiteY6" fmla="*/ 2691883 h 2693419"/>
                <a:gd name="connsiteX7" fmla="*/ 5234 w 2693395"/>
                <a:gd name="connsiteY7" fmla="*/ 2693420 h 2693419"/>
                <a:gd name="connsiteX8" fmla="*/ 91779 w 2693395"/>
                <a:gd name="connsiteY8" fmla="*/ 2606874 h 2693419"/>
                <a:gd name="connsiteX9" fmla="*/ 88078 w 2693395"/>
                <a:gd name="connsiteY9" fmla="*/ 2605338 h 2693419"/>
                <a:gd name="connsiteX10" fmla="*/ 88078 w 2693395"/>
                <a:gd name="connsiteY10" fmla="*/ 2597935 h 2693419"/>
                <a:gd name="connsiteX11" fmla="*/ 88200 w 2693395"/>
                <a:gd name="connsiteY11" fmla="*/ 2597813 h 2693419"/>
                <a:gd name="connsiteX12" fmla="*/ 95603 w 2693395"/>
                <a:gd name="connsiteY12" fmla="*/ 2597813 h 2693419"/>
                <a:gd name="connsiteX13" fmla="*/ 95603 w 2693395"/>
                <a:gd name="connsiteY13" fmla="*/ 2605215 h 2693419"/>
                <a:gd name="connsiteX14" fmla="*/ 95480 w 2693395"/>
                <a:gd name="connsiteY14" fmla="*/ 2605338 h 2693419"/>
                <a:gd name="connsiteX15" fmla="*/ 91779 w 2693395"/>
                <a:gd name="connsiteY15" fmla="*/ 2606874 h 2693419"/>
                <a:gd name="connsiteX16" fmla="*/ 178325 w 2693395"/>
                <a:gd name="connsiteY16" fmla="*/ 2520328 h 2693419"/>
                <a:gd name="connsiteX17" fmla="*/ 174623 w 2693395"/>
                <a:gd name="connsiteY17" fmla="*/ 2518792 h 2693419"/>
                <a:gd name="connsiteX18" fmla="*/ 174623 w 2693395"/>
                <a:gd name="connsiteY18" fmla="*/ 2511389 h 2693419"/>
                <a:gd name="connsiteX19" fmla="*/ 174746 w 2693395"/>
                <a:gd name="connsiteY19" fmla="*/ 2511267 h 2693419"/>
                <a:gd name="connsiteX20" fmla="*/ 182148 w 2693395"/>
                <a:gd name="connsiteY20" fmla="*/ 2511267 h 2693419"/>
                <a:gd name="connsiteX21" fmla="*/ 182148 w 2693395"/>
                <a:gd name="connsiteY21" fmla="*/ 2518670 h 2693419"/>
                <a:gd name="connsiteX22" fmla="*/ 182026 w 2693395"/>
                <a:gd name="connsiteY22" fmla="*/ 2518792 h 2693419"/>
                <a:gd name="connsiteX23" fmla="*/ 178325 w 2693395"/>
                <a:gd name="connsiteY23" fmla="*/ 2520328 h 2693419"/>
                <a:gd name="connsiteX24" fmla="*/ 264888 w 2693395"/>
                <a:gd name="connsiteY24" fmla="*/ 2433696 h 2693419"/>
                <a:gd name="connsiteX25" fmla="*/ 261221 w 2693395"/>
                <a:gd name="connsiteY25" fmla="*/ 2432194 h 2693419"/>
                <a:gd name="connsiteX26" fmla="*/ 261152 w 2693395"/>
                <a:gd name="connsiteY26" fmla="*/ 2424844 h 2693419"/>
                <a:gd name="connsiteX27" fmla="*/ 261274 w 2693395"/>
                <a:gd name="connsiteY27" fmla="*/ 2424721 h 2693419"/>
                <a:gd name="connsiteX28" fmla="*/ 268676 w 2693395"/>
                <a:gd name="connsiteY28" fmla="*/ 2424721 h 2693419"/>
                <a:gd name="connsiteX29" fmla="*/ 268676 w 2693395"/>
                <a:gd name="connsiteY29" fmla="*/ 2432124 h 2693419"/>
                <a:gd name="connsiteX30" fmla="*/ 264888 w 2693395"/>
                <a:gd name="connsiteY30" fmla="*/ 2433696 h 2693419"/>
                <a:gd name="connsiteX31" fmla="*/ 351433 w 2693395"/>
                <a:gd name="connsiteY31" fmla="*/ 2347150 h 2693419"/>
                <a:gd name="connsiteX32" fmla="*/ 347767 w 2693395"/>
                <a:gd name="connsiteY32" fmla="*/ 2345648 h 2693419"/>
                <a:gd name="connsiteX33" fmla="*/ 347697 w 2693395"/>
                <a:gd name="connsiteY33" fmla="*/ 2338298 h 2693419"/>
                <a:gd name="connsiteX34" fmla="*/ 347819 w 2693395"/>
                <a:gd name="connsiteY34" fmla="*/ 2338176 h 2693419"/>
                <a:gd name="connsiteX35" fmla="*/ 355222 w 2693395"/>
                <a:gd name="connsiteY35" fmla="*/ 2338176 h 2693419"/>
                <a:gd name="connsiteX36" fmla="*/ 355222 w 2693395"/>
                <a:gd name="connsiteY36" fmla="*/ 2345579 h 2693419"/>
                <a:gd name="connsiteX37" fmla="*/ 351433 w 2693395"/>
                <a:gd name="connsiteY37" fmla="*/ 2347150 h 2693419"/>
                <a:gd name="connsiteX38" fmla="*/ 437979 w 2693395"/>
                <a:gd name="connsiteY38" fmla="*/ 2260604 h 2693419"/>
                <a:gd name="connsiteX39" fmla="*/ 434312 w 2693395"/>
                <a:gd name="connsiteY39" fmla="*/ 2259103 h 2693419"/>
                <a:gd name="connsiteX40" fmla="*/ 434243 w 2693395"/>
                <a:gd name="connsiteY40" fmla="*/ 2251753 h 2693419"/>
                <a:gd name="connsiteX41" fmla="*/ 434365 w 2693395"/>
                <a:gd name="connsiteY41" fmla="*/ 2251630 h 2693419"/>
                <a:gd name="connsiteX42" fmla="*/ 441768 w 2693395"/>
                <a:gd name="connsiteY42" fmla="*/ 2251630 h 2693419"/>
                <a:gd name="connsiteX43" fmla="*/ 441768 w 2693395"/>
                <a:gd name="connsiteY43" fmla="*/ 2259033 h 2693419"/>
                <a:gd name="connsiteX44" fmla="*/ 437979 w 2693395"/>
                <a:gd name="connsiteY44" fmla="*/ 2260604 h 2693419"/>
                <a:gd name="connsiteX45" fmla="*/ 524489 w 2693395"/>
                <a:gd name="connsiteY45" fmla="*/ 2174163 h 2693419"/>
                <a:gd name="connsiteX46" fmla="*/ 520788 w 2693395"/>
                <a:gd name="connsiteY46" fmla="*/ 2172627 h 2693419"/>
                <a:gd name="connsiteX47" fmla="*/ 520788 w 2693395"/>
                <a:gd name="connsiteY47" fmla="*/ 2165224 h 2693419"/>
                <a:gd name="connsiteX48" fmla="*/ 520910 w 2693395"/>
                <a:gd name="connsiteY48" fmla="*/ 2165102 h 2693419"/>
                <a:gd name="connsiteX49" fmla="*/ 528313 w 2693395"/>
                <a:gd name="connsiteY49" fmla="*/ 2165102 h 2693419"/>
                <a:gd name="connsiteX50" fmla="*/ 528313 w 2693395"/>
                <a:gd name="connsiteY50" fmla="*/ 2172505 h 2693419"/>
                <a:gd name="connsiteX51" fmla="*/ 528191 w 2693395"/>
                <a:gd name="connsiteY51" fmla="*/ 2172627 h 2693419"/>
                <a:gd name="connsiteX52" fmla="*/ 524489 w 2693395"/>
                <a:gd name="connsiteY52" fmla="*/ 2174163 h 2693419"/>
                <a:gd name="connsiteX53" fmla="*/ 611035 w 2693395"/>
                <a:gd name="connsiteY53" fmla="*/ 2087618 h 2693419"/>
                <a:gd name="connsiteX54" fmla="*/ 607334 w 2693395"/>
                <a:gd name="connsiteY54" fmla="*/ 2086081 h 2693419"/>
                <a:gd name="connsiteX55" fmla="*/ 607334 w 2693395"/>
                <a:gd name="connsiteY55" fmla="*/ 2078679 h 2693419"/>
                <a:gd name="connsiteX56" fmla="*/ 607456 w 2693395"/>
                <a:gd name="connsiteY56" fmla="*/ 2078556 h 2693419"/>
                <a:gd name="connsiteX57" fmla="*/ 614859 w 2693395"/>
                <a:gd name="connsiteY57" fmla="*/ 2078556 h 2693419"/>
                <a:gd name="connsiteX58" fmla="*/ 614859 w 2693395"/>
                <a:gd name="connsiteY58" fmla="*/ 2085959 h 2693419"/>
                <a:gd name="connsiteX59" fmla="*/ 614736 w 2693395"/>
                <a:gd name="connsiteY59" fmla="*/ 2086081 h 2693419"/>
                <a:gd name="connsiteX60" fmla="*/ 611035 w 2693395"/>
                <a:gd name="connsiteY60" fmla="*/ 2087618 h 2693419"/>
                <a:gd name="connsiteX61" fmla="*/ 697581 w 2693395"/>
                <a:gd name="connsiteY61" fmla="*/ 2001072 h 2693419"/>
                <a:gd name="connsiteX62" fmla="*/ 693897 w 2693395"/>
                <a:gd name="connsiteY62" fmla="*/ 1999571 h 2693419"/>
                <a:gd name="connsiteX63" fmla="*/ 693844 w 2693395"/>
                <a:gd name="connsiteY63" fmla="*/ 1992168 h 2693419"/>
                <a:gd name="connsiteX64" fmla="*/ 693967 w 2693395"/>
                <a:gd name="connsiteY64" fmla="*/ 1992046 h 2693419"/>
                <a:gd name="connsiteX65" fmla="*/ 701369 w 2693395"/>
                <a:gd name="connsiteY65" fmla="*/ 1991993 h 2693419"/>
                <a:gd name="connsiteX66" fmla="*/ 701422 w 2693395"/>
                <a:gd name="connsiteY66" fmla="*/ 1999396 h 2693419"/>
                <a:gd name="connsiteX67" fmla="*/ 701299 w 2693395"/>
                <a:gd name="connsiteY67" fmla="*/ 1999518 h 2693419"/>
                <a:gd name="connsiteX68" fmla="*/ 697563 w 2693395"/>
                <a:gd name="connsiteY68" fmla="*/ 2001072 h 2693419"/>
                <a:gd name="connsiteX69" fmla="*/ 784144 w 2693395"/>
                <a:gd name="connsiteY69" fmla="*/ 1914439 h 2693419"/>
                <a:gd name="connsiteX70" fmla="*/ 780477 w 2693395"/>
                <a:gd name="connsiteY70" fmla="*/ 1912938 h 2693419"/>
                <a:gd name="connsiteX71" fmla="*/ 780408 w 2693395"/>
                <a:gd name="connsiteY71" fmla="*/ 1905588 h 2693419"/>
                <a:gd name="connsiteX72" fmla="*/ 780530 w 2693395"/>
                <a:gd name="connsiteY72" fmla="*/ 1905465 h 2693419"/>
                <a:gd name="connsiteX73" fmla="*/ 787933 w 2693395"/>
                <a:gd name="connsiteY73" fmla="*/ 1905465 h 2693419"/>
                <a:gd name="connsiteX74" fmla="*/ 787933 w 2693395"/>
                <a:gd name="connsiteY74" fmla="*/ 1912868 h 2693419"/>
                <a:gd name="connsiteX75" fmla="*/ 784144 w 2693395"/>
                <a:gd name="connsiteY75" fmla="*/ 1914439 h 2693419"/>
                <a:gd name="connsiteX76" fmla="*/ 870689 w 2693395"/>
                <a:gd name="connsiteY76" fmla="*/ 1827894 h 2693419"/>
                <a:gd name="connsiteX77" fmla="*/ 867023 w 2693395"/>
                <a:gd name="connsiteY77" fmla="*/ 1826392 h 2693419"/>
                <a:gd name="connsiteX78" fmla="*/ 866953 w 2693395"/>
                <a:gd name="connsiteY78" fmla="*/ 1819042 h 2693419"/>
                <a:gd name="connsiteX79" fmla="*/ 867075 w 2693395"/>
                <a:gd name="connsiteY79" fmla="*/ 1818920 h 2693419"/>
                <a:gd name="connsiteX80" fmla="*/ 874478 w 2693395"/>
                <a:gd name="connsiteY80" fmla="*/ 1818920 h 2693419"/>
                <a:gd name="connsiteX81" fmla="*/ 874478 w 2693395"/>
                <a:gd name="connsiteY81" fmla="*/ 1826322 h 2693419"/>
                <a:gd name="connsiteX82" fmla="*/ 870689 w 2693395"/>
                <a:gd name="connsiteY82" fmla="*/ 1827894 h 2693419"/>
                <a:gd name="connsiteX83" fmla="*/ 957200 w 2693395"/>
                <a:gd name="connsiteY83" fmla="*/ 1741453 h 2693419"/>
                <a:gd name="connsiteX84" fmla="*/ 953499 w 2693395"/>
                <a:gd name="connsiteY84" fmla="*/ 1739916 h 2693419"/>
                <a:gd name="connsiteX85" fmla="*/ 953499 w 2693395"/>
                <a:gd name="connsiteY85" fmla="*/ 1732514 h 2693419"/>
                <a:gd name="connsiteX86" fmla="*/ 953621 w 2693395"/>
                <a:gd name="connsiteY86" fmla="*/ 1732391 h 2693419"/>
                <a:gd name="connsiteX87" fmla="*/ 961024 w 2693395"/>
                <a:gd name="connsiteY87" fmla="*/ 1732391 h 2693419"/>
                <a:gd name="connsiteX88" fmla="*/ 961024 w 2693395"/>
                <a:gd name="connsiteY88" fmla="*/ 1739794 h 2693419"/>
                <a:gd name="connsiteX89" fmla="*/ 960901 w 2693395"/>
                <a:gd name="connsiteY89" fmla="*/ 1739916 h 2693419"/>
                <a:gd name="connsiteX90" fmla="*/ 957200 w 2693395"/>
                <a:gd name="connsiteY90" fmla="*/ 1741453 h 2693419"/>
                <a:gd name="connsiteX91" fmla="*/ 1043746 w 2693395"/>
                <a:gd name="connsiteY91" fmla="*/ 1654907 h 2693419"/>
                <a:gd name="connsiteX92" fmla="*/ 1040044 w 2693395"/>
                <a:gd name="connsiteY92" fmla="*/ 1653371 h 2693419"/>
                <a:gd name="connsiteX93" fmla="*/ 1040044 w 2693395"/>
                <a:gd name="connsiteY93" fmla="*/ 1645968 h 2693419"/>
                <a:gd name="connsiteX94" fmla="*/ 1040167 w 2693395"/>
                <a:gd name="connsiteY94" fmla="*/ 1645846 h 2693419"/>
                <a:gd name="connsiteX95" fmla="*/ 1047569 w 2693395"/>
                <a:gd name="connsiteY95" fmla="*/ 1645846 h 2693419"/>
                <a:gd name="connsiteX96" fmla="*/ 1047569 w 2693395"/>
                <a:gd name="connsiteY96" fmla="*/ 1653249 h 2693419"/>
                <a:gd name="connsiteX97" fmla="*/ 1047447 w 2693395"/>
                <a:gd name="connsiteY97" fmla="*/ 1653371 h 2693419"/>
                <a:gd name="connsiteX98" fmla="*/ 1043746 w 2693395"/>
                <a:gd name="connsiteY98" fmla="*/ 1654907 h 2693419"/>
                <a:gd name="connsiteX99" fmla="*/ 1130326 w 2693395"/>
                <a:gd name="connsiteY99" fmla="*/ 1568274 h 2693419"/>
                <a:gd name="connsiteX100" fmla="*/ 1126660 w 2693395"/>
                <a:gd name="connsiteY100" fmla="*/ 1566773 h 2693419"/>
                <a:gd name="connsiteX101" fmla="*/ 1126590 w 2693395"/>
                <a:gd name="connsiteY101" fmla="*/ 1559423 h 2693419"/>
                <a:gd name="connsiteX102" fmla="*/ 1126712 w 2693395"/>
                <a:gd name="connsiteY102" fmla="*/ 1559300 h 2693419"/>
                <a:gd name="connsiteX103" fmla="*/ 1134115 w 2693395"/>
                <a:gd name="connsiteY103" fmla="*/ 1559300 h 2693419"/>
                <a:gd name="connsiteX104" fmla="*/ 1134115 w 2693395"/>
                <a:gd name="connsiteY104" fmla="*/ 1566703 h 2693419"/>
                <a:gd name="connsiteX105" fmla="*/ 1130326 w 2693395"/>
                <a:gd name="connsiteY105" fmla="*/ 1568274 h 2693419"/>
                <a:gd name="connsiteX106" fmla="*/ 1216854 w 2693395"/>
                <a:gd name="connsiteY106" fmla="*/ 1481729 h 2693419"/>
                <a:gd name="connsiteX107" fmla="*/ 1213188 w 2693395"/>
                <a:gd name="connsiteY107" fmla="*/ 1480227 h 2693419"/>
                <a:gd name="connsiteX108" fmla="*/ 1213118 w 2693395"/>
                <a:gd name="connsiteY108" fmla="*/ 1472877 h 2693419"/>
                <a:gd name="connsiteX109" fmla="*/ 1213240 w 2693395"/>
                <a:gd name="connsiteY109" fmla="*/ 1472755 h 2693419"/>
                <a:gd name="connsiteX110" fmla="*/ 1220643 w 2693395"/>
                <a:gd name="connsiteY110" fmla="*/ 1472755 h 2693419"/>
                <a:gd name="connsiteX111" fmla="*/ 1220643 w 2693395"/>
                <a:gd name="connsiteY111" fmla="*/ 1480157 h 2693419"/>
                <a:gd name="connsiteX112" fmla="*/ 1216854 w 2693395"/>
                <a:gd name="connsiteY112" fmla="*/ 1481729 h 2693419"/>
                <a:gd name="connsiteX113" fmla="*/ 1303365 w 2693395"/>
                <a:gd name="connsiteY113" fmla="*/ 1395288 h 2693419"/>
                <a:gd name="connsiteX114" fmla="*/ 1299629 w 2693395"/>
                <a:gd name="connsiteY114" fmla="*/ 1393734 h 2693419"/>
                <a:gd name="connsiteX115" fmla="*/ 1299681 w 2693395"/>
                <a:gd name="connsiteY115" fmla="*/ 1386331 h 2693419"/>
                <a:gd name="connsiteX116" fmla="*/ 1299803 w 2693395"/>
                <a:gd name="connsiteY116" fmla="*/ 1386209 h 2693419"/>
                <a:gd name="connsiteX117" fmla="*/ 1307206 w 2693395"/>
                <a:gd name="connsiteY117" fmla="*/ 1386261 h 2693419"/>
                <a:gd name="connsiteX118" fmla="*/ 1307154 w 2693395"/>
                <a:gd name="connsiteY118" fmla="*/ 1393664 h 2693419"/>
                <a:gd name="connsiteX119" fmla="*/ 1307031 w 2693395"/>
                <a:gd name="connsiteY119" fmla="*/ 1393786 h 2693419"/>
                <a:gd name="connsiteX120" fmla="*/ 1303348 w 2693395"/>
                <a:gd name="connsiteY120" fmla="*/ 1395288 h 2693419"/>
                <a:gd name="connsiteX121" fmla="*/ 1389911 w 2693395"/>
                <a:gd name="connsiteY121" fmla="*/ 1308742 h 2693419"/>
                <a:gd name="connsiteX122" fmla="*/ 1386174 w 2693395"/>
                <a:gd name="connsiteY122" fmla="*/ 1307189 h 2693419"/>
                <a:gd name="connsiteX123" fmla="*/ 1386227 w 2693395"/>
                <a:gd name="connsiteY123" fmla="*/ 1299786 h 2693419"/>
                <a:gd name="connsiteX124" fmla="*/ 1386349 w 2693395"/>
                <a:gd name="connsiteY124" fmla="*/ 1299664 h 2693419"/>
                <a:gd name="connsiteX125" fmla="*/ 1393752 w 2693395"/>
                <a:gd name="connsiteY125" fmla="*/ 1299716 h 2693419"/>
                <a:gd name="connsiteX126" fmla="*/ 1393699 w 2693395"/>
                <a:gd name="connsiteY126" fmla="*/ 1307119 h 2693419"/>
                <a:gd name="connsiteX127" fmla="*/ 1393577 w 2693395"/>
                <a:gd name="connsiteY127" fmla="*/ 1307241 h 2693419"/>
                <a:gd name="connsiteX128" fmla="*/ 1389893 w 2693395"/>
                <a:gd name="connsiteY128" fmla="*/ 1308742 h 2693419"/>
                <a:gd name="connsiteX129" fmla="*/ 1476456 w 2693395"/>
                <a:gd name="connsiteY129" fmla="*/ 1222197 h 2693419"/>
                <a:gd name="connsiteX130" fmla="*/ 1472772 w 2693395"/>
                <a:gd name="connsiteY130" fmla="*/ 1220695 h 2693419"/>
                <a:gd name="connsiteX131" fmla="*/ 1472720 w 2693395"/>
                <a:gd name="connsiteY131" fmla="*/ 1213293 h 2693419"/>
                <a:gd name="connsiteX132" fmla="*/ 1472842 w 2693395"/>
                <a:gd name="connsiteY132" fmla="*/ 1213170 h 2693419"/>
                <a:gd name="connsiteX133" fmla="*/ 1480245 w 2693395"/>
                <a:gd name="connsiteY133" fmla="*/ 1213118 h 2693419"/>
                <a:gd name="connsiteX134" fmla="*/ 1480297 w 2693395"/>
                <a:gd name="connsiteY134" fmla="*/ 1220521 h 2693419"/>
                <a:gd name="connsiteX135" fmla="*/ 1480175 w 2693395"/>
                <a:gd name="connsiteY135" fmla="*/ 1220643 h 2693419"/>
                <a:gd name="connsiteX136" fmla="*/ 1476439 w 2693395"/>
                <a:gd name="connsiteY136" fmla="*/ 1222197 h 2693419"/>
                <a:gd name="connsiteX137" fmla="*/ 1563002 w 2693395"/>
                <a:gd name="connsiteY137" fmla="*/ 1135651 h 2693419"/>
                <a:gd name="connsiteX138" fmla="*/ 1559318 w 2693395"/>
                <a:gd name="connsiteY138" fmla="*/ 1134150 h 2693419"/>
                <a:gd name="connsiteX139" fmla="*/ 1559266 w 2693395"/>
                <a:gd name="connsiteY139" fmla="*/ 1126747 h 2693419"/>
                <a:gd name="connsiteX140" fmla="*/ 1559388 w 2693395"/>
                <a:gd name="connsiteY140" fmla="*/ 1126625 h 2693419"/>
                <a:gd name="connsiteX141" fmla="*/ 1566790 w 2693395"/>
                <a:gd name="connsiteY141" fmla="*/ 1126572 h 2693419"/>
                <a:gd name="connsiteX142" fmla="*/ 1566843 w 2693395"/>
                <a:gd name="connsiteY142" fmla="*/ 1133975 h 2693419"/>
                <a:gd name="connsiteX143" fmla="*/ 1566720 w 2693395"/>
                <a:gd name="connsiteY143" fmla="*/ 1134097 h 2693419"/>
                <a:gd name="connsiteX144" fmla="*/ 1562984 w 2693395"/>
                <a:gd name="connsiteY144" fmla="*/ 1135651 h 2693419"/>
                <a:gd name="connsiteX145" fmla="*/ 1649565 w 2693395"/>
                <a:gd name="connsiteY145" fmla="*/ 1049018 h 2693419"/>
                <a:gd name="connsiteX146" fmla="*/ 1645898 w 2693395"/>
                <a:gd name="connsiteY146" fmla="*/ 1047517 h 2693419"/>
                <a:gd name="connsiteX147" fmla="*/ 1645828 w 2693395"/>
                <a:gd name="connsiteY147" fmla="*/ 1040167 h 2693419"/>
                <a:gd name="connsiteX148" fmla="*/ 1645951 w 2693395"/>
                <a:gd name="connsiteY148" fmla="*/ 1040044 h 2693419"/>
                <a:gd name="connsiteX149" fmla="*/ 1653353 w 2693395"/>
                <a:gd name="connsiteY149" fmla="*/ 1040044 h 2693419"/>
                <a:gd name="connsiteX150" fmla="*/ 1653353 w 2693395"/>
                <a:gd name="connsiteY150" fmla="*/ 1047447 h 2693419"/>
                <a:gd name="connsiteX151" fmla="*/ 1649565 w 2693395"/>
                <a:gd name="connsiteY151" fmla="*/ 1049018 h 2693419"/>
                <a:gd name="connsiteX152" fmla="*/ 1736110 w 2693395"/>
                <a:gd name="connsiteY152" fmla="*/ 962473 h 2693419"/>
                <a:gd name="connsiteX153" fmla="*/ 1732444 w 2693395"/>
                <a:gd name="connsiteY153" fmla="*/ 960971 h 2693419"/>
                <a:gd name="connsiteX154" fmla="*/ 1732374 w 2693395"/>
                <a:gd name="connsiteY154" fmla="*/ 953621 h 2693419"/>
                <a:gd name="connsiteX155" fmla="*/ 1732496 w 2693395"/>
                <a:gd name="connsiteY155" fmla="*/ 953499 h 2693419"/>
                <a:gd name="connsiteX156" fmla="*/ 1739899 w 2693395"/>
                <a:gd name="connsiteY156" fmla="*/ 953499 h 2693419"/>
                <a:gd name="connsiteX157" fmla="*/ 1739899 w 2693395"/>
                <a:gd name="connsiteY157" fmla="*/ 960901 h 2693419"/>
                <a:gd name="connsiteX158" fmla="*/ 1736110 w 2693395"/>
                <a:gd name="connsiteY158" fmla="*/ 962473 h 2693419"/>
                <a:gd name="connsiteX159" fmla="*/ 1822621 w 2693395"/>
                <a:gd name="connsiteY159" fmla="*/ 876032 h 2693419"/>
                <a:gd name="connsiteX160" fmla="*/ 1818885 w 2693395"/>
                <a:gd name="connsiteY160" fmla="*/ 874478 h 2693419"/>
                <a:gd name="connsiteX161" fmla="*/ 1818937 w 2693395"/>
                <a:gd name="connsiteY161" fmla="*/ 867075 h 2693419"/>
                <a:gd name="connsiteX162" fmla="*/ 1819059 w 2693395"/>
                <a:gd name="connsiteY162" fmla="*/ 866953 h 2693419"/>
                <a:gd name="connsiteX163" fmla="*/ 1826462 w 2693395"/>
                <a:gd name="connsiteY163" fmla="*/ 867005 h 2693419"/>
                <a:gd name="connsiteX164" fmla="*/ 1826409 w 2693395"/>
                <a:gd name="connsiteY164" fmla="*/ 874408 h 2693419"/>
                <a:gd name="connsiteX165" fmla="*/ 1826288 w 2693395"/>
                <a:gd name="connsiteY165" fmla="*/ 874530 h 2693419"/>
                <a:gd name="connsiteX166" fmla="*/ 1822603 w 2693395"/>
                <a:gd name="connsiteY166" fmla="*/ 876032 h 2693419"/>
                <a:gd name="connsiteX167" fmla="*/ 1909167 w 2693395"/>
                <a:gd name="connsiteY167" fmla="*/ 789486 h 2693419"/>
                <a:gd name="connsiteX168" fmla="*/ 1905448 w 2693395"/>
                <a:gd name="connsiteY168" fmla="*/ 787933 h 2693419"/>
                <a:gd name="connsiteX169" fmla="*/ 1905465 w 2693395"/>
                <a:gd name="connsiteY169" fmla="*/ 780530 h 2693419"/>
                <a:gd name="connsiteX170" fmla="*/ 1905587 w 2693395"/>
                <a:gd name="connsiteY170" fmla="*/ 780407 h 2693419"/>
                <a:gd name="connsiteX171" fmla="*/ 1912990 w 2693395"/>
                <a:gd name="connsiteY171" fmla="*/ 780425 h 2693419"/>
                <a:gd name="connsiteX172" fmla="*/ 1912973 w 2693395"/>
                <a:gd name="connsiteY172" fmla="*/ 787828 h 2693419"/>
                <a:gd name="connsiteX173" fmla="*/ 1912850 w 2693395"/>
                <a:gd name="connsiteY173" fmla="*/ 787950 h 2693419"/>
                <a:gd name="connsiteX174" fmla="*/ 1909167 w 2693395"/>
                <a:gd name="connsiteY174" fmla="*/ 789469 h 2693419"/>
                <a:gd name="connsiteX175" fmla="*/ 1995747 w 2693395"/>
                <a:gd name="connsiteY175" fmla="*/ 702853 h 2693419"/>
                <a:gd name="connsiteX176" fmla="*/ 1992081 w 2693395"/>
                <a:gd name="connsiteY176" fmla="*/ 701369 h 2693419"/>
                <a:gd name="connsiteX177" fmla="*/ 1991993 w 2693395"/>
                <a:gd name="connsiteY177" fmla="*/ 694019 h 2693419"/>
                <a:gd name="connsiteX178" fmla="*/ 1992116 w 2693395"/>
                <a:gd name="connsiteY178" fmla="*/ 693897 h 2693419"/>
                <a:gd name="connsiteX179" fmla="*/ 1999518 w 2693395"/>
                <a:gd name="connsiteY179" fmla="*/ 693862 h 2693419"/>
                <a:gd name="connsiteX180" fmla="*/ 1999536 w 2693395"/>
                <a:gd name="connsiteY180" fmla="*/ 701265 h 2693419"/>
                <a:gd name="connsiteX181" fmla="*/ 1995730 w 2693395"/>
                <a:gd name="connsiteY181" fmla="*/ 702836 h 2693419"/>
                <a:gd name="connsiteX182" fmla="*/ 2082293 w 2693395"/>
                <a:gd name="connsiteY182" fmla="*/ 616308 h 2693419"/>
                <a:gd name="connsiteX183" fmla="*/ 2078626 w 2693395"/>
                <a:gd name="connsiteY183" fmla="*/ 614824 h 2693419"/>
                <a:gd name="connsiteX184" fmla="*/ 2078539 w 2693395"/>
                <a:gd name="connsiteY184" fmla="*/ 607473 h 2693419"/>
                <a:gd name="connsiteX185" fmla="*/ 2078661 w 2693395"/>
                <a:gd name="connsiteY185" fmla="*/ 607351 h 2693419"/>
                <a:gd name="connsiteX186" fmla="*/ 2086064 w 2693395"/>
                <a:gd name="connsiteY186" fmla="*/ 607334 h 2693419"/>
                <a:gd name="connsiteX187" fmla="*/ 2086082 w 2693395"/>
                <a:gd name="connsiteY187" fmla="*/ 614736 h 2693419"/>
                <a:gd name="connsiteX188" fmla="*/ 2082275 w 2693395"/>
                <a:gd name="connsiteY188" fmla="*/ 616308 h 2693419"/>
                <a:gd name="connsiteX189" fmla="*/ 2168804 w 2693395"/>
                <a:gd name="connsiteY189" fmla="*/ 529850 h 2693419"/>
                <a:gd name="connsiteX190" fmla="*/ 2165067 w 2693395"/>
                <a:gd name="connsiteY190" fmla="*/ 528296 h 2693419"/>
                <a:gd name="connsiteX191" fmla="*/ 2165119 w 2693395"/>
                <a:gd name="connsiteY191" fmla="*/ 520893 h 2693419"/>
                <a:gd name="connsiteX192" fmla="*/ 2165242 w 2693395"/>
                <a:gd name="connsiteY192" fmla="*/ 520771 h 2693419"/>
                <a:gd name="connsiteX193" fmla="*/ 2172644 w 2693395"/>
                <a:gd name="connsiteY193" fmla="*/ 520823 h 2693419"/>
                <a:gd name="connsiteX194" fmla="*/ 2172592 w 2693395"/>
                <a:gd name="connsiteY194" fmla="*/ 528226 h 2693419"/>
                <a:gd name="connsiteX195" fmla="*/ 2172470 w 2693395"/>
                <a:gd name="connsiteY195" fmla="*/ 528348 h 2693419"/>
                <a:gd name="connsiteX196" fmla="*/ 2168786 w 2693395"/>
                <a:gd name="connsiteY196" fmla="*/ 529850 h 2693419"/>
                <a:gd name="connsiteX197" fmla="*/ 2255331 w 2693395"/>
                <a:gd name="connsiteY197" fmla="*/ 443322 h 2693419"/>
                <a:gd name="connsiteX198" fmla="*/ 2251596 w 2693395"/>
                <a:gd name="connsiteY198" fmla="*/ 441768 h 2693419"/>
                <a:gd name="connsiteX199" fmla="*/ 2251648 w 2693395"/>
                <a:gd name="connsiteY199" fmla="*/ 434365 h 2693419"/>
                <a:gd name="connsiteX200" fmla="*/ 2251769 w 2693395"/>
                <a:gd name="connsiteY200" fmla="*/ 434243 h 2693419"/>
                <a:gd name="connsiteX201" fmla="*/ 2259173 w 2693395"/>
                <a:gd name="connsiteY201" fmla="*/ 434295 h 2693419"/>
                <a:gd name="connsiteX202" fmla="*/ 2259121 w 2693395"/>
                <a:gd name="connsiteY202" fmla="*/ 441698 h 2693419"/>
                <a:gd name="connsiteX203" fmla="*/ 2258998 w 2693395"/>
                <a:gd name="connsiteY203" fmla="*/ 441820 h 2693419"/>
                <a:gd name="connsiteX204" fmla="*/ 2255314 w 2693395"/>
                <a:gd name="connsiteY204" fmla="*/ 443322 h 2693419"/>
                <a:gd name="connsiteX205" fmla="*/ 2341912 w 2693395"/>
                <a:gd name="connsiteY205" fmla="*/ 356671 h 2693419"/>
                <a:gd name="connsiteX206" fmla="*/ 2338246 w 2693395"/>
                <a:gd name="connsiteY206" fmla="*/ 355187 h 2693419"/>
                <a:gd name="connsiteX207" fmla="*/ 2338159 w 2693395"/>
                <a:gd name="connsiteY207" fmla="*/ 347837 h 2693419"/>
                <a:gd name="connsiteX208" fmla="*/ 2338281 w 2693395"/>
                <a:gd name="connsiteY208" fmla="*/ 347715 h 2693419"/>
                <a:gd name="connsiteX209" fmla="*/ 2345683 w 2693395"/>
                <a:gd name="connsiteY209" fmla="*/ 347697 h 2693419"/>
                <a:gd name="connsiteX210" fmla="*/ 2345701 w 2693395"/>
                <a:gd name="connsiteY210" fmla="*/ 355100 h 2693419"/>
                <a:gd name="connsiteX211" fmla="*/ 2341894 w 2693395"/>
                <a:gd name="connsiteY211" fmla="*/ 356671 h 2693419"/>
                <a:gd name="connsiteX212" fmla="*/ 2428458 w 2693395"/>
                <a:gd name="connsiteY212" fmla="*/ 270143 h 2693419"/>
                <a:gd name="connsiteX213" fmla="*/ 2424791 w 2693395"/>
                <a:gd name="connsiteY213" fmla="*/ 268659 h 2693419"/>
                <a:gd name="connsiteX214" fmla="*/ 2424704 w 2693395"/>
                <a:gd name="connsiteY214" fmla="*/ 261309 h 2693419"/>
                <a:gd name="connsiteX215" fmla="*/ 2424826 w 2693395"/>
                <a:gd name="connsiteY215" fmla="*/ 261186 h 2693419"/>
                <a:gd name="connsiteX216" fmla="*/ 2432229 w 2693395"/>
                <a:gd name="connsiteY216" fmla="*/ 261151 h 2693419"/>
                <a:gd name="connsiteX217" fmla="*/ 2432246 w 2693395"/>
                <a:gd name="connsiteY217" fmla="*/ 268554 h 2693419"/>
                <a:gd name="connsiteX218" fmla="*/ 2428441 w 2693395"/>
                <a:gd name="connsiteY218" fmla="*/ 270125 h 2693419"/>
                <a:gd name="connsiteX219" fmla="*/ 2514968 w 2693395"/>
                <a:gd name="connsiteY219" fmla="*/ 183685 h 2693419"/>
                <a:gd name="connsiteX220" fmla="*/ 2511284 w 2693395"/>
                <a:gd name="connsiteY220" fmla="*/ 182183 h 2693419"/>
                <a:gd name="connsiteX221" fmla="*/ 2511232 w 2693395"/>
                <a:gd name="connsiteY221" fmla="*/ 174780 h 2693419"/>
                <a:gd name="connsiteX222" fmla="*/ 2511354 w 2693395"/>
                <a:gd name="connsiteY222" fmla="*/ 174658 h 2693419"/>
                <a:gd name="connsiteX223" fmla="*/ 2518757 w 2693395"/>
                <a:gd name="connsiteY223" fmla="*/ 174606 h 2693419"/>
                <a:gd name="connsiteX224" fmla="*/ 2518809 w 2693395"/>
                <a:gd name="connsiteY224" fmla="*/ 182009 h 2693419"/>
                <a:gd name="connsiteX225" fmla="*/ 2518687 w 2693395"/>
                <a:gd name="connsiteY225" fmla="*/ 182131 h 2693419"/>
                <a:gd name="connsiteX226" fmla="*/ 2514951 w 2693395"/>
                <a:gd name="connsiteY226" fmla="*/ 183685 h 2693419"/>
                <a:gd name="connsiteX227" fmla="*/ 2601531 w 2693395"/>
                <a:gd name="connsiteY227" fmla="*/ 97052 h 2693419"/>
                <a:gd name="connsiteX228" fmla="*/ 2597865 w 2693395"/>
                <a:gd name="connsiteY228" fmla="*/ 95568 h 2693419"/>
                <a:gd name="connsiteX229" fmla="*/ 2597778 w 2693395"/>
                <a:gd name="connsiteY229" fmla="*/ 88217 h 2693419"/>
                <a:gd name="connsiteX230" fmla="*/ 2597899 w 2693395"/>
                <a:gd name="connsiteY230" fmla="*/ 88095 h 2693419"/>
                <a:gd name="connsiteX231" fmla="*/ 2605303 w 2693395"/>
                <a:gd name="connsiteY231" fmla="*/ 88078 h 2693419"/>
                <a:gd name="connsiteX232" fmla="*/ 2605320 w 2693395"/>
                <a:gd name="connsiteY232" fmla="*/ 95480 h 2693419"/>
                <a:gd name="connsiteX233" fmla="*/ 2601514 w 2693395"/>
                <a:gd name="connsiteY233" fmla="*/ 97052 h 2693419"/>
                <a:gd name="connsiteX234" fmla="*/ 2688077 w 2693395"/>
                <a:gd name="connsiteY234" fmla="*/ 10506 h 2693419"/>
                <a:gd name="connsiteX235" fmla="*/ 2684411 w 2693395"/>
                <a:gd name="connsiteY235" fmla="*/ 9022 h 2693419"/>
                <a:gd name="connsiteX236" fmla="*/ 2684323 w 2693395"/>
                <a:gd name="connsiteY236" fmla="*/ 1672 h 2693419"/>
                <a:gd name="connsiteX237" fmla="*/ 2684446 w 2693395"/>
                <a:gd name="connsiteY237" fmla="*/ 1550 h 2693419"/>
                <a:gd name="connsiteX238" fmla="*/ 2691848 w 2693395"/>
                <a:gd name="connsiteY238" fmla="*/ 1515 h 2693419"/>
                <a:gd name="connsiteX239" fmla="*/ 2691866 w 2693395"/>
                <a:gd name="connsiteY239" fmla="*/ 8917 h 2693419"/>
                <a:gd name="connsiteX240" fmla="*/ 2688059 w 2693395"/>
                <a:gd name="connsiteY240" fmla="*/ 10489 h 269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2693395" h="2693419">
                  <a:moveTo>
                    <a:pt x="5234" y="2693420"/>
                  </a:moveTo>
                  <a:cubicBezTo>
                    <a:pt x="3889" y="2693420"/>
                    <a:pt x="2545" y="2692913"/>
                    <a:pt x="1532" y="2691883"/>
                  </a:cubicBezTo>
                  <a:cubicBezTo>
                    <a:pt x="-511" y="2689840"/>
                    <a:pt x="-511" y="2686523"/>
                    <a:pt x="1532" y="2684480"/>
                  </a:cubicBezTo>
                  <a:lnTo>
                    <a:pt x="1654" y="2684358"/>
                  </a:lnTo>
                  <a:cubicBezTo>
                    <a:pt x="3697" y="2682315"/>
                    <a:pt x="7014" y="2682315"/>
                    <a:pt x="9057" y="2684358"/>
                  </a:cubicBezTo>
                  <a:cubicBezTo>
                    <a:pt x="11100" y="2686401"/>
                    <a:pt x="11100" y="2689718"/>
                    <a:pt x="9057" y="2691761"/>
                  </a:cubicBezTo>
                  <a:lnTo>
                    <a:pt x="8935" y="2691883"/>
                  </a:lnTo>
                  <a:cubicBezTo>
                    <a:pt x="7905" y="2692913"/>
                    <a:pt x="6578" y="2693420"/>
                    <a:pt x="5234" y="2693420"/>
                  </a:cubicBezTo>
                  <a:close/>
                  <a:moveTo>
                    <a:pt x="91779" y="2606874"/>
                  </a:moveTo>
                  <a:cubicBezTo>
                    <a:pt x="90435" y="2606874"/>
                    <a:pt x="89090" y="2606367"/>
                    <a:pt x="88078" y="2605338"/>
                  </a:cubicBezTo>
                  <a:cubicBezTo>
                    <a:pt x="86035" y="2603295"/>
                    <a:pt x="86035" y="2599978"/>
                    <a:pt x="88078" y="2597935"/>
                  </a:cubicBezTo>
                  <a:lnTo>
                    <a:pt x="88200" y="2597813"/>
                  </a:lnTo>
                  <a:cubicBezTo>
                    <a:pt x="90243" y="2595770"/>
                    <a:pt x="93560" y="2595770"/>
                    <a:pt x="95603" y="2597813"/>
                  </a:cubicBezTo>
                  <a:cubicBezTo>
                    <a:pt x="97645" y="2599855"/>
                    <a:pt x="97645" y="2603172"/>
                    <a:pt x="95603" y="2605215"/>
                  </a:cubicBezTo>
                  <a:lnTo>
                    <a:pt x="95480" y="2605338"/>
                  </a:lnTo>
                  <a:cubicBezTo>
                    <a:pt x="94450" y="2606367"/>
                    <a:pt x="93124" y="2606874"/>
                    <a:pt x="91779" y="2606874"/>
                  </a:cubicBezTo>
                  <a:close/>
                  <a:moveTo>
                    <a:pt x="178325" y="2520328"/>
                  </a:moveTo>
                  <a:cubicBezTo>
                    <a:pt x="176980" y="2520328"/>
                    <a:pt x="175636" y="2519822"/>
                    <a:pt x="174623" y="2518792"/>
                  </a:cubicBezTo>
                  <a:cubicBezTo>
                    <a:pt x="172580" y="2516749"/>
                    <a:pt x="172580" y="2513432"/>
                    <a:pt x="174623" y="2511389"/>
                  </a:cubicBezTo>
                  <a:lnTo>
                    <a:pt x="174746" y="2511267"/>
                  </a:lnTo>
                  <a:cubicBezTo>
                    <a:pt x="176788" y="2509224"/>
                    <a:pt x="180105" y="2509224"/>
                    <a:pt x="182148" y="2511267"/>
                  </a:cubicBezTo>
                  <a:cubicBezTo>
                    <a:pt x="184191" y="2513310"/>
                    <a:pt x="184191" y="2516627"/>
                    <a:pt x="182148" y="2518670"/>
                  </a:cubicBezTo>
                  <a:lnTo>
                    <a:pt x="182026" y="2518792"/>
                  </a:lnTo>
                  <a:cubicBezTo>
                    <a:pt x="180996" y="2519822"/>
                    <a:pt x="179669" y="2520328"/>
                    <a:pt x="178325" y="2520328"/>
                  </a:cubicBezTo>
                  <a:close/>
                  <a:moveTo>
                    <a:pt x="264888" y="2433696"/>
                  </a:moveTo>
                  <a:cubicBezTo>
                    <a:pt x="263561" y="2433696"/>
                    <a:pt x="262216" y="2433207"/>
                    <a:pt x="261221" y="2432194"/>
                  </a:cubicBezTo>
                  <a:cubicBezTo>
                    <a:pt x="259178" y="2430151"/>
                    <a:pt x="259109" y="2426886"/>
                    <a:pt x="261152" y="2424844"/>
                  </a:cubicBezTo>
                  <a:lnTo>
                    <a:pt x="261274" y="2424721"/>
                  </a:lnTo>
                  <a:cubicBezTo>
                    <a:pt x="263317" y="2422679"/>
                    <a:pt x="266634" y="2422679"/>
                    <a:pt x="268676" y="2424721"/>
                  </a:cubicBezTo>
                  <a:cubicBezTo>
                    <a:pt x="270719" y="2426764"/>
                    <a:pt x="270719" y="2430081"/>
                    <a:pt x="268676" y="2432124"/>
                  </a:cubicBezTo>
                  <a:cubicBezTo>
                    <a:pt x="267646" y="2433154"/>
                    <a:pt x="266250" y="2433696"/>
                    <a:pt x="264888" y="2433696"/>
                  </a:cubicBezTo>
                  <a:close/>
                  <a:moveTo>
                    <a:pt x="351433" y="2347150"/>
                  </a:moveTo>
                  <a:cubicBezTo>
                    <a:pt x="350106" y="2347150"/>
                    <a:pt x="348762" y="2346661"/>
                    <a:pt x="347767" y="2345648"/>
                  </a:cubicBezTo>
                  <a:cubicBezTo>
                    <a:pt x="345724" y="2343606"/>
                    <a:pt x="345654" y="2340341"/>
                    <a:pt x="347697" y="2338298"/>
                  </a:cubicBezTo>
                  <a:lnTo>
                    <a:pt x="347819" y="2338176"/>
                  </a:lnTo>
                  <a:cubicBezTo>
                    <a:pt x="349862" y="2336133"/>
                    <a:pt x="353179" y="2336133"/>
                    <a:pt x="355222" y="2338176"/>
                  </a:cubicBezTo>
                  <a:cubicBezTo>
                    <a:pt x="357265" y="2340219"/>
                    <a:pt x="357265" y="2343536"/>
                    <a:pt x="355222" y="2345579"/>
                  </a:cubicBezTo>
                  <a:cubicBezTo>
                    <a:pt x="354192" y="2346608"/>
                    <a:pt x="352795" y="2347150"/>
                    <a:pt x="351433" y="2347150"/>
                  </a:cubicBezTo>
                  <a:close/>
                  <a:moveTo>
                    <a:pt x="437979" y="2260604"/>
                  </a:moveTo>
                  <a:cubicBezTo>
                    <a:pt x="436652" y="2260604"/>
                    <a:pt x="435308" y="2260115"/>
                    <a:pt x="434312" y="2259103"/>
                  </a:cubicBezTo>
                  <a:cubicBezTo>
                    <a:pt x="432270" y="2257060"/>
                    <a:pt x="432200" y="2253795"/>
                    <a:pt x="434243" y="2251753"/>
                  </a:cubicBezTo>
                  <a:lnTo>
                    <a:pt x="434365" y="2251630"/>
                  </a:lnTo>
                  <a:cubicBezTo>
                    <a:pt x="436408" y="2249588"/>
                    <a:pt x="439725" y="2249588"/>
                    <a:pt x="441768" y="2251630"/>
                  </a:cubicBezTo>
                  <a:cubicBezTo>
                    <a:pt x="443810" y="2253673"/>
                    <a:pt x="443810" y="2256990"/>
                    <a:pt x="441768" y="2259033"/>
                  </a:cubicBezTo>
                  <a:cubicBezTo>
                    <a:pt x="440737" y="2260063"/>
                    <a:pt x="439341" y="2260604"/>
                    <a:pt x="437979" y="2260604"/>
                  </a:cubicBezTo>
                  <a:close/>
                  <a:moveTo>
                    <a:pt x="524489" y="2174163"/>
                  </a:moveTo>
                  <a:cubicBezTo>
                    <a:pt x="523145" y="2174163"/>
                    <a:pt x="521801" y="2173657"/>
                    <a:pt x="520788" y="2172627"/>
                  </a:cubicBezTo>
                  <a:cubicBezTo>
                    <a:pt x="518745" y="2170584"/>
                    <a:pt x="518745" y="2167267"/>
                    <a:pt x="520788" y="2165224"/>
                  </a:cubicBezTo>
                  <a:lnTo>
                    <a:pt x="520910" y="2165102"/>
                  </a:lnTo>
                  <a:cubicBezTo>
                    <a:pt x="522953" y="2163059"/>
                    <a:pt x="526270" y="2163059"/>
                    <a:pt x="528313" y="2165102"/>
                  </a:cubicBezTo>
                  <a:cubicBezTo>
                    <a:pt x="530356" y="2167145"/>
                    <a:pt x="530356" y="2170462"/>
                    <a:pt x="528313" y="2172505"/>
                  </a:cubicBezTo>
                  <a:lnTo>
                    <a:pt x="528191" y="2172627"/>
                  </a:lnTo>
                  <a:cubicBezTo>
                    <a:pt x="527161" y="2173657"/>
                    <a:pt x="525834" y="2174163"/>
                    <a:pt x="524489" y="2174163"/>
                  </a:cubicBezTo>
                  <a:close/>
                  <a:moveTo>
                    <a:pt x="611035" y="2087618"/>
                  </a:moveTo>
                  <a:cubicBezTo>
                    <a:pt x="609691" y="2087618"/>
                    <a:pt x="608346" y="2087112"/>
                    <a:pt x="607334" y="2086081"/>
                  </a:cubicBezTo>
                  <a:cubicBezTo>
                    <a:pt x="605291" y="2084039"/>
                    <a:pt x="605291" y="2080721"/>
                    <a:pt x="607334" y="2078679"/>
                  </a:cubicBezTo>
                  <a:lnTo>
                    <a:pt x="607456" y="2078556"/>
                  </a:lnTo>
                  <a:cubicBezTo>
                    <a:pt x="609499" y="2076514"/>
                    <a:pt x="612816" y="2076514"/>
                    <a:pt x="614859" y="2078556"/>
                  </a:cubicBezTo>
                  <a:cubicBezTo>
                    <a:pt x="616902" y="2080599"/>
                    <a:pt x="616902" y="2083916"/>
                    <a:pt x="614859" y="2085959"/>
                  </a:cubicBezTo>
                  <a:lnTo>
                    <a:pt x="614736" y="2086081"/>
                  </a:lnTo>
                  <a:cubicBezTo>
                    <a:pt x="613706" y="2087112"/>
                    <a:pt x="612380" y="2087618"/>
                    <a:pt x="611035" y="2087618"/>
                  </a:cubicBezTo>
                  <a:close/>
                  <a:moveTo>
                    <a:pt x="697581" y="2001072"/>
                  </a:moveTo>
                  <a:cubicBezTo>
                    <a:pt x="696254" y="2001072"/>
                    <a:pt x="694927" y="2000566"/>
                    <a:pt x="693897" y="1999571"/>
                  </a:cubicBezTo>
                  <a:cubicBezTo>
                    <a:pt x="691837" y="1997545"/>
                    <a:pt x="691819" y="1994228"/>
                    <a:pt x="693844" y="1992168"/>
                  </a:cubicBezTo>
                  <a:lnTo>
                    <a:pt x="693967" y="1992046"/>
                  </a:lnTo>
                  <a:cubicBezTo>
                    <a:pt x="695992" y="1989985"/>
                    <a:pt x="699309" y="1989968"/>
                    <a:pt x="701369" y="1991993"/>
                  </a:cubicBezTo>
                  <a:cubicBezTo>
                    <a:pt x="703429" y="1994019"/>
                    <a:pt x="703447" y="1997336"/>
                    <a:pt x="701422" y="1999396"/>
                  </a:cubicBezTo>
                  <a:lnTo>
                    <a:pt x="701299" y="1999518"/>
                  </a:lnTo>
                  <a:cubicBezTo>
                    <a:pt x="700270" y="2000566"/>
                    <a:pt x="698925" y="2001072"/>
                    <a:pt x="697563" y="2001072"/>
                  </a:cubicBezTo>
                  <a:close/>
                  <a:moveTo>
                    <a:pt x="784144" y="1914439"/>
                  </a:moveTo>
                  <a:cubicBezTo>
                    <a:pt x="782817" y="1914439"/>
                    <a:pt x="781472" y="1913951"/>
                    <a:pt x="780477" y="1912938"/>
                  </a:cubicBezTo>
                  <a:cubicBezTo>
                    <a:pt x="778434" y="1910895"/>
                    <a:pt x="778365" y="1907630"/>
                    <a:pt x="780408" y="1905588"/>
                  </a:cubicBezTo>
                  <a:lnTo>
                    <a:pt x="780530" y="1905465"/>
                  </a:lnTo>
                  <a:cubicBezTo>
                    <a:pt x="782572" y="1903423"/>
                    <a:pt x="785890" y="1903423"/>
                    <a:pt x="787933" y="1905465"/>
                  </a:cubicBezTo>
                  <a:cubicBezTo>
                    <a:pt x="789975" y="1907508"/>
                    <a:pt x="789975" y="1910825"/>
                    <a:pt x="787933" y="1912868"/>
                  </a:cubicBezTo>
                  <a:cubicBezTo>
                    <a:pt x="786902" y="1913898"/>
                    <a:pt x="785506" y="1914439"/>
                    <a:pt x="784144" y="1914439"/>
                  </a:cubicBezTo>
                  <a:close/>
                  <a:moveTo>
                    <a:pt x="870689" y="1827894"/>
                  </a:moveTo>
                  <a:cubicBezTo>
                    <a:pt x="869362" y="1827894"/>
                    <a:pt x="868018" y="1827405"/>
                    <a:pt x="867023" y="1826392"/>
                  </a:cubicBezTo>
                  <a:cubicBezTo>
                    <a:pt x="864980" y="1824350"/>
                    <a:pt x="864910" y="1821084"/>
                    <a:pt x="866953" y="1819042"/>
                  </a:cubicBezTo>
                  <a:lnTo>
                    <a:pt x="867075" y="1818920"/>
                  </a:lnTo>
                  <a:cubicBezTo>
                    <a:pt x="869118" y="1816877"/>
                    <a:pt x="872435" y="1816877"/>
                    <a:pt x="874478" y="1818920"/>
                  </a:cubicBezTo>
                  <a:cubicBezTo>
                    <a:pt x="876521" y="1820963"/>
                    <a:pt x="876521" y="1824280"/>
                    <a:pt x="874478" y="1826322"/>
                  </a:cubicBezTo>
                  <a:cubicBezTo>
                    <a:pt x="873448" y="1827353"/>
                    <a:pt x="872051" y="1827894"/>
                    <a:pt x="870689" y="1827894"/>
                  </a:cubicBezTo>
                  <a:close/>
                  <a:moveTo>
                    <a:pt x="957200" y="1741453"/>
                  </a:moveTo>
                  <a:cubicBezTo>
                    <a:pt x="955856" y="1741453"/>
                    <a:pt x="954511" y="1740947"/>
                    <a:pt x="953499" y="1739916"/>
                  </a:cubicBezTo>
                  <a:cubicBezTo>
                    <a:pt x="951456" y="1737874"/>
                    <a:pt x="951456" y="1734557"/>
                    <a:pt x="953499" y="1732514"/>
                  </a:cubicBezTo>
                  <a:lnTo>
                    <a:pt x="953621" y="1732391"/>
                  </a:lnTo>
                  <a:cubicBezTo>
                    <a:pt x="955663" y="1730349"/>
                    <a:pt x="958981" y="1730349"/>
                    <a:pt x="961024" y="1732391"/>
                  </a:cubicBezTo>
                  <a:cubicBezTo>
                    <a:pt x="963066" y="1734434"/>
                    <a:pt x="963066" y="1737751"/>
                    <a:pt x="961024" y="1739794"/>
                  </a:cubicBezTo>
                  <a:lnTo>
                    <a:pt x="960901" y="1739916"/>
                  </a:lnTo>
                  <a:cubicBezTo>
                    <a:pt x="959871" y="1740947"/>
                    <a:pt x="958544" y="1741453"/>
                    <a:pt x="957200" y="1741453"/>
                  </a:cubicBezTo>
                  <a:close/>
                  <a:moveTo>
                    <a:pt x="1043746" y="1654907"/>
                  </a:moveTo>
                  <a:cubicBezTo>
                    <a:pt x="1042401" y="1654907"/>
                    <a:pt x="1041057" y="1654401"/>
                    <a:pt x="1040044" y="1653371"/>
                  </a:cubicBezTo>
                  <a:cubicBezTo>
                    <a:pt x="1038002" y="1651328"/>
                    <a:pt x="1038002" y="1648011"/>
                    <a:pt x="1040044" y="1645968"/>
                  </a:cubicBezTo>
                  <a:lnTo>
                    <a:pt x="1040167" y="1645846"/>
                  </a:lnTo>
                  <a:cubicBezTo>
                    <a:pt x="1042209" y="1643803"/>
                    <a:pt x="1045527" y="1643803"/>
                    <a:pt x="1047569" y="1645846"/>
                  </a:cubicBezTo>
                  <a:cubicBezTo>
                    <a:pt x="1049612" y="1647889"/>
                    <a:pt x="1049612" y="1651206"/>
                    <a:pt x="1047569" y="1653249"/>
                  </a:cubicBezTo>
                  <a:lnTo>
                    <a:pt x="1047447" y="1653371"/>
                  </a:lnTo>
                  <a:cubicBezTo>
                    <a:pt x="1046417" y="1654401"/>
                    <a:pt x="1045090" y="1654907"/>
                    <a:pt x="1043746" y="1654907"/>
                  </a:cubicBezTo>
                  <a:close/>
                  <a:moveTo>
                    <a:pt x="1130326" y="1568274"/>
                  </a:moveTo>
                  <a:cubicBezTo>
                    <a:pt x="1128999" y="1568274"/>
                    <a:pt x="1127655" y="1567786"/>
                    <a:pt x="1126660" y="1566773"/>
                  </a:cubicBezTo>
                  <a:cubicBezTo>
                    <a:pt x="1124617" y="1564730"/>
                    <a:pt x="1124547" y="1561465"/>
                    <a:pt x="1126590" y="1559423"/>
                  </a:cubicBezTo>
                  <a:lnTo>
                    <a:pt x="1126712" y="1559300"/>
                  </a:lnTo>
                  <a:cubicBezTo>
                    <a:pt x="1128755" y="1557258"/>
                    <a:pt x="1132072" y="1557258"/>
                    <a:pt x="1134115" y="1559300"/>
                  </a:cubicBezTo>
                  <a:cubicBezTo>
                    <a:pt x="1136158" y="1561343"/>
                    <a:pt x="1136158" y="1564660"/>
                    <a:pt x="1134115" y="1566703"/>
                  </a:cubicBezTo>
                  <a:cubicBezTo>
                    <a:pt x="1133085" y="1567733"/>
                    <a:pt x="1131688" y="1568274"/>
                    <a:pt x="1130326" y="1568274"/>
                  </a:cubicBezTo>
                  <a:close/>
                  <a:moveTo>
                    <a:pt x="1216854" y="1481729"/>
                  </a:moveTo>
                  <a:cubicBezTo>
                    <a:pt x="1215527" y="1481729"/>
                    <a:pt x="1214183" y="1481240"/>
                    <a:pt x="1213188" y="1480227"/>
                  </a:cubicBezTo>
                  <a:cubicBezTo>
                    <a:pt x="1211145" y="1478185"/>
                    <a:pt x="1211075" y="1474920"/>
                    <a:pt x="1213118" y="1472877"/>
                  </a:cubicBezTo>
                  <a:lnTo>
                    <a:pt x="1213240" y="1472755"/>
                  </a:lnTo>
                  <a:cubicBezTo>
                    <a:pt x="1215283" y="1470712"/>
                    <a:pt x="1218600" y="1470712"/>
                    <a:pt x="1220643" y="1472755"/>
                  </a:cubicBezTo>
                  <a:cubicBezTo>
                    <a:pt x="1222686" y="1474798"/>
                    <a:pt x="1222686" y="1478115"/>
                    <a:pt x="1220643" y="1480157"/>
                  </a:cubicBezTo>
                  <a:cubicBezTo>
                    <a:pt x="1219613" y="1481188"/>
                    <a:pt x="1218216" y="1481729"/>
                    <a:pt x="1216854" y="1481729"/>
                  </a:cubicBezTo>
                  <a:close/>
                  <a:moveTo>
                    <a:pt x="1303365" y="1395288"/>
                  </a:moveTo>
                  <a:cubicBezTo>
                    <a:pt x="1302021" y="1395288"/>
                    <a:pt x="1300659" y="1394764"/>
                    <a:pt x="1299629" y="1393734"/>
                  </a:cubicBezTo>
                  <a:cubicBezTo>
                    <a:pt x="1297603" y="1391674"/>
                    <a:pt x="1297621" y="1388357"/>
                    <a:pt x="1299681" y="1386331"/>
                  </a:cubicBezTo>
                  <a:lnTo>
                    <a:pt x="1299803" y="1386209"/>
                  </a:lnTo>
                  <a:cubicBezTo>
                    <a:pt x="1301863" y="1384184"/>
                    <a:pt x="1305181" y="1384201"/>
                    <a:pt x="1307206" y="1386261"/>
                  </a:cubicBezTo>
                  <a:cubicBezTo>
                    <a:pt x="1309231" y="1388322"/>
                    <a:pt x="1309214" y="1391639"/>
                    <a:pt x="1307154" y="1393664"/>
                  </a:cubicBezTo>
                  <a:lnTo>
                    <a:pt x="1307031" y="1393786"/>
                  </a:lnTo>
                  <a:cubicBezTo>
                    <a:pt x="1306019" y="1394799"/>
                    <a:pt x="1304674" y="1395288"/>
                    <a:pt x="1303348" y="1395288"/>
                  </a:cubicBezTo>
                  <a:close/>
                  <a:moveTo>
                    <a:pt x="1389911" y="1308742"/>
                  </a:moveTo>
                  <a:cubicBezTo>
                    <a:pt x="1388566" y="1308742"/>
                    <a:pt x="1387204" y="1308219"/>
                    <a:pt x="1386174" y="1307189"/>
                  </a:cubicBezTo>
                  <a:cubicBezTo>
                    <a:pt x="1384149" y="1305128"/>
                    <a:pt x="1384167" y="1301811"/>
                    <a:pt x="1386227" y="1299786"/>
                  </a:cubicBezTo>
                  <a:lnTo>
                    <a:pt x="1386349" y="1299664"/>
                  </a:lnTo>
                  <a:cubicBezTo>
                    <a:pt x="1388409" y="1297639"/>
                    <a:pt x="1391726" y="1297656"/>
                    <a:pt x="1393752" y="1299716"/>
                  </a:cubicBezTo>
                  <a:cubicBezTo>
                    <a:pt x="1395777" y="1301776"/>
                    <a:pt x="1395759" y="1305093"/>
                    <a:pt x="1393699" y="1307119"/>
                  </a:cubicBezTo>
                  <a:lnTo>
                    <a:pt x="1393577" y="1307241"/>
                  </a:lnTo>
                  <a:cubicBezTo>
                    <a:pt x="1392564" y="1308253"/>
                    <a:pt x="1391220" y="1308742"/>
                    <a:pt x="1389893" y="1308742"/>
                  </a:cubicBezTo>
                  <a:close/>
                  <a:moveTo>
                    <a:pt x="1476456" y="1222197"/>
                  </a:moveTo>
                  <a:cubicBezTo>
                    <a:pt x="1475129" y="1222197"/>
                    <a:pt x="1473802" y="1221691"/>
                    <a:pt x="1472772" y="1220695"/>
                  </a:cubicBezTo>
                  <a:cubicBezTo>
                    <a:pt x="1470712" y="1218670"/>
                    <a:pt x="1470694" y="1215353"/>
                    <a:pt x="1472720" y="1213293"/>
                  </a:cubicBezTo>
                  <a:lnTo>
                    <a:pt x="1472842" y="1213170"/>
                  </a:lnTo>
                  <a:cubicBezTo>
                    <a:pt x="1474867" y="1211110"/>
                    <a:pt x="1478184" y="1211093"/>
                    <a:pt x="1480245" y="1213118"/>
                  </a:cubicBezTo>
                  <a:cubicBezTo>
                    <a:pt x="1482305" y="1215143"/>
                    <a:pt x="1482323" y="1218461"/>
                    <a:pt x="1480297" y="1220521"/>
                  </a:cubicBezTo>
                  <a:lnTo>
                    <a:pt x="1480175" y="1220643"/>
                  </a:lnTo>
                  <a:cubicBezTo>
                    <a:pt x="1479145" y="1221691"/>
                    <a:pt x="1477800" y="1222197"/>
                    <a:pt x="1476439" y="1222197"/>
                  </a:cubicBezTo>
                  <a:close/>
                  <a:moveTo>
                    <a:pt x="1563002" y="1135651"/>
                  </a:moveTo>
                  <a:cubicBezTo>
                    <a:pt x="1561675" y="1135651"/>
                    <a:pt x="1560348" y="1135145"/>
                    <a:pt x="1559318" y="1134150"/>
                  </a:cubicBezTo>
                  <a:cubicBezTo>
                    <a:pt x="1557258" y="1132125"/>
                    <a:pt x="1557240" y="1128807"/>
                    <a:pt x="1559266" y="1126747"/>
                  </a:cubicBezTo>
                  <a:lnTo>
                    <a:pt x="1559388" y="1126625"/>
                  </a:lnTo>
                  <a:cubicBezTo>
                    <a:pt x="1561413" y="1124565"/>
                    <a:pt x="1564730" y="1124547"/>
                    <a:pt x="1566790" y="1126572"/>
                  </a:cubicBezTo>
                  <a:cubicBezTo>
                    <a:pt x="1568851" y="1128598"/>
                    <a:pt x="1568868" y="1131915"/>
                    <a:pt x="1566843" y="1133975"/>
                  </a:cubicBezTo>
                  <a:lnTo>
                    <a:pt x="1566720" y="1134097"/>
                  </a:lnTo>
                  <a:cubicBezTo>
                    <a:pt x="1565691" y="1135145"/>
                    <a:pt x="1564346" y="1135651"/>
                    <a:pt x="1562984" y="1135651"/>
                  </a:cubicBezTo>
                  <a:close/>
                  <a:moveTo>
                    <a:pt x="1649565" y="1049018"/>
                  </a:moveTo>
                  <a:cubicBezTo>
                    <a:pt x="1648238" y="1049018"/>
                    <a:pt x="1646894" y="1048529"/>
                    <a:pt x="1645898" y="1047517"/>
                  </a:cubicBezTo>
                  <a:cubicBezTo>
                    <a:pt x="1643856" y="1045474"/>
                    <a:pt x="1643786" y="1042209"/>
                    <a:pt x="1645828" y="1040167"/>
                  </a:cubicBezTo>
                  <a:lnTo>
                    <a:pt x="1645951" y="1040044"/>
                  </a:lnTo>
                  <a:cubicBezTo>
                    <a:pt x="1647993" y="1038002"/>
                    <a:pt x="1651311" y="1038002"/>
                    <a:pt x="1653353" y="1040044"/>
                  </a:cubicBezTo>
                  <a:cubicBezTo>
                    <a:pt x="1655396" y="1042087"/>
                    <a:pt x="1655396" y="1045404"/>
                    <a:pt x="1653353" y="1047447"/>
                  </a:cubicBezTo>
                  <a:cubicBezTo>
                    <a:pt x="1652323" y="1048477"/>
                    <a:pt x="1650927" y="1049018"/>
                    <a:pt x="1649565" y="1049018"/>
                  </a:cubicBezTo>
                  <a:close/>
                  <a:moveTo>
                    <a:pt x="1736110" y="962473"/>
                  </a:moveTo>
                  <a:cubicBezTo>
                    <a:pt x="1734783" y="962473"/>
                    <a:pt x="1733439" y="961984"/>
                    <a:pt x="1732444" y="960971"/>
                  </a:cubicBezTo>
                  <a:cubicBezTo>
                    <a:pt x="1730401" y="958928"/>
                    <a:pt x="1730332" y="955664"/>
                    <a:pt x="1732374" y="953621"/>
                  </a:cubicBezTo>
                  <a:lnTo>
                    <a:pt x="1732496" y="953499"/>
                  </a:lnTo>
                  <a:cubicBezTo>
                    <a:pt x="1734539" y="951456"/>
                    <a:pt x="1737856" y="951456"/>
                    <a:pt x="1739899" y="953499"/>
                  </a:cubicBezTo>
                  <a:cubicBezTo>
                    <a:pt x="1741942" y="955542"/>
                    <a:pt x="1741942" y="958859"/>
                    <a:pt x="1739899" y="960901"/>
                  </a:cubicBezTo>
                  <a:cubicBezTo>
                    <a:pt x="1738869" y="961931"/>
                    <a:pt x="1737472" y="962473"/>
                    <a:pt x="1736110" y="962473"/>
                  </a:cubicBezTo>
                  <a:close/>
                  <a:moveTo>
                    <a:pt x="1822621" y="876032"/>
                  </a:moveTo>
                  <a:cubicBezTo>
                    <a:pt x="1821277" y="876032"/>
                    <a:pt x="1819915" y="875508"/>
                    <a:pt x="1818885" y="874478"/>
                  </a:cubicBezTo>
                  <a:cubicBezTo>
                    <a:pt x="1816859" y="872418"/>
                    <a:pt x="1816877" y="869101"/>
                    <a:pt x="1818937" y="867075"/>
                  </a:cubicBezTo>
                  <a:lnTo>
                    <a:pt x="1819059" y="866953"/>
                  </a:lnTo>
                  <a:cubicBezTo>
                    <a:pt x="1821120" y="864928"/>
                    <a:pt x="1824437" y="864945"/>
                    <a:pt x="1826462" y="867005"/>
                  </a:cubicBezTo>
                  <a:cubicBezTo>
                    <a:pt x="1828487" y="869066"/>
                    <a:pt x="1828470" y="872383"/>
                    <a:pt x="1826409" y="874408"/>
                  </a:cubicBezTo>
                  <a:lnTo>
                    <a:pt x="1826288" y="874530"/>
                  </a:lnTo>
                  <a:cubicBezTo>
                    <a:pt x="1825275" y="875543"/>
                    <a:pt x="1823930" y="876032"/>
                    <a:pt x="1822603" y="876032"/>
                  </a:cubicBezTo>
                  <a:close/>
                  <a:moveTo>
                    <a:pt x="1909167" y="789486"/>
                  </a:moveTo>
                  <a:cubicBezTo>
                    <a:pt x="1907822" y="789486"/>
                    <a:pt x="1906478" y="788963"/>
                    <a:pt x="1905448" y="787933"/>
                  </a:cubicBezTo>
                  <a:cubicBezTo>
                    <a:pt x="1903405" y="785872"/>
                    <a:pt x="1903422" y="782555"/>
                    <a:pt x="1905465" y="780530"/>
                  </a:cubicBezTo>
                  <a:lnTo>
                    <a:pt x="1905587" y="780407"/>
                  </a:lnTo>
                  <a:cubicBezTo>
                    <a:pt x="1907630" y="778365"/>
                    <a:pt x="1910948" y="778382"/>
                    <a:pt x="1912990" y="780425"/>
                  </a:cubicBezTo>
                  <a:cubicBezTo>
                    <a:pt x="1915033" y="782485"/>
                    <a:pt x="1915015" y="785785"/>
                    <a:pt x="1912973" y="787828"/>
                  </a:cubicBezTo>
                  <a:lnTo>
                    <a:pt x="1912850" y="787950"/>
                  </a:lnTo>
                  <a:cubicBezTo>
                    <a:pt x="1911821" y="788963"/>
                    <a:pt x="1910494" y="789469"/>
                    <a:pt x="1909167" y="789469"/>
                  </a:cubicBezTo>
                  <a:close/>
                  <a:moveTo>
                    <a:pt x="1995747" y="702853"/>
                  </a:moveTo>
                  <a:cubicBezTo>
                    <a:pt x="1994420" y="702853"/>
                    <a:pt x="1993093" y="702365"/>
                    <a:pt x="1992081" y="701369"/>
                  </a:cubicBezTo>
                  <a:cubicBezTo>
                    <a:pt x="1990038" y="699327"/>
                    <a:pt x="1989951" y="696079"/>
                    <a:pt x="1991993" y="694019"/>
                  </a:cubicBezTo>
                  <a:lnTo>
                    <a:pt x="1992116" y="693897"/>
                  </a:lnTo>
                  <a:cubicBezTo>
                    <a:pt x="1994158" y="691837"/>
                    <a:pt x="1997476" y="691837"/>
                    <a:pt x="1999518" y="693862"/>
                  </a:cubicBezTo>
                  <a:cubicBezTo>
                    <a:pt x="2001578" y="695905"/>
                    <a:pt x="2001578" y="699222"/>
                    <a:pt x="1999536" y="701265"/>
                  </a:cubicBezTo>
                  <a:cubicBezTo>
                    <a:pt x="1998488" y="702312"/>
                    <a:pt x="1997109" y="702836"/>
                    <a:pt x="1995730" y="702836"/>
                  </a:cubicBezTo>
                  <a:close/>
                  <a:moveTo>
                    <a:pt x="2082293" y="616308"/>
                  </a:moveTo>
                  <a:cubicBezTo>
                    <a:pt x="2080966" y="616308"/>
                    <a:pt x="2079639" y="615819"/>
                    <a:pt x="2078626" y="614824"/>
                  </a:cubicBezTo>
                  <a:cubicBezTo>
                    <a:pt x="2076566" y="612781"/>
                    <a:pt x="2076496" y="609534"/>
                    <a:pt x="2078539" y="607473"/>
                  </a:cubicBezTo>
                  <a:lnTo>
                    <a:pt x="2078661" y="607351"/>
                  </a:lnTo>
                  <a:cubicBezTo>
                    <a:pt x="2080704" y="605291"/>
                    <a:pt x="2084021" y="605291"/>
                    <a:pt x="2086064" y="607334"/>
                  </a:cubicBezTo>
                  <a:cubicBezTo>
                    <a:pt x="2088124" y="609377"/>
                    <a:pt x="2088124" y="612694"/>
                    <a:pt x="2086082" y="614736"/>
                  </a:cubicBezTo>
                  <a:cubicBezTo>
                    <a:pt x="2085034" y="615784"/>
                    <a:pt x="2083654" y="616308"/>
                    <a:pt x="2082275" y="616308"/>
                  </a:cubicBezTo>
                  <a:close/>
                  <a:moveTo>
                    <a:pt x="2168804" y="529850"/>
                  </a:moveTo>
                  <a:cubicBezTo>
                    <a:pt x="2167459" y="529850"/>
                    <a:pt x="2166097" y="529326"/>
                    <a:pt x="2165067" y="528296"/>
                  </a:cubicBezTo>
                  <a:cubicBezTo>
                    <a:pt x="2163042" y="526236"/>
                    <a:pt x="2163060" y="522918"/>
                    <a:pt x="2165119" y="520893"/>
                  </a:cubicBezTo>
                  <a:lnTo>
                    <a:pt x="2165242" y="520771"/>
                  </a:lnTo>
                  <a:cubicBezTo>
                    <a:pt x="2167302" y="518745"/>
                    <a:pt x="2170619" y="518763"/>
                    <a:pt x="2172644" y="520823"/>
                  </a:cubicBezTo>
                  <a:cubicBezTo>
                    <a:pt x="2174670" y="522883"/>
                    <a:pt x="2174652" y="526201"/>
                    <a:pt x="2172592" y="528226"/>
                  </a:cubicBezTo>
                  <a:lnTo>
                    <a:pt x="2172470" y="528348"/>
                  </a:lnTo>
                  <a:cubicBezTo>
                    <a:pt x="2171457" y="529361"/>
                    <a:pt x="2170113" y="529850"/>
                    <a:pt x="2168786" y="529850"/>
                  </a:cubicBezTo>
                  <a:close/>
                  <a:moveTo>
                    <a:pt x="2255331" y="443322"/>
                  </a:moveTo>
                  <a:cubicBezTo>
                    <a:pt x="2253987" y="443322"/>
                    <a:pt x="2252625" y="442798"/>
                    <a:pt x="2251596" y="441768"/>
                  </a:cubicBezTo>
                  <a:cubicBezTo>
                    <a:pt x="2249570" y="439707"/>
                    <a:pt x="2249587" y="436390"/>
                    <a:pt x="2251648" y="434365"/>
                  </a:cubicBezTo>
                  <a:lnTo>
                    <a:pt x="2251769" y="434243"/>
                  </a:lnTo>
                  <a:cubicBezTo>
                    <a:pt x="2253830" y="432217"/>
                    <a:pt x="2257147" y="432235"/>
                    <a:pt x="2259173" y="434295"/>
                  </a:cubicBezTo>
                  <a:cubicBezTo>
                    <a:pt x="2261198" y="436355"/>
                    <a:pt x="2261180" y="439672"/>
                    <a:pt x="2259121" y="441698"/>
                  </a:cubicBezTo>
                  <a:lnTo>
                    <a:pt x="2258998" y="441820"/>
                  </a:lnTo>
                  <a:cubicBezTo>
                    <a:pt x="2257985" y="442833"/>
                    <a:pt x="2256641" y="443322"/>
                    <a:pt x="2255314" y="443322"/>
                  </a:cubicBezTo>
                  <a:close/>
                  <a:moveTo>
                    <a:pt x="2341912" y="356671"/>
                  </a:moveTo>
                  <a:cubicBezTo>
                    <a:pt x="2340585" y="356671"/>
                    <a:pt x="2339258" y="356182"/>
                    <a:pt x="2338246" y="355187"/>
                  </a:cubicBezTo>
                  <a:cubicBezTo>
                    <a:pt x="2336185" y="353144"/>
                    <a:pt x="2336115" y="349897"/>
                    <a:pt x="2338159" y="347837"/>
                  </a:cubicBezTo>
                  <a:lnTo>
                    <a:pt x="2338281" y="347715"/>
                  </a:lnTo>
                  <a:cubicBezTo>
                    <a:pt x="2340323" y="345654"/>
                    <a:pt x="2343640" y="345654"/>
                    <a:pt x="2345683" y="347697"/>
                  </a:cubicBezTo>
                  <a:cubicBezTo>
                    <a:pt x="2347743" y="349740"/>
                    <a:pt x="2347743" y="353057"/>
                    <a:pt x="2345701" y="355100"/>
                  </a:cubicBezTo>
                  <a:cubicBezTo>
                    <a:pt x="2344653" y="356147"/>
                    <a:pt x="2343274" y="356671"/>
                    <a:pt x="2341894" y="356671"/>
                  </a:cubicBezTo>
                  <a:close/>
                  <a:moveTo>
                    <a:pt x="2428458" y="270143"/>
                  </a:moveTo>
                  <a:cubicBezTo>
                    <a:pt x="2427131" y="270143"/>
                    <a:pt x="2425804" y="269654"/>
                    <a:pt x="2424791" y="268659"/>
                  </a:cubicBezTo>
                  <a:cubicBezTo>
                    <a:pt x="2422748" y="266616"/>
                    <a:pt x="2422661" y="263369"/>
                    <a:pt x="2424704" y="261309"/>
                  </a:cubicBezTo>
                  <a:lnTo>
                    <a:pt x="2424826" y="261186"/>
                  </a:lnTo>
                  <a:cubicBezTo>
                    <a:pt x="2426869" y="259126"/>
                    <a:pt x="2430186" y="259126"/>
                    <a:pt x="2432229" y="261151"/>
                  </a:cubicBezTo>
                  <a:cubicBezTo>
                    <a:pt x="2434272" y="263194"/>
                    <a:pt x="2434289" y="266511"/>
                    <a:pt x="2432246" y="268554"/>
                  </a:cubicBezTo>
                  <a:cubicBezTo>
                    <a:pt x="2431198" y="269602"/>
                    <a:pt x="2429820" y="270125"/>
                    <a:pt x="2428441" y="270125"/>
                  </a:cubicBezTo>
                  <a:close/>
                  <a:moveTo>
                    <a:pt x="2514968" y="183685"/>
                  </a:moveTo>
                  <a:cubicBezTo>
                    <a:pt x="2513641" y="183685"/>
                    <a:pt x="2512315" y="183178"/>
                    <a:pt x="2511284" y="182183"/>
                  </a:cubicBezTo>
                  <a:cubicBezTo>
                    <a:pt x="2509225" y="180158"/>
                    <a:pt x="2509207" y="176841"/>
                    <a:pt x="2511232" y="174780"/>
                  </a:cubicBezTo>
                  <a:lnTo>
                    <a:pt x="2511354" y="174658"/>
                  </a:lnTo>
                  <a:cubicBezTo>
                    <a:pt x="2513380" y="172598"/>
                    <a:pt x="2516697" y="172581"/>
                    <a:pt x="2518757" y="174606"/>
                  </a:cubicBezTo>
                  <a:cubicBezTo>
                    <a:pt x="2520817" y="176631"/>
                    <a:pt x="2520835" y="179948"/>
                    <a:pt x="2518809" y="182009"/>
                  </a:cubicBezTo>
                  <a:lnTo>
                    <a:pt x="2518687" y="182131"/>
                  </a:lnTo>
                  <a:cubicBezTo>
                    <a:pt x="2517657" y="183178"/>
                    <a:pt x="2516312" y="183685"/>
                    <a:pt x="2514951" y="183685"/>
                  </a:cubicBezTo>
                  <a:close/>
                  <a:moveTo>
                    <a:pt x="2601531" y="97052"/>
                  </a:moveTo>
                  <a:cubicBezTo>
                    <a:pt x="2600205" y="97052"/>
                    <a:pt x="2598877" y="96563"/>
                    <a:pt x="2597865" y="95568"/>
                  </a:cubicBezTo>
                  <a:cubicBezTo>
                    <a:pt x="2595805" y="93525"/>
                    <a:pt x="2595735" y="90278"/>
                    <a:pt x="2597778" y="88217"/>
                  </a:cubicBezTo>
                  <a:lnTo>
                    <a:pt x="2597899" y="88095"/>
                  </a:lnTo>
                  <a:cubicBezTo>
                    <a:pt x="2599943" y="86035"/>
                    <a:pt x="2603260" y="86035"/>
                    <a:pt x="2605303" y="88078"/>
                  </a:cubicBezTo>
                  <a:cubicBezTo>
                    <a:pt x="2607345" y="90120"/>
                    <a:pt x="2607363" y="93438"/>
                    <a:pt x="2605320" y="95480"/>
                  </a:cubicBezTo>
                  <a:cubicBezTo>
                    <a:pt x="2604273" y="96528"/>
                    <a:pt x="2602893" y="97052"/>
                    <a:pt x="2601514" y="97052"/>
                  </a:cubicBezTo>
                  <a:close/>
                  <a:moveTo>
                    <a:pt x="2688077" y="10506"/>
                  </a:moveTo>
                  <a:cubicBezTo>
                    <a:pt x="2686750" y="10506"/>
                    <a:pt x="2685423" y="10017"/>
                    <a:pt x="2684411" y="9022"/>
                  </a:cubicBezTo>
                  <a:cubicBezTo>
                    <a:pt x="2682350" y="6979"/>
                    <a:pt x="2682280" y="3732"/>
                    <a:pt x="2684323" y="1672"/>
                  </a:cubicBezTo>
                  <a:lnTo>
                    <a:pt x="2684446" y="1550"/>
                  </a:lnTo>
                  <a:cubicBezTo>
                    <a:pt x="2686488" y="-511"/>
                    <a:pt x="2689805" y="-511"/>
                    <a:pt x="2691848" y="1515"/>
                  </a:cubicBezTo>
                  <a:cubicBezTo>
                    <a:pt x="2693908" y="3557"/>
                    <a:pt x="2693908" y="6875"/>
                    <a:pt x="2691866" y="8917"/>
                  </a:cubicBezTo>
                  <a:cubicBezTo>
                    <a:pt x="2690818" y="9965"/>
                    <a:pt x="2689439" y="10489"/>
                    <a:pt x="2688059" y="10489"/>
                  </a:cubicBezTo>
                  <a:close/>
                </a:path>
              </a:pathLst>
            </a:custGeom>
            <a:grpFill/>
            <a:ln w="0" cap="flat">
              <a:no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5A03E5F7-FD28-BC57-0635-4187620694F6}"/>
                </a:ext>
              </a:extLst>
            </p:cNvPr>
            <p:cNvSpPr/>
            <p:nvPr/>
          </p:nvSpPr>
          <p:spPr>
            <a:xfrm>
              <a:off x="6391646" y="2640024"/>
              <a:ext cx="2521502" cy="2521493"/>
            </a:xfrm>
            <a:custGeom>
              <a:avLst/>
              <a:gdLst>
                <a:gd name="connsiteX0" fmla="*/ 5822 w 2521502"/>
                <a:gd name="connsiteY0" fmla="*/ 2521494 h 2521493"/>
                <a:gd name="connsiteX1" fmla="*/ 1702 w 2521502"/>
                <a:gd name="connsiteY1" fmla="*/ 2519783 h 2521493"/>
                <a:gd name="connsiteX2" fmla="*/ 1702 w 2521502"/>
                <a:gd name="connsiteY2" fmla="*/ 2511559 h 2521493"/>
                <a:gd name="connsiteX3" fmla="*/ 1824 w 2521502"/>
                <a:gd name="connsiteY3" fmla="*/ 2511437 h 2521493"/>
                <a:gd name="connsiteX4" fmla="*/ 10048 w 2521502"/>
                <a:gd name="connsiteY4" fmla="*/ 2511437 h 2521493"/>
                <a:gd name="connsiteX5" fmla="*/ 10048 w 2521502"/>
                <a:gd name="connsiteY5" fmla="*/ 2519660 h 2521493"/>
                <a:gd name="connsiteX6" fmla="*/ 9926 w 2521502"/>
                <a:gd name="connsiteY6" fmla="*/ 2519783 h 2521493"/>
                <a:gd name="connsiteX7" fmla="*/ 5805 w 2521502"/>
                <a:gd name="connsiteY7" fmla="*/ 2521494 h 2521493"/>
                <a:gd name="connsiteX8" fmla="*/ 92368 w 2521502"/>
                <a:gd name="connsiteY8" fmla="*/ 2434948 h 2521493"/>
                <a:gd name="connsiteX9" fmla="*/ 88248 w 2521502"/>
                <a:gd name="connsiteY9" fmla="*/ 2433237 h 2521493"/>
                <a:gd name="connsiteX10" fmla="*/ 88248 w 2521502"/>
                <a:gd name="connsiteY10" fmla="*/ 2425014 h 2521493"/>
                <a:gd name="connsiteX11" fmla="*/ 88370 w 2521502"/>
                <a:gd name="connsiteY11" fmla="*/ 2424891 h 2521493"/>
                <a:gd name="connsiteX12" fmla="*/ 96593 w 2521502"/>
                <a:gd name="connsiteY12" fmla="*/ 2424891 h 2521493"/>
                <a:gd name="connsiteX13" fmla="*/ 96593 w 2521502"/>
                <a:gd name="connsiteY13" fmla="*/ 2433115 h 2521493"/>
                <a:gd name="connsiteX14" fmla="*/ 96471 w 2521502"/>
                <a:gd name="connsiteY14" fmla="*/ 2433237 h 2521493"/>
                <a:gd name="connsiteX15" fmla="*/ 92351 w 2521502"/>
                <a:gd name="connsiteY15" fmla="*/ 2434948 h 2521493"/>
                <a:gd name="connsiteX16" fmla="*/ 178949 w 2521502"/>
                <a:gd name="connsiteY16" fmla="*/ 2348315 h 2521493"/>
                <a:gd name="connsiteX17" fmla="*/ 174863 w 2521502"/>
                <a:gd name="connsiteY17" fmla="*/ 2346639 h 2521493"/>
                <a:gd name="connsiteX18" fmla="*/ 174793 w 2521502"/>
                <a:gd name="connsiteY18" fmla="*/ 2338468 h 2521493"/>
                <a:gd name="connsiteX19" fmla="*/ 174916 w 2521502"/>
                <a:gd name="connsiteY19" fmla="*/ 2338346 h 2521493"/>
                <a:gd name="connsiteX20" fmla="*/ 183139 w 2521502"/>
                <a:gd name="connsiteY20" fmla="*/ 2338346 h 2521493"/>
                <a:gd name="connsiteX21" fmla="*/ 183139 w 2521502"/>
                <a:gd name="connsiteY21" fmla="*/ 2346569 h 2521493"/>
                <a:gd name="connsiteX22" fmla="*/ 178931 w 2521502"/>
                <a:gd name="connsiteY22" fmla="*/ 2348298 h 2521493"/>
                <a:gd name="connsiteX23" fmla="*/ 265477 w 2521502"/>
                <a:gd name="connsiteY23" fmla="*/ 2261770 h 2521493"/>
                <a:gd name="connsiteX24" fmla="*/ 261391 w 2521502"/>
                <a:gd name="connsiteY24" fmla="*/ 2260094 h 2521493"/>
                <a:gd name="connsiteX25" fmla="*/ 261322 w 2521502"/>
                <a:gd name="connsiteY25" fmla="*/ 2251922 h 2521493"/>
                <a:gd name="connsiteX26" fmla="*/ 261444 w 2521502"/>
                <a:gd name="connsiteY26" fmla="*/ 2251801 h 2521493"/>
                <a:gd name="connsiteX27" fmla="*/ 269667 w 2521502"/>
                <a:gd name="connsiteY27" fmla="*/ 2251801 h 2521493"/>
                <a:gd name="connsiteX28" fmla="*/ 269667 w 2521502"/>
                <a:gd name="connsiteY28" fmla="*/ 2260024 h 2521493"/>
                <a:gd name="connsiteX29" fmla="*/ 265459 w 2521502"/>
                <a:gd name="connsiteY29" fmla="*/ 2261752 h 2521493"/>
                <a:gd name="connsiteX30" fmla="*/ 352022 w 2521502"/>
                <a:gd name="connsiteY30" fmla="*/ 2175224 h 2521493"/>
                <a:gd name="connsiteX31" fmla="*/ 347937 w 2521502"/>
                <a:gd name="connsiteY31" fmla="*/ 2173548 h 2521493"/>
                <a:gd name="connsiteX32" fmla="*/ 347867 w 2521502"/>
                <a:gd name="connsiteY32" fmla="*/ 2165377 h 2521493"/>
                <a:gd name="connsiteX33" fmla="*/ 347989 w 2521502"/>
                <a:gd name="connsiteY33" fmla="*/ 2165255 h 2521493"/>
                <a:gd name="connsiteX34" fmla="*/ 356213 w 2521502"/>
                <a:gd name="connsiteY34" fmla="*/ 2165255 h 2521493"/>
                <a:gd name="connsiteX35" fmla="*/ 356213 w 2521502"/>
                <a:gd name="connsiteY35" fmla="*/ 2173478 h 2521493"/>
                <a:gd name="connsiteX36" fmla="*/ 352005 w 2521502"/>
                <a:gd name="connsiteY36" fmla="*/ 2175206 h 2521493"/>
                <a:gd name="connsiteX37" fmla="*/ 438533 w 2521502"/>
                <a:gd name="connsiteY37" fmla="*/ 2088766 h 2521493"/>
                <a:gd name="connsiteX38" fmla="*/ 434413 w 2521502"/>
                <a:gd name="connsiteY38" fmla="*/ 2087055 h 2521493"/>
                <a:gd name="connsiteX39" fmla="*/ 434413 w 2521502"/>
                <a:gd name="connsiteY39" fmla="*/ 2078831 h 2521493"/>
                <a:gd name="connsiteX40" fmla="*/ 434535 w 2521502"/>
                <a:gd name="connsiteY40" fmla="*/ 2078709 h 2521493"/>
                <a:gd name="connsiteX41" fmla="*/ 442758 w 2521502"/>
                <a:gd name="connsiteY41" fmla="*/ 2078709 h 2521493"/>
                <a:gd name="connsiteX42" fmla="*/ 442758 w 2521502"/>
                <a:gd name="connsiteY42" fmla="*/ 2086932 h 2521493"/>
                <a:gd name="connsiteX43" fmla="*/ 442636 w 2521502"/>
                <a:gd name="connsiteY43" fmla="*/ 2087055 h 2521493"/>
                <a:gd name="connsiteX44" fmla="*/ 438516 w 2521502"/>
                <a:gd name="connsiteY44" fmla="*/ 2088766 h 2521493"/>
                <a:gd name="connsiteX45" fmla="*/ 525079 w 2521502"/>
                <a:gd name="connsiteY45" fmla="*/ 2002237 h 2521493"/>
                <a:gd name="connsiteX46" fmla="*/ 520958 w 2521502"/>
                <a:gd name="connsiteY46" fmla="*/ 2000526 h 2521493"/>
                <a:gd name="connsiteX47" fmla="*/ 520958 w 2521502"/>
                <a:gd name="connsiteY47" fmla="*/ 1992303 h 2521493"/>
                <a:gd name="connsiteX48" fmla="*/ 521081 w 2521502"/>
                <a:gd name="connsiteY48" fmla="*/ 1992181 h 2521493"/>
                <a:gd name="connsiteX49" fmla="*/ 529304 w 2521502"/>
                <a:gd name="connsiteY49" fmla="*/ 1992181 h 2521493"/>
                <a:gd name="connsiteX50" fmla="*/ 529304 w 2521502"/>
                <a:gd name="connsiteY50" fmla="*/ 2000404 h 2521493"/>
                <a:gd name="connsiteX51" fmla="*/ 529182 w 2521502"/>
                <a:gd name="connsiteY51" fmla="*/ 2000526 h 2521493"/>
                <a:gd name="connsiteX52" fmla="*/ 525061 w 2521502"/>
                <a:gd name="connsiteY52" fmla="*/ 2002237 h 2521493"/>
                <a:gd name="connsiteX53" fmla="*/ 611624 w 2521502"/>
                <a:gd name="connsiteY53" fmla="*/ 1915692 h 2521493"/>
                <a:gd name="connsiteX54" fmla="*/ 607539 w 2521502"/>
                <a:gd name="connsiteY54" fmla="*/ 1914016 h 2521493"/>
                <a:gd name="connsiteX55" fmla="*/ 607487 w 2521502"/>
                <a:gd name="connsiteY55" fmla="*/ 1905792 h 2521493"/>
                <a:gd name="connsiteX56" fmla="*/ 607609 w 2521502"/>
                <a:gd name="connsiteY56" fmla="*/ 1905670 h 2521493"/>
                <a:gd name="connsiteX57" fmla="*/ 615832 w 2521502"/>
                <a:gd name="connsiteY57" fmla="*/ 1905618 h 2521493"/>
                <a:gd name="connsiteX58" fmla="*/ 615885 w 2521502"/>
                <a:gd name="connsiteY58" fmla="*/ 1913841 h 2521493"/>
                <a:gd name="connsiteX59" fmla="*/ 615762 w 2521502"/>
                <a:gd name="connsiteY59" fmla="*/ 1913964 h 2521493"/>
                <a:gd name="connsiteX60" fmla="*/ 611624 w 2521502"/>
                <a:gd name="connsiteY60" fmla="*/ 1915692 h 2521493"/>
                <a:gd name="connsiteX61" fmla="*/ 698205 w 2521502"/>
                <a:gd name="connsiteY61" fmla="*/ 1829059 h 2521493"/>
                <a:gd name="connsiteX62" fmla="*/ 694119 w 2521502"/>
                <a:gd name="connsiteY62" fmla="*/ 1827383 h 2521493"/>
                <a:gd name="connsiteX63" fmla="*/ 694050 w 2521502"/>
                <a:gd name="connsiteY63" fmla="*/ 1819212 h 2521493"/>
                <a:gd name="connsiteX64" fmla="*/ 694172 w 2521502"/>
                <a:gd name="connsiteY64" fmla="*/ 1819090 h 2521493"/>
                <a:gd name="connsiteX65" fmla="*/ 702395 w 2521502"/>
                <a:gd name="connsiteY65" fmla="*/ 1819090 h 2521493"/>
                <a:gd name="connsiteX66" fmla="*/ 702395 w 2521502"/>
                <a:gd name="connsiteY66" fmla="*/ 1827313 h 2521493"/>
                <a:gd name="connsiteX67" fmla="*/ 698187 w 2521502"/>
                <a:gd name="connsiteY67" fmla="*/ 1829042 h 2521493"/>
                <a:gd name="connsiteX68" fmla="*/ 784733 w 2521502"/>
                <a:gd name="connsiteY68" fmla="*/ 1742513 h 2521493"/>
                <a:gd name="connsiteX69" fmla="*/ 780647 w 2521502"/>
                <a:gd name="connsiteY69" fmla="*/ 1740837 h 2521493"/>
                <a:gd name="connsiteX70" fmla="*/ 780578 w 2521502"/>
                <a:gd name="connsiteY70" fmla="*/ 1732666 h 2521493"/>
                <a:gd name="connsiteX71" fmla="*/ 780700 w 2521502"/>
                <a:gd name="connsiteY71" fmla="*/ 1732544 h 2521493"/>
                <a:gd name="connsiteX72" fmla="*/ 788923 w 2521502"/>
                <a:gd name="connsiteY72" fmla="*/ 1732544 h 2521493"/>
                <a:gd name="connsiteX73" fmla="*/ 788923 w 2521502"/>
                <a:gd name="connsiteY73" fmla="*/ 1740767 h 2521493"/>
                <a:gd name="connsiteX74" fmla="*/ 784716 w 2521502"/>
                <a:gd name="connsiteY74" fmla="*/ 1742496 h 2521493"/>
                <a:gd name="connsiteX75" fmla="*/ 871244 w 2521502"/>
                <a:gd name="connsiteY75" fmla="*/ 1656055 h 2521493"/>
                <a:gd name="connsiteX76" fmla="*/ 867123 w 2521502"/>
                <a:gd name="connsiteY76" fmla="*/ 1654344 h 2521493"/>
                <a:gd name="connsiteX77" fmla="*/ 867123 w 2521502"/>
                <a:gd name="connsiteY77" fmla="*/ 1646121 h 2521493"/>
                <a:gd name="connsiteX78" fmla="*/ 867246 w 2521502"/>
                <a:gd name="connsiteY78" fmla="*/ 1645999 h 2521493"/>
                <a:gd name="connsiteX79" fmla="*/ 875469 w 2521502"/>
                <a:gd name="connsiteY79" fmla="*/ 1645999 h 2521493"/>
                <a:gd name="connsiteX80" fmla="*/ 875469 w 2521502"/>
                <a:gd name="connsiteY80" fmla="*/ 1654222 h 2521493"/>
                <a:gd name="connsiteX81" fmla="*/ 875346 w 2521502"/>
                <a:gd name="connsiteY81" fmla="*/ 1654344 h 2521493"/>
                <a:gd name="connsiteX82" fmla="*/ 871226 w 2521502"/>
                <a:gd name="connsiteY82" fmla="*/ 1656055 h 2521493"/>
                <a:gd name="connsiteX83" fmla="*/ 957789 w 2521502"/>
                <a:gd name="connsiteY83" fmla="*/ 1569527 h 2521493"/>
                <a:gd name="connsiteX84" fmla="*/ 953669 w 2521502"/>
                <a:gd name="connsiteY84" fmla="*/ 1567816 h 2521493"/>
                <a:gd name="connsiteX85" fmla="*/ 953669 w 2521502"/>
                <a:gd name="connsiteY85" fmla="*/ 1559593 h 2521493"/>
                <a:gd name="connsiteX86" fmla="*/ 953791 w 2521502"/>
                <a:gd name="connsiteY86" fmla="*/ 1559471 h 2521493"/>
                <a:gd name="connsiteX87" fmla="*/ 962014 w 2521502"/>
                <a:gd name="connsiteY87" fmla="*/ 1559471 h 2521493"/>
                <a:gd name="connsiteX88" fmla="*/ 962014 w 2521502"/>
                <a:gd name="connsiteY88" fmla="*/ 1567694 h 2521493"/>
                <a:gd name="connsiteX89" fmla="*/ 961892 w 2521502"/>
                <a:gd name="connsiteY89" fmla="*/ 1567816 h 2521493"/>
                <a:gd name="connsiteX90" fmla="*/ 957772 w 2521502"/>
                <a:gd name="connsiteY90" fmla="*/ 1569527 h 2521493"/>
                <a:gd name="connsiteX91" fmla="*/ 1044370 w 2521502"/>
                <a:gd name="connsiteY91" fmla="*/ 1482877 h 2521493"/>
                <a:gd name="connsiteX92" fmla="*/ 1040284 w 2521502"/>
                <a:gd name="connsiteY92" fmla="*/ 1481201 h 2521493"/>
                <a:gd name="connsiteX93" fmla="*/ 1040214 w 2521502"/>
                <a:gd name="connsiteY93" fmla="*/ 1473030 h 2521493"/>
                <a:gd name="connsiteX94" fmla="*/ 1040337 w 2521502"/>
                <a:gd name="connsiteY94" fmla="*/ 1472907 h 2521493"/>
                <a:gd name="connsiteX95" fmla="*/ 1048560 w 2521502"/>
                <a:gd name="connsiteY95" fmla="*/ 1472907 h 2521493"/>
                <a:gd name="connsiteX96" fmla="*/ 1048560 w 2521502"/>
                <a:gd name="connsiteY96" fmla="*/ 1481131 h 2521493"/>
                <a:gd name="connsiteX97" fmla="*/ 1044352 w 2521502"/>
                <a:gd name="connsiteY97" fmla="*/ 1482859 h 2521493"/>
                <a:gd name="connsiteX98" fmla="*/ 1130915 w 2521502"/>
                <a:gd name="connsiteY98" fmla="*/ 1396348 h 2521493"/>
                <a:gd name="connsiteX99" fmla="*/ 1126830 w 2521502"/>
                <a:gd name="connsiteY99" fmla="*/ 1394672 h 2521493"/>
                <a:gd name="connsiteX100" fmla="*/ 1126760 w 2521502"/>
                <a:gd name="connsiteY100" fmla="*/ 1386502 h 2521493"/>
                <a:gd name="connsiteX101" fmla="*/ 1126882 w 2521502"/>
                <a:gd name="connsiteY101" fmla="*/ 1386379 h 2521493"/>
                <a:gd name="connsiteX102" fmla="*/ 1135106 w 2521502"/>
                <a:gd name="connsiteY102" fmla="*/ 1386379 h 2521493"/>
                <a:gd name="connsiteX103" fmla="*/ 1135106 w 2521502"/>
                <a:gd name="connsiteY103" fmla="*/ 1394602 h 2521493"/>
                <a:gd name="connsiteX104" fmla="*/ 1130898 w 2521502"/>
                <a:gd name="connsiteY104" fmla="*/ 1396331 h 2521493"/>
                <a:gd name="connsiteX105" fmla="*/ 1217426 w 2521502"/>
                <a:gd name="connsiteY105" fmla="*/ 1309890 h 2521493"/>
                <a:gd name="connsiteX106" fmla="*/ 1213288 w 2521502"/>
                <a:gd name="connsiteY106" fmla="*/ 1308162 h 2521493"/>
                <a:gd name="connsiteX107" fmla="*/ 1213341 w 2521502"/>
                <a:gd name="connsiteY107" fmla="*/ 1299938 h 2521493"/>
                <a:gd name="connsiteX108" fmla="*/ 1213463 w 2521502"/>
                <a:gd name="connsiteY108" fmla="*/ 1299816 h 2521493"/>
                <a:gd name="connsiteX109" fmla="*/ 1221686 w 2521502"/>
                <a:gd name="connsiteY109" fmla="*/ 1299869 h 2521493"/>
                <a:gd name="connsiteX110" fmla="*/ 1221634 w 2521502"/>
                <a:gd name="connsiteY110" fmla="*/ 1308092 h 2521493"/>
                <a:gd name="connsiteX111" fmla="*/ 1221511 w 2521502"/>
                <a:gd name="connsiteY111" fmla="*/ 1308214 h 2521493"/>
                <a:gd name="connsiteX112" fmla="*/ 1217426 w 2521502"/>
                <a:gd name="connsiteY112" fmla="*/ 1309890 h 2521493"/>
                <a:gd name="connsiteX113" fmla="*/ 1303954 w 2521502"/>
                <a:gd name="connsiteY113" fmla="*/ 1223345 h 2521493"/>
                <a:gd name="connsiteX114" fmla="*/ 1299816 w 2521502"/>
                <a:gd name="connsiteY114" fmla="*/ 1221616 h 2521493"/>
                <a:gd name="connsiteX115" fmla="*/ 1299869 w 2521502"/>
                <a:gd name="connsiteY115" fmla="*/ 1213393 h 2521493"/>
                <a:gd name="connsiteX116" fmla="*/ 1299991 w 2521502"/>
                <a:gd name="connsiteY116" fmla="*/ 1213271 h 2521493"/>
                <a:gd name="connsiteX117" fmla="*/ 1308214 w 2521502"/>
                <a:gd name="connsiteY117" fmla="*/ 1213323 h 2521493"/>
                <a:gd name="connsiteX118" fmla="*/ 1308162 w 2521502"/>
                <a:gd name="connsiteY118" fmla="*/ 1221546 h 2521493"/>
                <a:gd name="connsiteX119" fmla="*/ 1308040 w 2521502"/>
                <a:gd name="connsiteY119" fmla="*/ 1221669 h 2521493"/>
                <a:gd name="connsiteX120" fmla="*/ 1303954 w 2521502"/>
                <a:gd name="connsiteY120" fmla="*/ 1223345 h 2521493"/>
                <a:gd name="connsiteX121" fmla="*/ 1390500 w 2521502"/>
                <a:gd name="connsiteY121" fmla="*/ 1136799 h 2521493"/>
                <a:gd name="connsiteX122" fmla="*/ 1386414 w 2521502"/>
                <a:gd name="connsiteY122" fmla="*/ 1135123 h 2521493"/>
                <a:gd name="connsiteX123" fmla="*/ 1386362 w 2521502"/>
                <a:gd name="connsiteY123" fmla="*/ 1126900 h 2521493"/>
                <a:gd name="connsiteX124" fmla="*/ 1386484 w 2521502"/>
                <a:gd name="connsiteY124" fmla="*/ 1126777 h 2521493"/>
                <a:gd name="connsiteX125" fmla="*/ 1394707 w 2521502"/>
                <a:gd name="connsiteY125" fmla="*/ 1126725 h 2521493"/>
                <a:gd name="connsiteX126" fmla="*/ 1394760 w 2521502"/>
                <a:gd name="connsiteY126" fmla="*/ 1134948 h 2521493"/>
                <a:gd name="connsiteX127" fmla="*/ 1394637 w 2521502"/>
                <a:gd name="connsiteY127" fmla="*/ 1135071 h 2521493"/>
                <a:gd name="connsiteX128" fmla="*/ 1390500 w 2521502"/>
                <a:gd name="connsiteY128" fmla="*/ 1136799 h 2521493"/>
                <a:gd name="connsiteX129" fmla="*/ 1477045 w 2521502"/>
                <a:gd name="connsiteY129" fmla="*/ 1050271 h 2521493"/>
                <a:gd name="connsiteX130" fmla="*/ 1472960 w 2521502"/>
                <a:gd name="connsiteY130" fmla="*/ 1048595 h 2521493"/>
                <a:gd name="connsiteX131" fmla="*/ 1472907 w 2521502"/>
                <a:gd name="connsiteY131" fmla="*/ 1040372 h 2521493"/>
                <a:gd name="connsiteX132" fmla="*/ 1473030 w 2521502"/>
                <a:gd name="connsiteY132" fmla="*/ 1040249 h 2521493"/>
                <a:gd name="connsiteX133" fmla="*/ 1481253 w 2521502"/>
                <a:gd name="connsiteY133" fmla="*/ 1040197 h 2521493"/>
                <a:gd name="connsiteX134" fmla="*/ 1481305 w 2521502"/>
                <a:gd name="connsiteY134" fmla="*/ 1048420 h 2521493"/>
                <a:gd name="connsiteX135" fmla="*/ 1481183 w 2521502"/>
                <a:gd name="connsiteY135" fmla="*/ 1048542 h 2521493"/>
                <a:gd name="connsiteX136" fmla="*/ 1477045 w 2521502"/>
                <a:gd name="connsiteY136" fmla="*/ 1050271 h 2521493"/>
                <a:gd name="connsiteX137" fmla="*/ 1563626 w 2521502"/>
                <a:gd name="connsiteY137" fmla="*/ 963638 h 2521493"/>
                <a:gd name="connsiteX138" fmla="*/ 1559540 w 2521502"/>
                <a:gd name="connsiteY138" fmla="*/ 961962 h 2521493"/>
                <a:gd name="connsiteX139" fmla="*/ 1559488 w 2521502"/>
                <a:gd name="connsiteY139" fmla="*/ 953791 h 2521493"/>
                <a:gd name="connsiteX140" fmla="*/ 1559610 w 2521502"/>
                <a:gd name="connsiteY140" fmla="*/ 953669 h 2521493"/>
                <a:gd name="connsiteX141" fmla="*/ 1567834 w 2521502"/>
                <a:gd name="connsiteY141" fmla="*/ 953669 h 2521493"/>
                <a:gd name="connsiteX142" fmla="*/ 1567834 w 2521502"/>
                <a:gd name="connsiteY142" fmla="*/ 961892 h 2521493"/>
                <a:gd name="connsiteX143" fmla="*/ 1563626 w 2521502"/>
                <a:gd name="connsiteY143" fmla="*/ 963621 h 2521493"/>
                <a:gd name="connsiteX144" fmla="*/ 1650171 w 2521502"/>
                <a:gd name="connsiteY144" fmla="*/ 877092 h 2521493"/>
                <a:gd name="connsiteX145" fmla="*/ 1646086 w 2521502"/>
                <a:gd name="connsiteY145" fmla="*/ 875416 h 2521493"/>
                <a:gd name="connsiteX146" fmla="*/ 1646016 w 2521502"/>
                <a:gd name="connsiteY146" fmla="*/ 867245 h 2521493"/>
                <a:gd name="connsiteX147" fmla="*/ 1646138 w 2521502"/>
                <a:gd name="connsiteY147" fmla="*/ 867123 h 2521493"/>
                <a:gd name="connsiteX148" fmla="*/ 1654361 w 2521502"/>
                <a:gd name="connsiteY148" fmla="*/ 867123 h 2521493"/>
                <a:gd name="connsiteX149" fmla="*/ 1654361 w 2521502"/>
                <a:gd name="connsiteY149" fmla="*/ 875347 h 2521493"/>
                <a:gd name="connsiteX150" fmla="*/ 1650154 w 2521502"/>
                <a:gd name="connsiteY150" fmla="*/ 877075 h 2521493"/>
                <a:gd name="connsiteX151" fmla="*/ 1736682 w 2521502"/>
                <a:gd name="connsiteY151" fmla="*/ 790634 h 2521493"/>
                <a:gd name="connsiteX152" fmla="*/ 1732544 w 2521502"/>
                <a:gd name="connsiteY152" fmla="*/ 788906 h 2521493"/>
                <a:gd name="connsiteX153" fmla="*/ 1732597 w 2521502"/>
                <a:gd name="connsiteY153" fmla="*/ 780682 h 2521493"/>
                <a:gd name="connsiteX154" fmla="*/ 1732719 w 2521502"/>
                <a:gd name="connsiteY154" fmla="*/ 780560 h 2521493"/>
                <a:gd name="connsiteX155" fmla="*/ 1740942 w 2521502"/>
                <a:gd name="connsiteY155" fmla="*/ 780613 h 2521493"/>
                <a:gd name="connsiteX156" fmla="*/ 1740890 w 2521502"/>
                <a:gd name="connsiteY156" fmla="*/ 788836 h 2521493"/>
                <a:gd name="connsiteX157" fmla="*/ 1740767 w 2521502"/>
                <a:gd name="connsiteY157" fmla="*/ 788958 h 2521493"/>
                <a:gd name="connsiteX158" fmla="*/ 1736682 w 2521502"/>
                <a:gd name="connsiteY158" fmla="*/ 790634 h 2521493"/>
                <a:gd name="connsiteX159" fmla="*/ 1823210 w 2521502"/>
                <a:gd name="connsiteY159" fmla="*/ 704089 h 2521493"/>
                <a:gd name="connsiteX160" fmla="*/ 1819090 w 2521502"/>
                <a:gd name="connsiteY160" fmla="*/ 702378 h 2521493"/>
                <a:gd name="connsiteX161" fmla="*/ 1819090 w 2521502"/>
                <a:gd name="connsiteY161" fmla="*/ 694154 h 2521493"/>
                <a:gd name="connsiteX162" fmla="*/ 1819212 w 2521502"/>
                <a:gd name="connsiteY162" fmla="*/ 694032 h 2521493"/>
                <a:gd name="connsiteX163" fmla="*/ 1827435 w 2521502"/>
                <a:gd name="connsiteY163" fmla="*/ 694032 h 2521493"/>
                <a:gd name="connsiteX164" fmla="*/ 1827435 w 2521502"/>
                <a:gd name="connsiteY164" fmla="*/ 702255 h 2521493"/>
                <a:gd name="connsiteX165" fmla="*/ 1827313 w 2521502"/>
                <a:gd name="connsiteY165" fmla="*/ 702378 h 2521493"/>
                <a:gd name="connsiteX166" fmla="*/ 1823193 w 2521502"/>
                <a:gd name="connsiteY166" fmla="*/ 704089 h 2521493"/>
                <a:gd name="connsiteX167" fmla="*/ 1909791 w 2521502"/>
                <a:gd name="connsiteY167" fmla="*/ 617456 h 2521493"/>
                <a:gd name="connsiteX168" fmla="*/ 1905723 w 2521502"/>
                <a:gd name="connsiteY168" fmla="*/ 615797 h 2521493"/>
                <a:gd name="connsiteX169" fmla="*/ 1905635 w 2521502"/>
                <a:gd name="connsiteY169" fmla="*/ 607626 h 2521493"/>
                <a:gd name="connsiteX170" fmla="*/ 1905757 w 2521502"/>
                <a:gd name="connsiteY170" fmla="*/ 607504 h 2521493"/>
                <a:gd name="connsiteX171" fmla="*/ 1913981 w 2521502"/>
                <a:gd name="connsiteY171" fmla="*/ 607469 h 2521493"/>
                <a:gd name="connsiteX172" fmla="*/ 1914016 w 2521502"/>
                <a:gd name="connsiteY172" fmla="*/ 615692 h 2521493"/>
                <a:gd name="connsiteX173" fmla="*/ 1909791 w 2521502"/>
                <a:gd name="connsiteY173" fmla="*/ 617438 h 2521493"/>
                <a:gd name="connsiteX174" fmla="*/ 1996336 w 2521502"/>
                <a:gd name="connsiteY174" fmla="*/ 530928 h 2521493"/>
                <a:gd name="connsiteX175" fmla="*/ 1992269 w 2521502"/>
                <a:gd name="connsiteY175" fmla="*/ 529269 h 2521493"/>
                <a:gd name="connsiteX176" fmla="*/ 1992181 w 2521502"/>
                <a:gd name="connsiteY176" fmla="*/ 521098 h 2521493"/>
                <a:gd name="connsiteX177" fmla="*/ 1992304 w 2521502"/>
                <a:gd name="connsiteY177" fmla="*/ 520976 h 2521493"/>
                <a:gd name="connsiteX178" fmla="*/ 2000527 w 2521502"/>
                <a:gd name="connsiteY178" fmla="*/ 520941 h 2521493"/>
                <a:gd name="connsiteX179" fmla="*/ 2000562 w 2521502"/>
                <a:gd name="connsiteY179" fmla="*/ 529164 h 2521493"/>
                <a:gd name="connsiteX180" fmla="*/ 1996336 w 2521502"/>
                <a:gd name="connsiteY180" fmla="*/ 530910 h 2521493"/>
                <a:gd name="connsiteX181" fmla="*/ 2082847 w 2521502"/>
                <a:gd name="connsiteY181" fmla="*/ 444469 h 2521493"/>
                <a:gd name="connsiteX182" fmla="*/ 2078709 w 2521502"/>
                <a:gd name="connsiteY182" fmla="*/ 442741 h 2521493"/>
                <a:gd name="connsiteX183" fmla="*/ 2078762 w 2521502"/>
                <a:gd name="connsiteY183" fmla="*/ 434517 h 2521493"/>
                <a:gd name="connsiteX184" fmla="*/ 2078884 w 2521502"/>
                <a:gd name="connsiteY184" fmla="*/ 434395 h 2521493"/>
                <a:gd name="connsiteX185" fmla="*/ 2087107 w 2521502"/>
                <a:gd name="connsiteY185" fmla="*/ 434448 h 2521493"/>
                <a:gd name="connsiteX186" fmla="*/ 2087055 w 2521502"/>
                <a:gd name="connsiteY186" fmla="*/ 442671 h 2521493"/>
                <a:gd name="connsiteX187" fmla="*/ 2086932 w 2521502"/>
                <a:gd name="connsiteY187" fmla="*/ 442793 h 2521493"/>
                <a:gd name="connsiteX188" fmla="*/ 2082847 w 2521502"/>
                <a:gd name="connsiteY188" fmla="*/ 444469 h 2521493"/>
                <a:gd name="connsiteX189" fmla="*/ 2169392 w 2521502"/>
                <a:gd name="connsiteY189" fmla="*/ 357924 h 2521493"/>
                <a:gd name="connsiteX190" fmla="*/ 2165254 w 2521502"/>
                <a:gd name="connsiteY190" fmla="*/ 356195 h 2521493"/>
                <a:gd name="connsiteX191" fmla="*/ 2165307 w 2521502"/>
                <a:gd name="connsiteY191" fmla="*/ 347972 h 2521493"/>
                <a:gd name="connsiteX192" fmla="*/ 2165429 w 2521502"/>
                <a:gd name="connsiteY192" fmla="*/ 347850 h 2521493"/>
                <a:gd name="connsiteX193" fmla="*/ 2173652 w 2521502"/>
                <a:gd name="connsiteY193" fmla="*/ 347902 h 2521493"/>
                <a:gd name="connsiteX194" fmla="*/ 2173600 w 2521502"/>
                <a:gd name="connsiteY194" fmla="*/ 356125 h 2521493"/>
                <a:gd name="connsiteX195" fmla="*/ 2173478 w 2521502"/>
                <a:gd name="connsiteY195" fmla="*/ 356248 h 2521493"/>
                <a:gd name="connsiteX196" fmla="*/ 2169392 w 2521502"/>
                <a:gd name="connsiteY196" fmla="*/ 357924 h 2521493"/>
                <a:gd name="connsiteX197" fmla="*/ 2255956 w 2521502"/>
                <a:gd name="connsiteY197" fmla="*/ 271291 h 2521493"/>
                <a:gd name="connsiteX198" fmla="*/ 2251887 w 2521502"/>
                <a:gd name="connsiteY198" fmla="*/ 269632 h 2521493"/>
                <a:gd name="connsiteX199" fmla="*/ 2251800 w 2521502"/>
                <a:gd name="connsiteY199" fmla="*/ 261461 h 2521493"/>
                <a:gd name="connsiteX200" fmla="*/ 2251922 w 2521502"/>
                <a:gd name="connsiteY200" fmla="*/ 261339 h 2521493"/>
                <a:gd name="connsiteX201" fmla="*/ 2260146 w 2521502"/>
                <a:gd name="connsiteY201" fmla="*/ 261304 h 2521493"/>
                <a:gd name="connsiteX202" fmla="*/ 2260181 w 2521502"/>
                <a:gd name="connsiteY202" fmla="*/ 269527 h 2521493"/>
                <a:gd name="connsiteX203" fmla="*/ 2255956 w 2521502"/>
                <a:gd name="connsiteY203" fmla="*/ 271273 h 2521493"/>
                <a:gd name="connsiteX204" fmla="*/ 2342501 w 2521502"/>
                <a:gd name="connsiteY204" fmla="*/ 184745 h 2521493"/>
                <a:gd name="connsiteX205" fmla="*/ 2338434 w 2521502"/>
                <a:gd name="connsiteY205" fmla="*/ 183087 h 2521493"/>
                <a:gd name="connsiteX206" fmla="*/ 2338346 w 2521502"/>
                <a:gd name="connsiteY206" fmla="*/ 174916 h 2521493"/>
                <a:gd name="connsiteX207" fmla="*/ 2338469 w 2521502"/>
                <a:gd name="connsiteY207" fmla="*/ 174793 h 2521493"/>
                <a:gd name="connsiteX208" fmla="*/ 2346692 w 2521502"/>
                <a:gd name="connsiteY208" fmla="*/ 174758 h 2521493"/>
                <a:gd name="connsiteX209" fmla="*/ 2346727 w 2521502"/>
                <a:gd name="connsiteY209" fmla="*/ 182982 h 2521493"/>
                <a:gd name="connsiteX210" fmla="*/ 2342501 w 2521502"/>
                <a:gd name="connsiteY210" fmla="*/ 184728 h 2521493"/>
                <a:gd name="connsiteX211" fmla="*/ 2429012 w 2521502"/>
                <a:gd name="connsiteY211" fmla="*/ 98304 h 2521493"/>
                <a:gd name="connsiteX212" fmla="*/ 2424927 w 2521502"/>
                <a:gd name="connsiteY212" fmla="*/ 96628 h 2521493"/>
                <a:gd name="connsiteX213" fmla="*/ 2424874 w 2521502"/>
                <a:gd name="connsiteY213" fmla="*/ 88405 h 2521493"/>
                <a:gd name="connsiteX214" fmla="*/ 2424996 w 2521502"/>
                <a:gd name="connsiteY214" fmla="*/ 88283 h 2521493"/>
                <a:gd name="connsiteX215" fmla="*/ 2433220 w 2521502"/>
                <a:gd name="connsiteY215" fmla="*/ 88230 h 2521493"/>
                <a:gd name="connsiteX216" fmla="*/ 2433272 w 2521502"/>
                <a:gd name="connsiteY216" fmla="*/ 96454 h 2521493"/>
                <a:gd name="connsiteX217" fmla="*/ 2433150 w 2521502"/>
                <a:gd name="connsiteY217" fmla="*/ 96576 h 2521493"/>
                <a:gd name="connsiteX218" fmla="*/ 2429012 w 2521502"/>
                <a:gd name="connsiteY218" fmla="*/ 98304 h 2521493"/>
                <a:gd name="connsiteX219" fmla="*/ 2515592 w 2521502"/>
                <a:gd name="connsiteY219" fmla="*/ 11672 h 2521493"/>
                <a:gd name="connsiteX220" fmla="*/ 2511524 w 2521502"/>
                <a:gd name="connsiteY220" fmla="*/ 10013 h 2521493"/>
                <a:gd name="connsiteX221" fmla="*/ 2511437 w 2521502"/>
                <a:gd name="connsiteY221" fmla="*/ 1842 h 2521493"/>
                <a:gd name="connsiteX222" fmla="*/ 2511559 w 2521502"/>
                <a:gd name="connsiteY222" fmla="*/ 1720 h 2521493"/>
                <a:gd name="connsiteX223" fmla="*/ 2519782 w 2521502"/>
                <a:gd name="connsiteY223" fmla="*/ 1685 h 2521493"/>
                <a:gd name="connsiteX224" fmla="*/ 2519817 w 2521502"/>
                <a:gd name="connsiteY224" fmla="*/ 9908 h 2521493"/>
                <a:gd name="connsiteX225" fmla="*/ 2515592 w 2521502"/>
                <a:gd name="connsiteY225" fmla="*/ 11654 h 2521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2521502" h="2521493">
                  <a:moveTo>
                    <a:pt x="5822" y="2521494"/>
                  </a:moveTo>
                  <a:cubicBezTo>
                    <a:pt x="4339" y="2521494"/>
                    <a:pt x="2837" y="2520917"/>
                    <a:pt x="1702" y="2519783"/>
                  </a:cubicBezTo>
                  <a:cubicBezTo>
                    <a:pt x="-567" y="2517513"/>
                    <a:pt x="-567" y="2513829"/>
                    <a:pt x="1702" y="2511559"/>
                  </a:cubicBezTo>
                  <a:lnTo>
                    <a:pt x="1824" y="2511437"/>
                  </a:lnTo>
                  <a:cubicBezTo>
                    <a:pt x="4094" y="2509167"/>
                    <a:pt x="7778" y="2509167"/>
                    <a:pt x="10048" y="2511437"/>
                  </a:cubicBezTo>
                  <a:cubicBezTo>
                    <a:pt x="12317" y="2513707"/>
                    <a:pt x="12317" y="2517391"/>
                    <a:pt x="10048" y="2519660"/>
                  </a:cubicBezTo>
                  <a:lnTo>
                    <a:pt x="9926" y="2519783"/>
                  </a:lnTo>
                  <a:cubicBezTo>
                    <a:pt x="8791" y="2520917"/>
                    <a:pt x="7307" y="2521494"/>
                    <a:pt x="5805" y="2521494"/>
                  </a:cubicBezTo>
                  <a:close/>
                  <a:moveTo>
                    <a:pt x="92368" y="2434948"/>
                  </a:moveTo>
                  <a:cubicBezTo>
                    <a:pt x="90884" y="2434948"/>
                    <a:pt x="89383" y="2434372"/>
                    <a:pt x="88248" y="2433237"/>
                  </a:cubicBezTo>
                  <a:cubicBezTo>
                    <a:pt x="85978" y="2430967"/>
                    <a:pt x="85978" y="2427284"/>
                    <a:pt x="88248" y="2425014"/>
                  </a:cubicBezTo>
                  <a:lnTo>
                    <a:pt x="88370" y="2424891"/>
                  </a:lnTo>
                  <a:cubicBezTo>
                    <a:pt x="90640" y="2422622"/>
                    <a:pt x="94324" y="2422622"/>
                    <a:pt x="96593" y="2424891"/>
                  </a:cubicBezTo>
                  <a:cubicBezTo>
                    <a:pt x="98863" y="2427161"/>
                    <a:pt x="98863" y="2430845"/>
                    <a:pt x="96593" y="2433115"/>
                  </a:cubicBezTo>
                  <a:lnTo>
                    <a:pt x="96471" y="2433237"/>
                  </a:lnTo>
                  <a:cubicBezTo>
                    <a:pt x="95336" y="2434372"/>
                    <a:pt x="93852" y="2434948"/>
                    <a:pt x="92351" y="2434948"/>
                  </a:cubicBezTo>
                  <a:close/>
                  <a:moveTo>
                    <a:pt x="178949" y="2348315"/>
                  </a:moveTo>
                  <a:cubicBezTo>
                    <a:pt x="177465" y="2348315"/>
                    <a:pt x="175980" y="2347757"/>
                    <a:pt x="174863" y="2346639"/>
                  </a:cubicBezTo>
                  <a:cubicBezTo>
                    <a:pt x="172593" y="2344370"/>
                    <a:pt x="172524" y="2340738"/>
                    <a:pt x="174793" y="2338468"/>
                  </a:cubicBezTo>
                  <a:lnTo>
                    <a:pt x="174916" y="2338346"/>
                  </a:lnTo>
                  <a:cubicBezTo>
                    <a:pt x="177185" y="2336076"/>
                    <a:pt x="180869" y="2336076"/>
                    <a:pt x="183139" y="2338346"/>
                  </a:cubicBezTo>
                  <a:cubicBezTo>
                    <a:pt x="185409" y="2340616"/>
                    <a:pt x="185409" y="2344300"/>
                    <a:pt x="183139" y="2346569"/>
                  </a:cubicBezTo>
                  <a:cubicBezTo>
                    <a:pt x="181987" y="2347722"/>
                    <a:pt x="180450" y="2348298"/>
                    <a:pt x="178931" y="2348298"/>
                  </a:cubicBezTo>
                  <a:close/>
                  <a:moveTo>
                    <a:pt x="265477" y="2261770"/>
                  </a:moveTo>
                  <a:cubicBezTo>
                    <a:pt x="263993" y="2261770"/>
                    <a:pt x="262509" y="2261211"/>
                    <a:pt x="261391" y="2260094"/>
                  </a:cubicBezTo>
                  <a:cubicBezTo>
                    <a:pt x="259122" y="2257824"/>
                    <a:pt x="259052" y="2254192"/>
                    <a:pt x="261322" y="2251922"/>
                  </a:cubicBezTo>
                  <a:lnTo>
                    <a:pt x="261444" y="2251801"/>
                  </a:lnTo>
                  <a:cubicBezTo>
                    <a:pt x="263713" y="2249531"/>
                    <a:pt x="267397" y="2249531"/>
                    <a:pt x="269667" y="2251801"/>
                  </a:cubicBezTo>
                  <a:cubicBezTo>
                    <a:pt x="271937" y="2254070"/>
                    <a:pt x="271937" y="2257754"/>
                    <a:pt x="269667" y="2260024"/>
                  </a:cubicBezTo>
                  <a:cubicBezTo>
                    <a:pt x="268515" y="2261176"/>
                    <a:pt x="266978" y="2261752"/>
                    <a:pt x="265459" y="2261752"/>
                  </a:cubicBezTo>
                  <a:close/>
                  <a:moveTo>
                    <a:pt x="352022" y="2175224"/>
                  </a:moveTo>
                  <a:cubicBezTo>
                    <a:pt x="350539" y="2175224"/>
                    <a:pt x="349054" y="2174665"/>
                    <a:pt x="347937" y="2173548"/>
                  </a:cubicBezTo>
                  <a:cubicBezTo>
                    <a:pt x="345667" y="2171278"/>
                    <a:pt x="345597" y="2167647"/>
                    <a:pt x="347867" y="2165377"/>
                  </a:cubicBezTo>
                  <a:lnTo>
                    <a:pt x="347989" y="2165255"/>
                  </a:lnTo>
                  <a:cubicBezTo>
                    <a:pt x="350259" y="2162985"/>
                    <a:pt x="353943" y="2162985"/>
                    <a:pt x="356213" y="2165255"/>
                  </a:cubicBezTo>
                  <a:cubicBezTo>
                    <a:pt x="358482" y="2167525"/>
                    <a:pt x="358482" y="2171208"/>
                    <a:pt x="356213" y="2173478"/>
                  </a:cubicBezTo>
                  <a:cubicBezTo>
                    <a:pt x="355060" y="2174630"/>
                    <a:pt x="353524" y="2175206"/>
                    <a:pt x="352005" y="2175206"/>
                  </a:cubicBezTo>
                  <a:close/>
                  <a:moveTo>
                    <a:pt x="438533" y="2088766"/>
                  </a:moveTo>
                  <a:cubicBezTo>
                    <a:pt x="437049" y="2088766"/>
                    <a:pt x="435548" y="2088189"/>
                    <a:pt x="434413" y="2087055"/>
                  </a:cubicBezTo>
                  <a:cubicBezTo>
                    <a:pt x="432143" y="2084785"/>
                    <a:pt x="432143" y="2081101"/>
                    <a:pt x="434413" y="2078831"/>
                  </a:cubicBezTo>
                  <a:lnTo>
                    <a:pt x="434535" y="2078709"/>
                  </a:lnTo>
                  <a:cubicBezTo>
                    <a:pt x="436805" y="2076439"/>
                    <a:pt x="440488" y="2076439"/>
                    <a:pt x="442758" y="2078709"/>
                  </a:cubicBezTo>
                  <a:cubicBezTo>
                    <a:pt x="445028" y="2080979"/>
                    <a:pt x="445028" y="2084663"/>
                    <a:pt x="442758" y="2086932"/>
                  </a:cubicBezTo>
                  <a:lnTo>
                    <a:pt x="442636" y="2087055"/>
                  </a:lnTo>
                  <a:cubicBezTo>
                    <a:pt x="441501" y="2088189"/>
                    <a:pt x="440017" y="2088766"/>
                    <a:pt x="438516" y="2088766"/>
                  </a:cubicBezTo>
                  <a:close/>
                  <a:moveTo>
                    <a:pt x="525079" y="2002237"/>
                  </a:moveTo>
                  <a:cubicBezTo>
                    <a:pt x="523595" y="2002237"/>
                    <a:pt x="522093" y="2001661"/>
                    <a:pt x="520958" y="2000526"/>
                  </a:cubicBezTo>
                  <a:cubicBezTo>
                    <a:pt x="518688" y="1998257"/>
                    <a:pt x="518688" y="1994573"/>
                    <a:pt x="520958" y="1992303"/>
                  </a:cubicBezTo>
                  <a:lnTo>
                    <a:pt x="521081" y="1992181"/>
                  </a:lnTo>
                  <a:cubicBezTo>
                    <a:pt x="523350" y="1989911"/>
                    <a:pt x="527034" y="1989911"/>
                    <a:pt x="529304" y="1992181"/>
                  </a:cubicBezTo>
                  <a:cubicBezTo>
                    <a:pt x="531574" y="1994451"/>
                    <a:pt x="531574" y="1998135"/>
                    <a:pt x="529304" y="2000404"/>
                  </a:cubicBezTo>
                  <a:lnTo>
                    <a:pt x="529182" y="2000526"/>
                  </a:lnTo>
                  <a:cubicBezTo>
                    <a:pt x="528047" y="2001661"/>
                    <a:pt x="526563" y="2002237"/>
                    <a:pt x="525061" y="2002237"/>
                  </a:cubicBezTo>
                  <a:close/>
                  <a:moveTo>
                    <a:pt x="611624" y="1915692"/>
                  </a:moveTo>
                  <a:cubicBezTo>
                    <a:pt x="610140" y="1915692"/>
                    <a:pt x="608674" y="1915133"/>
                    <a:pt x="607539" y="1914016"/>
                  </a:cubicBezTo>
                  <a:cubicBezTo>
                    <a:pt x="605252" y="1911764"/>
                    <a:pt x="605217" y="1908080"/>
                    <a:pt x="607487" y="1905792"/>
                  </a:cubicBezTo>
                  <a:lnTo>
                    <a:pt x="607609" y="1905670"/>
                  </a:lnTo>
                  <a:cubicBezTo>
                    <a:pt x="609861" y="1903383"/>
                    <a:pt x="613545" y="1903348"/>
                    <a:pt x="615832" y="1905618"/>
                  </a:cubicBezTo>
                  <a:cubicBezTo>
                    <a:pt x="618119" y="1907870"/>
                    <a:pt x="618154" y="1911554"/>
                    <a:pt x="615885" y="1913841"/>
                  </a:cubicBezTo>
                  <a:lnTo>
                    <a:pt x="615762" y="1913964"/>
                  </a:lnTo>
                  <a:cubicBezTo>
                    <a:pt x="614628" y="1915116"/>
                    <a:pt x="613126" y="1915692"/>
                    <a:pt x="611624" y="1915692"/>
                  </a:cubicBezTo>
                  <a:close/>
                  <a:moveTo>
                    <a:pt x="698205" y="1829059"/>
                  </a:moveTo>
                  <a:cubicBezTo>
                    <a:pt x="696721" y="1829059"/>
                    <a:pt x="695237" y="1828500"/>
                    <a:pt x="694119" y="1827383"/>
                  </a:cubicBezTo>
                  <a:cubicBezTo>
                    <a:pt x="691850" y="1825113"/>
                    <a:pt x="691780" y="1821482"/>
                    <a:pt x="694050" y="1819212"/>
                  </a:cubicBezTo>
                  <a:lnTo>
                    <a:pt x="694172" y="1819090"/>
                  </a:lnTo>
                  <a:cubicBezTo>
                    <a:pt x="696441" y="1816820"/>
                    <a:pt x="700125" y="1816820"/>
                    <a:pt x="702395" y="1819090"/>
                  </a:cubicBezTo>
                  <a:cubicBezTo>
                    <a:pt x="704665" y="1821360"/>
                    <a:pt x="704665" y="1825043"/>
                    <a:pt x="702395" y="1827313"/>
                  </a:cubicBezTo>
                  <a:cubicBezTo>
                    <a:pt x="701243" y="1828465"/>
                    <a:pt x="699706" y="1829042"/>
                    <a:pt x="698187" y="1829042"/>
                  </a:cubicBezTo>
                  <a:close/>
                  <a:moveTo>
                    <a:pt x="784733" y="1742513"/>
                  </a:moveTo>
                  <a:cubicBezTo>
                    <a:pt x="783249" y="1742513"/>
                    <a:pt x="781765" y="1741955"/>
                    <a:pt x="780647" y="1740837"/>
                  </a:cubicBezTo>
                  <a:cubicBezTo>
                    <a:pt x="778378" y="1738567"/>
                    <a:pt x="778308" y="1734936"/>
                    <a:pt x="780578" y="1732666"/>
                  </a:cubicBezTo>
                  <a:lnTo>
                    <a:pt x="780700" y="1732544"/>
                  </a:lnTo>
                  <a:cubicBezTo>
                    <a:pt x="782970" y="1730274"/>
                    <a:pt x="786653" y="1730274"/>
                    <a:pt x="788923" y="1732544"/>
                  </a:cubicBezTo>
                  <a:cubicBezTo>
                    <a:pt x="791193" y="1734814"/>
                    <a:pt x="791193" y="1738498"/>
                    <a:pt x="788923" y="1740767"/>
                  </a:cubicBezTo>
                  <a:cubicBezTo>
                    <a:pt x="787771" y="1741920"/>
                    <a:pt x="786234" y="1742496"/>
                    <a:pt x="784716" y="1742496"/>
                  </a:cubicBezTo>
                  <a:close/>
                  <a:moveTo>
                    <a:pt x="871244" y="1656055"/>
                  </a:moveTo>
                  <a:cubicBezTo>
                    <a:pt x="869760" y="1656055"/>
                    <a:pt x="868258" y="1655479"/>
                    <a:pt x="867123" y="1654344"/>
                  </a:cubicBezTo>
                  <a:cubicBezTo>
                    <a:pt x="864853" y="1652075"/>
                    <a:pt x="864853" y="1648391"/>
                    <a:pt x="867123" y="1646121"/>
                  </a:cubicBezTo>
                  <a:lnTo>
                    <a:pt x="867246" y="1645999"/>
                  </a:lnTo>
                  <a:cubicBezTo>
                    <a:pt x="869515" y="1643729"/>
                    <a:pt x="873199" y="1643729"/>
                    <a:pt x="875469" y="1645999"/>
                  </a:cubicBezTo>
                  <a:cubicBezTo>
                    <a:pt x="877739" y="1648268"/>
                    <a:pt x="877739" y="1651952"/>
                    <a:pt x="875469" y="1654222"/>
                  </a:cubicBezTo>
                  <a:lnTo>
                    <a:pt x="875346" y="1654344"/>
                  </a:lnTo>
                  <a:cubicBezTo>
                    <a:pt x="874212" y="1655479"/>
                    <a:pt x="872728" y="1656055"/>
                    <a:pt x="871226" y="1656055"/>
                  </a:cubicBezTo>
                  <a:close/>
                  <a:moveTo>
                    <a:pt x="957789" y="1569527"/>
                  </a:moveTo>
                  <a:cubicBezTo>
                    <a:pt x="956305" y="1569527"/>
                    <a:pt x="954804" y="1568951"/>
                    <a:pt x="953669" y="1567816"/>
                  </a:cubicBezTo>
                  <a:cubicBezTo>
                    <a:pt x="951399" y="1565546"/>
                    <a:pt x="951399" y="1561862"/>
                    <a:pt x="953669" y="1559593"/>
                  </a:cubicBezTo>
                  <a:lnTo>
                    <a:pt x="953791" y="1559471"/>
                  </a:lnTo>
                  <a:cubicBezTo>
                    <a:pt x="956061" y="1557201"/>
                    <a:pt x="959745" y="1557201"/>
                    <a:pt x="962014" y="1559471"/>
                  </a:cubicBezTo>
                  <a:cubicBezTo>
                    <a:pt x="964284" y="1561740"/>
                    <a:pt x="964284" y="1565424"/>
                    <a:pt x="962014" y="1567694"/>
                  </a:cubicBezTo>
                  <a:lnTo>
                    <a:pt x="961892" y="1567816"/>
                  </a:lnTo>
                  <a:cubicBezTo>
                    <a:pt x="960757" y="1568951"/>
                    <a:pt x="959273" y="1569527"/>
                    <a:pt x="957772" y="1569527"/>
                  </a:cubicBezTo>
                  <a:close/>
                  <a:moveTo>
                    <a:pt x="1044370" y="1482877"/>
                  </a:moveTo>
                  <a:cubicBezTo>
                    <a:pt x="1042886" y="1482877"/>
                    <a:pt x="1041402" y="1482318"/>
                    <a:pt x="1040284" y="1481201"/>
                  </a:cubicBezTo>
                  <a:cubicBezTo>
                    <a:pt x="1038015" y="1478931"/>
                    <a:pt x="1037945" y="1475300"/>
                    <a:pt x="1040214" y="1473030"/>
                  </a:cubicBezTo>
                  <a:lnTo>
                    <a:pt x="1040337" y="1472907"/>
                  </a:lnTo>
                  <a:cubicBezTo>
                    <a:pt x="1042606" y="1470638"/>
                    <a:pt x="1046290" y="1470638"/>
                    <a:pt x="1048560" y="1472907"/>
                  </a:cubicBezTo>
                  <a:cubicBezTo>
                    <a:pt x="1050830" y="1475177"/>
                    <a:pt x="1050830" y="1478861"/>
                    <a:pt x="1048560" y="1481131"/>
                  </a:cubicBezTo>
                  <a:cubicBezTo>
                    <a:pt x="1047408" y="1482283"/>
                    <a:pt x="1045871" y="1482859"/>
                    <a:pt x="1044352" y="1482859"/>
                  </a:cubicBezTo>
                  <a:close/>
                  <a:moveTo>
                    <a:pt x="1130915" y="1396348"/>
                  </a:moveTo>
                  <a:cubicBezTo>
                    <a:pt x="1129431" y="1396348"/>
                    <a:pt x="1127947" y="1395790"/>
                    <a:pt x="1126830" y="1394672"/>
                  </a:cubicBezTo>
                  <a:cubicBezTo>
                    <a:pt x="1124560" y="1392403"/>
                    <a:pt x="1124490" y="1388771"/>
                    <a:pt x="1126760" y="1386502"/>
                  </a:cubicBezTo>
                  <a:lnTo>
                    <a:pt x="1126882" y="1386379"/>
                  </a:lnTo>
                  <a:cubicBezTo>
                    <a:pt x="1129152" y="1384110"/>
                    <a:pt x="1132836" y="1384110"/>
                    <a:pt x="1135106" y="1386379"/>
                  </a:cubicBezTo>
                  <a:cubicBezTo>
                    <a:pt x="1137375" y="1388649"/>
                    <a:pt x="1137375" y="1392333"/>
                    <a:pt x="1135106" y="1394602"/>
                  </a:cubicBezTo>
                  <a:cubicBezTo>
                    <a:pt x="1133953" y="1395755"/>
                    <a:pt x="1132417" y="1396331"/>
                    <a:pt x="1130898" y="1396331"/>
                  </a:cubicBezTo>
                  <a:close/>
                  <a:moveTo>
                    <a:pt x="1217426" y="1309890"/>
                  </a:moveTo>
                  <a:cubicBezTo>
                    <a:pt x="1215925" y="1309890"/>
                    <a:pt x="1214423" y="1309314"/>
                    <a:pt x="1213288" y="1308162"/>
                  </a:cubicBezTo>
                  <a:cubicBezTo>
                    <a:pt x="1211036" y="1305875"/>
                    <a:pt x="1211053" y="1302191"/>
                    <a:pt x="1213341" y="1299938"/>
                  </a:cubicBezTo>
                  <a:lnTo>
                    <a:pt x="1213463" y="1299816"/>
                  </a:lnTo>
                  <a:cubicBezTo>
                    <a:pt x="1215750" y="1297564"/>
                    <a:pt x="1219434" y="1297582"/>
                    <a:pt x="1221686" y="1299869"/>
                  </a:cubicBezTo>
                  <a:cubicBezTo>
                    <a:pt x="1223938" y="1302156"/>
                    <a:pt x="1223921" y="1305840"/>
                    <a:pt x="1221634" y="1308092"/>
                  </a:cubicBezTo>
                  <a:lnTo>
                    <a:pt x="1221511" y="1308214"/>
                  </a:lnTo>
                  <a:cubicBezTo>
                    <a:pt x="1220377" y="1309332"/>
                    <a:pt x="1218893" y="1309890"/>
                    <a:pt x="1217426" y="1309890"/>
                  </a:cubicBezTo>
                  <a:close/>
                  <a:moveTo>
                    <a:pt x="1303954" y="1223345"/>
                  </a:moveTo>
                  <a:cubicBezTo>
                    <a:pt x="1302453" y="1223345"/>
                    <a:pt x="1300951" y="1222768"/>
                    <a:pt x="1299816" y="1221616"/>
                  </a:cubicBezTo>
                  <a:cubicBezTo>
                    <a:pt x="1297564" y="1219329"/>
                    <a:pt x="1297582" y="1215645"/>
                    <a:pt x="1299869" y="1213393"/>
                  </a:cubicBezTo>
                  <a:lnTo>
                    <a:pt x="1299991" y="1213271"/>
                  </a:lnTo>
                  <a:cubicBezTo>
                    <a:pt x="1302278" y="1211018"/>
                    <a:pt x="1305962" y="1211036"/>
                    <a:pt x="1308214" y="1213323"/>
                  </a:cubicBezTo>
                  <a:cubicBezTo>
                    <a:pt x="1310466" y="1215610"/>
                    <a:pt x="1310449" y="1219294"/>
                    <a:pt x="1308162" y="1221546"/>
                  </a:cubicBezTo>
                  <a:lnTo>
                    <a:pt x="1308040" y="1221669"/>
                  </a:lnTo>
                  <a:cubicBezTo>
                    <a:pt x="1306905" y="1222786"/>
                    <a:pt x="1305421" y="1223345"/>
                    <a:pt x="1303954" y="1223345"/>
                  </a:cubicBezTo>
                  <a:close/>
                  <a:moveTo>
                    <a:pt x="1390500" y="1136799"/>
                  </a:moveTo>
                  <a:cubicBezTo>
                    <a:pt x="1389016" y="1136799"/>
                    <a:pt x="1387549" y="1136240"/>
                    <a:pt x="1386414" y="1135123"/>
                  </a:cubicBezTo>
                  <a:cubicBezTo>
                    <a:pt x="1384127" y="1132871"/>
                    <a:pt x="1384092" y="1129187"/>
                    <a:pt x="1386362" y="1126900"/>
                  </a:cubicBezTo>
                  <a:lnTo>
                    <a:pt x="1386484" y="1126777"/>
                  </a:lnTo>
                  <a:cubicBezTo>
                    <a:pt x="1388736" y="1124490"/>
                    <a:pt x="1392420" y="1124473"/>
                    <a:pt x="1394707" y="1126725"/>
                  </a:cubicBezTo>
                  <a:cubicBezTo>
                    <a:pt x="1396995" y="1128977"/>
                    <a:pt x="1397029" y="1132661"/>
                    <a:pt x="1394760" y="1134948"/>
                  </a:cubicBezTo>
                  <a:lnTo>
                    <a:pt x="1394637" y="1135071"/>
                  </a:lnTo>
                  <a:cubicBezTo>
                    <a:pt x="1393503" y="1136223"/>
                    <a:pt x="1392001" y="1136799"/>
                    <a:pt x="1390500" y="1136799"/>
                  </a:cubicBezTo>
                  <a:close/>
                  <a:moveTo>
                    <a:pt x="1477045" y="1050271"/>
                  </a:moveTo>
                  <a:cubicBezTo>
                    <a:pt x="1475561" y="1050271"/>
                    <a:pt x="1474094" y="1049712"/>
                    <a:pt x="1472960" y="1048595"/>
                  </a:cubicBezTo>
                  <a:cubicBezTo>
                    <a:pt x="1470673" y="1046342"/>
                    <a:pt x="1470638" y="1042659"/>
                    <a:pt x="1472907" y="1040372"/>
                  </a:cubicBezTo>
                  <a:lnTo>
                    <a:pt x="1473030" y="1040249"/>
                  </a:lnTo>
                  <a:cubicBezTo>
                    <a:pt x="1475282" y="1037962"/>
                    <a:pt x="1478966" y="1037945"/>
                    <a:pt x="1481253" y="1040197"/>
                  </a:cubicBezTo>
                  <a:cubicBezTo>
                    <a:pt x="1483540" y="1042449"/>
                    <a:pt x="1483575" y="1046133"/>
                    <a:pt x="1481305" y="1048420"/>
                  </a:cubicBezTo>
                  <a:lnTo>
                    <a:pt x="1481183" y="1048542"/>
                  </a:lnTo>
                  <a:cubicBezTo>
                    <a:pt x="1480048" y="1049695"/>
                    <a:pt x="1478547" y="1050271"/>
                    <a:pt x="1477045" y="1050271"/>
                  </a:cubicBezTo>
                  <a:close/>
                  <a:moveTo>
                    <a:pt x="1563626" y="963638"/>
                  </a:moveTo>
                  <a:cubicBezTo>
                    <a:pt x="1562142" y="963638"/>
                    <a:pt x="1560658" y="963079"/>
                    <a:pt x="1559540" y="961962"/>
                  </a:cubicBezTo>
                  <a:cubicBezTo>
                    <a:pt x="1557271" y="959692"/>
                    <a:pt x="1557201" y="956061"/>
                    <a:pt x="1559488" y="953791"/>
                  </a:cubicBezTo>
                  <a:lnTo>
                    <a:pt x="1559610" y="953669"/>
                  </a:lnTo>
                  <a:cubicBezTo>
                    <a:pt x="1561880" y="951399"/>
                    <a:pt x="1565564" y="951399"/>
                    <a:pt x="1567834" y="953669"/>
                  </a:cubicBezTo>
                  <a:cubicBezTo>
                    <a:pt x="1570103" y="955938"/>
                    <a:pt x="1570103" y="959622"/>
                    <a:pt x="1567834" y="961892"/>
                  </a:cubicBezTo>
                  <a:cubicBezTo>
                    <a:pt x="1566681" y="963044"/>
                    <a:pt x="1565145" y="963621"/>
                    <a:pt x="1563626" y="963621"/>
                  </a:cubicBezTo>
                  <a:close/>
                  <a:moveTo>
                    <a:pt x="1650171" y="877092"/>
                  </a:moveTo>
                  <a:cubicBezTo>
                    <a:pt x="1648687" y="877092"/>
                    <a:pt x="1647203" y="876534"/>
                    <a:pt x="1646086" y="875416"/>
                  </a:cubicBezTo>
                  <a:cubicBezTo>
                    <a:pt x="1643816" y="873147"/>
                    <a:pt x="1643746" y="869515"/>
                    <a:pt x="1646016" y="867245"/>
                  </a:cubicBezTo>
                  <a:lnTo>
                    <a:pt x="1646138" y="867123"/>
                  </a:lnTo>
                  <a:cubicBezTo>
                    <a:pt x="1648408" y="864853"/>
                    <a:pt x="1652092" y="864853"/>
                    <a:pt x="1654361" y="867123"/>
                  </a:cubicBezTo>
                  <a:cubicBezTo>
                    <a:pt x="1656631" y="869393"/>
                    <a:pt x="1656631" y="873077"/>
                    <a:pt x="1654361" y="875347"/>
                  </a:cubicBezTo>
                  <a:cubicBezTo>
                    <a:pt x="1653209" y="876499"/>
                    <a:pt x="1651673" y="877075"/>
                    <a:pt x="1650154" y="877075"/>
                  </a:cubicBezTo>
                  <a:close/>
                  <a:moveTo>
                    <a:pt x="1736682" y="790634"/>
                  </a:moveTo>
                  <a:cubicBezTo>
                    <a:pt x="1735180" y="790634"/>
                    <a:pt x="1733679" y="790058"/>
                    <a:pt x="1732544" y="788906"/>
                  </a:cubicBezTo>
                  <a:cubicBezTo>
                    <a:pt x="1730292" y="786619"/>
                    <a:pt x="1730309" y="782935"/>
                    <a:pt x="1732597" y="780682"/>
                  </a:cubicBezTo>
                  <a:lnTo>
                    <a:pt x="1732719" y="780560"/>
                  </a:lnTo>
                  <a:cubicBezTo>
                    <a:pt x="1735006" y="778308"/>
                    <a:pt x="1738690" y="778325"/>
                    <a:pt x="1740942" y="780613"/>
                  </a:cubicBezTo>
                  <a:cubicBezTo>
                    <a:pt x="1743194" y="782900"/>
                    <a:pt x="1743177" y="786584"/>
                    <a:pt x="1740890" y="788836"/>
                  </a:cubicBezTo>
                  <a:lnTo>
                    <a:pt x="1740767" y="788958"/>
                  </a:lnTo>
                  <a:cubicBezTo>
                    <a:pt x="1739633" y="790076"/>
                    <a:pt x="1738148" y="790634"/>
                    <a:pt x="1736682" y="790634"/>
                  </a:cubicBezTo>
                  <a:close/>
                  <a:moveTo>
                    <a:pt x="1823210" y="704089"/>
                  </a:moveTo>
                  <a:cubicBezTo>
                    <a:pt x="1821726" y="704089"/>
                    <a:pt x="1820224" y="703513"/>
                    <a:pt x="1819090" y="702378"/>
                  </a:cubicBezTo>
                  <a:cubicBezTo>
                    <a:pt x="1816820" y="700108"/>
                    <a:pt x="1816820" y="696424"/>
                    <a:pt x="1819090" y="694154"/>
                  </a:cubicBezTo>
                  <a:lnTo>
                    <a:pt x="1819212" y="694032"/>
                  </a:lnTo>
                  <a:cubicBezTo>
                    <a:pt x="1821482" y="691762"/>
                    <a:pt x="1825166" y="691762"/>
                    <a:pt x="1827435" y="694032"/>
                  </a:cubicBezTo>
                  <a:cubicBezTo>
                    <a:pt x="1829705" y="696302"/>
                    <a:pt x="1829705" y="699986"/>
                    <a:pt x="1827435" y="702255"/>
                  </a:cubicBezTo>
                  <a:lnTo>
                    <a:pt x="1827313" y="702378"/>
                  </a:lnTo>
                  <a:cubicBezTo>
                    <a:pt x="1826178" y="703513"/>
                    <a:pt x="1824694" y="704089"/>
                    <a:pt x="1823193" y="704089"/>
                  </a:cubicBezTo>
                  <a:close/>
                  <a:moveTo>
                    <a:pt x="1909791" y="617456"/>
                  </a:moveTo>
                  <a:cubicBezTo>
                    <a:pt x="1908307" y="617456"/>
                    <a:pt x="1906840" y="616914"/>
                    <a:pt x="1905723" y="615797"/>
                  </a:cubicBezTo>
                  <a:cubicBezTo>
                    <a:pt x="1903436" y="613527"/>
                    <a:pt x="1903366" y="609913"/>
                    <a:pt x="1905635" y="607626"/>
                  </a:cubicBezTo>
                  <a:lnTo>
                    <a:pt x="1905757" y="607504"/>
                  </a:lnTo>
                  <a:cubicBezTo>
                    <a:pt x="1908027" y="605217"/>
                    <a:pt x="1911711" y="605217"/>
                    <a:pt x="1913981" y="607469"/>
                  </a:cubicBezTo>
                  <a:cubicBezTo>
                    <a:pt x="1916268" y="609739"/>
                    <a:pt x="1916268" y="613423"/>
                    <a:pt x="1914016" y="615692"/>
                  </a:cubicBezTo>
                  <a:cubicBezTo>
                    <a:pt x="1912863" y="616862"/>
                    <a:pt x="1911327" y="617438"/>
                    <a:pt x="1909791" y="617438"/>
                  </a:cubicBezTo>
                  <a:close/>
                  <a:moveTo>
                    <a:pt x="1996336" y="530928"/>
                  </a:moveTo>
                  <a:cubicBezTo>
                    <a:pt x="1994853" y="530928"/>
                    <a:pt x="1993385" y="530386"/>
                    <a:pt x="1992269" y="529269"/>
                  </a:cubicBezTo>
                  <a:cubicBezTo>
                    <a:pt x="1989981" y="526999"/>
                    <a:pt x="1989911" y="523385"/>
                    <a:pt x="1992181" y="521098"/>
                  </a:cubicBezTo>
                  <a:lnTo>
                    <a:pt x="1992304" y="520976"/>
                  </a:lnTo>
                  <a:cubicBezTo>
                    <a:pt x="1994573" y="518689"/>
                    <a:pt x="1998257" y="518689"/>
                    <a:pt x="2000527" y="520941"/>
                  </a:cubicBezTo>
                  <a:cubicBezTo>
                    <a:pt x="2002814" y="523211"/>
                    <a:pt x="2002814" y="526895"/>
                    <a:pt x="2000562" y="529164"/>
                  </a:cubicBezTo>
                  <a:cubicBezTo>
                    <a:pt x="1999409" y="530316"/>
                    <a:pt x="1997873" y="530910"/>
                    <a:pt x="1996336" y="530910"/>
                  </a:cubicBezTo>
                  <a:close/>
                  <a:moveTo>
                    <a:pt x="2082847" y="444469"/>
                  </a:moveTo>
                  <a:cubicBezTo>
                    <a:pt x="2081346" y="444469"/>
                    <a:pt x="2079844" y="443893"/>
                    <a:pt x="2078709" y="442741"/>
                  </a:cubicBezTo>
                  <a:cubicBezTo>
                    <a:pt x="2076457" y="440454"/>
                    <a:pt x="2076475" y="436770"/>
                    <a:pt x="2078762" y="434517"/>
                  </a:cubicBezTo>
                  <a:lnTo>
                    <a:pt x="2078884" y="434395"/>
                  </a:lnTo>
                  <a:cubicBezTo>
                    <a:pt x="2081171" y="432143"/>
                    <a:pt x="2084855" y="432161"/>
                    <a:pt x="2087107" y="434448"/>
                  </a:cubicBezTo>
                  <a:cubicBezTo>
                    <a:pt x="2089359" y="436735"/>
                    <a:pt x="2089341" y="440419"/>
                    <a:pt x="2087055" y="442671"/>
                  </a:cubicBezTo>
                  <a:lnTo>
                    <a:pt x="2086932" y="442793"/>
                  </a:lnTo>
                  <a:cubicBezTo>
                    <a:pt x="2085798" y="443911"/>
                    <a:pt x="2084313" y="444469"/>
                    <a:pt x="2082847" y="444469"/>
                  </a:cubicBezTo>
                  <a:close/>
                  <a:moveTo>
                    <a:pt x="2169392" y="357924"/>
                  </a:moveTo>
                  <a:cubicBezTo>
                    <a:pt x="2167891" y="357924"/>
                    <a:pt x="2166390" y="357348"/>
                    <a:pt x="2165254" y="356195"/>
                  </a:cubicBezTo>
                  <a:cubicBezTo>
                    <a:pt x="2163003" y="353908"/>
                    <a:pt x="2163020" y="350224"/>
                    <a:pt x="2165307" y="347972"/>
                  </a:cubicBezTo>
                  <a:lnTo>
                    <a:pt x="2165429" y="347850"/>
                  </a:lnTo>
                  <a:cubicBezTo>
                    <a:pt x="2167716" y="345598"/>
                    <a:pt x="2171400" y="345615"/>
                    <a:pt x="2173652" y="347902"/>
                  </a:cubicBezTo>
                  <a:cubicBezTo>
                    <a:pt x="2175905" y="350189"/>
                    <a:pt x="2175888" y="353873"/>
                    <a:pt x="2173600" y="356125"/>
                  </a:cubicBezTo>
                  <a:lnTo>
                    <a:pt x="2173478" y="356248"/>
                  </a:lnTo>
                  <a:cubicBezTo>
                    <a:pt x="2172343" y="357365"/>
                    <a:pt x="2170860" y="357924"/>
                    <a:pt x="2169392" y="357924"/>
                  </a:cubicBezTo>
                  <a:close/>
                  <a:moveTo>
                    <a:pt x="2255956" y="271291"/>
                  </a:moveTo>
                  <a:cubicBezTo>
                    <a:pt x="2254471" y="271291"/>
                    <a:pt x="2253005" y="270750"/>
                    <a:pt x="2251887" y="269632"/>
                  </a:cubicBezTo>
                  <a:cubicBezTo>
                    <a:pt x="2249600" y="267362"/>
                    <a:pt x="2249530" y="263749"/>
                    <a:pt x="2251800" y="261461"/>
                  </a:cubicBezTo>
                  <a:lnTo>
                    <a:pt x="2251922" y="261339"/>
                  </a:lnTo>
                  <a:cubicBezTo>
                    <a:pt x="2254193" y="259052"/>
                    <a:pt x="2257876" y="259052"/>
                    <a:pt x="2260146" y="261304"/>
                  </a:cubicBezTo>
                  <a:cubicBezTo>
                    <a:pt x="2262433" y="263574"/>
                    <a:pt x="2262433" y="267258"/>
                    <a:pt x="2260181" y="269527"/>
                  </a:cubicBezTo>
                  <a:cubicBezTo>
                    <a:pt x="2259029" y="270680"/>
                    <a:pt x="2257492" y="271273"/>
                    <a:pt x="2255956" y="271273"/>
                  </a:cubicBezTo>
                  <a:close/>
                  <a:moveTo>
                    <a:pt x="2342501" y="184745"/>
                  </a:moveTo>
                  <a:cubicBezTo>
                    <a:pt x="2341018" y="184745"/>
                    <a:pt x="2339550" y="184204"/>
                    <a:pt x="2338434" y="183087"/>
                  </a:cubicBezTo>
                  <a:cubicBezTo>
                    <a:pt x="2336146" y="180817"/>
                    <a:pt x="2336076" y="177203"/>
                    <a:pt x="2338346" y="174916"/>
                  </a:cubicBezTo>
                  <a:lnTo>
                    <a:pt x="2338469" y="174793"/>
                  </a:lnTo>
                  <a:cubicBezTo>
                    <a:pt x="2340738" y="172506"/>
                    <a:pt x="2344422" y="172506"/>
                    <a:pt x="2346692" y="174758"/>
                  </a:cubicBezTo>
                  <a:cubicBezTo>
                    <a:pt x="2348979" y="177028"/>
                    <a:pt x="2348979" y="180712"/>
                    <a:pt x="2346727" y="182982"/>
                  </a:cubicBezTo>
                  <a:cubicBezTo>
                    <a:pt x="2345574" y="184134"/>
                    <a:pt x="2344038" y="184728"/>
                    <a:pt x="2342501" y="184728"/>
                  </a:cubicBezTo>
                  <a:close/>
                  <a:moveTo>
                    <a:pt x="2429012" y="98304"/>
                  </a:moveTo>
                  <a:cubicBezTo>
                    <a:pt x="2427528" y="98304"/>
                    <a:pt x="2426062" y="97746"/>
                    <a:pt x="2424927" y="96628"/>
                  </a:cubicBezTo>
                  <a:cubicBezTo>
                    <a:pt x="2422640" y="94376"/>
                    <a:pt x="2422605" y="90692"/>
                    <a:pt x="2424874" y="88405"/>
                  </a:cubicBezTo>
                  <a:lnTo>
                    <a:pt x="2424996" y="88283"/>
                  </a:lnTo>
                  <a:cubicBezTo>
                    <a:pt x="2427248" y="85996"/>
                    <a:pt x="2430933" y="85978"/>
                    <a:pt x="2433220" y="88230"/>
                  </a:cubicBezTo>
                  <a:cubicBezTo>
                    <a:pt x="2435506" y="90483"/>
                    <a:pt x="2435541" y="94167"/>
                    <a:pt x="2433272" y="96454"/>
                  </a:cubicBezTo>
                  <a:lnTo>
                    <a:pt x="2433150" y="96576"/>
                  </a:lnTo>
                  <a:cubicBezTo>
                    <a:pt x="2432015" y="97728"/>
                    <a:pt x="2430513" y="98304"/>
                    <a:pt x="2429012" y="98304"/>
                  </a:cubicBezTo>
                  <a:close/>
                  <a:moveTo>
                    <a:pt x="2515592" y="11672"/>
                  </a:moveTo>
                  <a:cubicBezTo>
                    <a:pt x="2514108" y="11672"/>
                    <a:pt x="2512642" y="11130"/>
                    <a:pt x="2511524" y="10013"/>
                  </a:cubicBezTo>
                  <a:cubicBezTo>
                    <a:pt x="2509237" y="7743"/>
                    <a:pt x="2509168" y="4129"/>
                    <a:pt x="2511437" y="1842"/>
                  </a:cubicBezTo>
                  <a:lnTo>
                    <a:pt x="2511559" y="1720"/>
                  </a:lnTo>
                  <a:cubicBezTo>
                    <a:pt x="2513829" y="-567"/>
                    <a:pt x="2517513" y="-567"/>
                    <a:pt x="2519782" y="1685"/>
                  </a:cubicBezTo>
                  <a:cubicBezTo>
                    <a:pt x="2522070" y="3955"/>
                    <a:pt x="2522070" y="7638"/>
                    <a:pt x="2519817" y="9908"/>
                  </a:cubicBezTo>
                  <a:cubicBezTo>
                    <a:pt x="2518666" y="11060"/>
                    <a:pt x="2517128" y="11654"/>
                    <a:pt x="2515592" y="11654"/>
                  </a:cubicBezTo>
                  <a:close/>
                </a:path>
              </a:pathLst>
            </a:custGeom>
            <a:grpFill/>
            <a:ln w="0"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76B2C25F-DFD2-227D-AB24-82D363405BFA}"/>
                </a:ext>
              </a:extLst>
            </p:cNvPr>
            <p:cNvSpPr/>
            <p:nvPr/>
          </p:nvSpPr>
          <p:spPr>
            <a:xfrm>
              <a:off x="6453613" y="2786173"/>
              <a:ext cx="2436124" cy="2436119"/>
            </a:xfrm>
            <a:custGeom>
              <a:avLst/>
              <a:gdLst>
                <a:gd name="connsiteX0" fmla="*/ 6395 w 2436124"/>
                <a:gd name="connsiteY0" fmla="*/ 2436120 h 2436119"/>
                <a:gd name="connsiteX1" fmla="*/ 1872 w 2436124"/>
                <a:gd name="connsiteY1" fmla="*/ 2434252 h 2436119"/>
                <a:gd name="connsiteX2" fmla="*/ 1872 w 2436124"/>
                <a:gd name="connsiteY2" fmla="*/ 2425191 h 2436119"/>
                <a:gd name="connsiteX3" fmla="*/ 1995 w 2436124"/>
                <a:gd name="connsiteY3" fmla="*/ 2425068 h 2436119"/>
                <a:gd name="connsiteX4" fmla="*/ 11056 w 2436124"/>
                <a:gd name="connsiteY4" fmla="*/ 2425068 h 2436119"/>
                <a:gd name="connsiteX5" fmla="*/ 11056 w 2436124"/>
                <a:gd name="connsiteY5" fmla="*/ 2434130 h 2436119"/>
                <a:gd name="connsiteX6" fmla="*/ 10934 w 2436124"/>
                <a:gd name="connsiteY6" fmla="*/ 2434252 h 2436119"/>
                <a:gd name="connsiteX7" fmla="*/ 6412 w 2436124"/>
                <a:gd name="connsiteY7" fmla="*/ 2436120 h 2436119"/>
                <a:gd name="connsiteX8" fmla="*/ 92940 w 2436124"/>
                <a:gd name="connsiteY8" fmla="*/ 2349575 h 2436119"/>
                <a:gd name="connsiteX9" fmla="*/ 88418 w 2436124"/>
                <a:gd name="connsiteY9" fmla="*/ 2347706 h 2436119"/>
                <a:gd name="connsiteX10" fmla="*/ 88418 w 2436124"/>
                <a:gd name="connsiteY10" fmla="*/ 2338645 h 2436119"/>
                <a:gd name="connsiteX11" fmla="*/ 88540 w 2436124"/>
                <a:gd name="connsiteY11" fmla="*/ 2338523 h 2436119"/>
                <a:gd name="connsiteX12" fmla="*/ 97602 w 2436124"/>
                <a:gd name="connsiteY12" fmla="*/ 2338523 h 2436119"/>
                <a:gd name="connsiteX13" fmla="*/ 97602 w 2436124"/>
                <a:gd name="connsiteY13" fmla="*/ 2347584 h 2436119"/>
                <a:gd name="connsiteX14" fmla="*/ 97479 w 2436124"/>
                <a:gd name="connsiteY14" fmla="*/ 2347706 h 2436119"/>
                <a:gd name="connsiteX15" fmla="*/ 92958 w 2436124"/>
                <a:gd name="connsiteY15" fmla="*/ 2349575 h 2436119"/>
                <a:gd name="connsiteX16" fmla="*/ 179520 w 2436124"/>
                <a:gd name="connsiteY16" fmla="*/ 2262942 h 2436119"/>
                <a:gd name="connsiteX17" fmla="*/ 175016 w 2436124"/>
                <a:gd name="connsiteY17" fmla="*/ 2261091 h 2436119"/>
                <a:gd name="connsiteX18" fmla="*/ 174946 w 2436124"/>
                <a:gd name="connsiteY18" fmla="*/ 2252099 h 2436119"/>
                <a:gd name="connsiteX19" fmla="*/ 175069 w 2436124"/>
                <a:gd name="connsiteY19" fmla="*/ 2251977 h 2436119"/>
                <a:gd name="connsiteX20" fmla="*/ 184130 w 2436124"/>
                <a:gd name="connsiteY20" fmla="*/ 2251977 h 2436119"/>
                <a:gd name="connsiteX21" fmla="*/ 184130 w 2436124"/>
                <a:gd name="connsiteY21" fmla="*/ 2261039 h 2436119"/>
                <a:gd name="connsiteX22" fmla="*/ 179503 w 2436124"/>
                <a:gd name="connsiteY22" fmla="*/ 2262942 h 2436119"/>
                <a:gd name="connsiteX23" fmla="*/ 266066 w 2436124"/>
                <a:gd name="connsiteY23" fmla="*/ 2176396 h 2436119"/>
                <a:gd name="connsiteX24" fmla="*/ 261562 w 2436124"/>
                <a:gd name="connsiteY24" fmla="*/ 2174545 h 2436119"/>
                <a:gd name="connsiteX25" fmla="*/ 261492 w 2436124"/>
                <a:gd name="connsiteY25" fmla="*/ 2165554 h 2436119"/>
                <a:gd name="connsiteX26" fmla="*/ 261614 w 2436124"/>
                <a:gd name="connsiteY26" fmla="*/ 2165432 h 2436119"/>
                <a:gd name="connsiteX27" fmla="*/ 270676 w 2436124"/>
                <a:gd name="connsiteY27" fmla="*/ 2165432 h 2436119"/>
                <a:gd name="connsiteX28" fmla="*/ 270676 w 2436124"/>
                <a:gd name="connsiteY28" fmla="*/ 2174493 h 2436119"/>
                <a:gd name="connsiteX29" fmla="*/ 266049 w 2436124"/>
                <a:gd name="connsiteY29" fmla="*/ 2176396 h 2436119"/>
                <a:gd name="connsiteX30" fmla="*/ 352612 w 2436124"/>
                <a:gd name="connsiteY30" fmla="*/ 2089868 h 2436119"/>
                <a:gd name="connsiteX31" fmla="*/ 348107 w 2436124"/>
                <a:gd name="connsiteY31" fmla="*/ 2088017 h 2436119"/>
                <a:gd name="connsiteX32" fmla="*/ 348037 w 2436124"/>
                <a:gd name="connsiteY32" fmla="*/ 2079026 h 2436119"/>
                <a:gd name="connsiteX33" fmla="*/ 348160 w 2436124"/>
                <a:gd name="connsiteY33" fmla="*/ 2078903 h 2436119"/>
                <a:gd name="connsiteX34" fmla="*/ 357221 w 2436124"/>
                <a:gd name="connsiteY34" fmla="*/ 2078903 h 2436119"/>
                <a:gd name="connsiteX35" fmla="*/ 357221 w 2436124"/>
                <a:gd name="connsiteY35" fmla="*/ 2087965 h 2436119"/>
                <a:gd name="connsiteX36" fmla="*/ 352594 w 2436124"/>
                <a:gd name="connsiteY36" fmla="*/ 2089868 h 2436119"/>
                <a:gd name="connsiteX37" fmla="*/ 439105 w 2436124"/>
                <a:gd name="connsiteY37" fmla="*/ 2003410 h 2436119"/>
                <a:gd name="connsiteX38" fmla="*/ 434583 w 2436124"/>
                <a:gd name="connsiteY38" fmla="*/ 2001541 h 2436119"/>
                <a:gd name="connsiteX39" fmla="*/ 434583 w 2436124"/>
                <a:gd name="connsiteY39" fmla="*/ 1992480 h 2436119"/>
                <a:gd name="connsiteX40" fmla="*/ 434705 w 2436124"/>
                <a:gd name="connsiteY40" fmla="*/ 1992358 h 2436119"/>
                <a:gd name="connsiteX41" fmla="*/ 443767 w 2436124"/>
                <a:gd name="connsiteY41" fmla="*/ 1992358 h 2436119"/>
                <a:gd name="connsiteX42" fmla="*/ 443767 w 2436124"/>
                <a:gd name="connsiteY42" fmla="*/ 2001419 h 2436119"/>
                <a:gd name="connsiteX43" fmla="*/ 443644 w 2436124"/>
                <a:gd name="connsiteY43" fmla="*/ 2001541 h 2436119"/>
                <a:gd name="connsiteX44" fmla="*/ 439123 w 2436124"/>
                <a:gd name="connsiteY44" fmla="*/ 2003410 h 2436119"/>
                <a:gd name="connsiteX45" fmla="*/ 525650 w 2436124"/>
                <a:gd name="connsiteY45" fmla="*/ 1916864 h 2436119"/>
                <a:gd name="connsiteX46" fmla="*/ 521129 w 2436124"/>
                <a:gd name="connsiteY46" fmla="*/ 1914996 h 2436119"/>
                <a:gd name="connsiteX47" fmla="*/ 521129 w 2436124"/>
                <a:gd name="connsiteY47" fmla="*/ 1905934 h 2436119"/>
                <a:gd name="connsiteX48" fmla="*/ 521251 w 2436124"/>
                <a:gd name="connsiteY48" fmla="*/ 1905812 h 2436119"/>
                <a:gd name="connsiteX49" fmla="*/ 530312 w 2436124"/>
                <a:gd name="connsiteY49" fmla="*/ 1905812 h 2436119"/>
                <a:gd name="connsiteX50" fmla="*/ 530312 w 2436124"/>
                <a:gd name="connsiteY50" fmla="*/ 1914874 h 2436119"/>
                <a:gd name="connsiteX51" fmla="*/ 530190 w 2436124"/>
                <a:gd name="connsiteY51" fmla="*/ 1914996 h 2436119"/>
                <a:gd name="connsiteX52" fmla="*/ 525668 w 2436124"/>
                <a:gd name="connsiteY52" fmla="*/ 1916864 h 2436119"/>
                <a:gd name="connsiteX53" fmla="*/ 612231 w 2436124"/>
                <a:gd name="connsiteY53" fmla="*/ 1830231 h 2436119"/>
                <a:gd name="connsiteX54" fmla="*/ 607726 w 2436124"/>
                <a:gd name="connsiteY54" fmla="*/ 1828380 h 2436119"/>
                <a:gd name="connsiteX55" fmla="*/ 607657 w 2436124"/>
                <a:gd name="connsiteY55" fmla="*/ 1819389 h 2436119"/>
                <a:gd name="connsiteX56" fmla="*/ 607779 w 2436124"/>
                <a:gd name="connsiteY56" fmla="*/ 1819267 h 2436119"/>
                <a:gd name="connsiteX57" fmla="*/ 616840 w 2436124"/>
                <a:gd name="connsiteY57" fmla="*/ 1819267 h 2436119"/>
                <a:gd name="connsiteX58" fmla="*/ 616840 w 2436124"/>
                <a:gd name="connsiteY58" fmla="*/ 1828328 h 2436119"/>
                <a:gd name="connsiteX59" fmla="*/ 612214 w 2436124"/>
                <a:gd name="connsiteY59" fmla="*/ 1830231 h 2436119"/>
                <a:gd name="connsiteX60" fmla="*/ 698777 w 2436124"/>
                <a:gd name="connsiteY60" fmla="*/ 1743686 h 2436119"/>
                <a:gd name="connsiteX61" fmla="*/ 694272 w 2436124"/>
                <a:gd name="connsiteY61" fmla="*/ 1741835 h 2436119"/>
                <a:gd name="connsiteX62" fmla="*/ 694202 w 2436124"/>
                <a:gd name="connsiteY62" fmla="*/ 1732843 h 2436119"/>
                <a:gd name="connsiteX63" fmla="*/ 694325 w 2436124"/>
                <a:gd name="connsiteY63" fmla="*/ 1732721 h 2436119"/>
                <a:gd name="connsiteX64" fmla="*/ 703386 w 2436124"/>
                <a:gd name="connsiteY64" fmla="*/ 1732721 h 2436119"/>
                <a:gd name="connsiteX65" fmla="*/ 703386 w 2436124"/>
                <a:gd name="connsiteY65" fmla="*/ 1741782 h 2436119"/>
                <a:gd name="connsiteX66" fmla="*/ 698759 w 2436124"/>
                <a:gd name="connsiteY66" fmla="*/ 1743686 h 2436119"/>
                <a:gd name="connsiteX67" fmla="*/ 785322 w 2436124"/>
                <a:gd name="connsiteY67" fmla="*/ 1657157 h 2436119"/>
                <a:gd name="connsiteX68" fmla="*/ 780818 w 2436124"/>
                <a:gd name="connsiteY68" fmla="*/ 1655307 h 2436119"/>
                <a:gd name="connsiteX69" fmla="*/ 780748 w 2436124"/>
                <a:gd name="connsiteY69" fmla="*/ 1646315 h 2436119"/>
                <a:gd name="connsiteX70" fmla="*/ 780870 w 2436124"/>
                <a:gd name="connsiteY70" fmla="*/ 1646193 h 2436119"/>
                <a:gd name="connsiteX71" fmla="*/ 789932 w 2436124"/>
                <a:gd name="connsiteY71" fmla="*/ 1646193 h 2436119"/>
                <a:gd name="connsiteX72" fmla="*/ 789932 w 2436124"/>
                <a:gd name="connsiteY72" fmla="*/ 1655254 h 2436119"/>
                <a:gd name="connsiteX73" fmla="*/ 785305 w 2436124"/>
                <a:gd name="connsiteY73" fmla="*/ 1657157 h 2436119"/>
                <a:gd name="connsiteX74" fmla="*/ 871833 w 2436124"/>
                <a:gd name="connsiteY74" fmla="*/ 1570699 h 2436119"/>
                <a:gd name="connsiteX75" fmla="*/ 867311 w 2436124"/>
                <a:gd name="connsiteY75" fmla="*/ 1568831 h 2436119"/>
                <a:gd name="connsiteX76" fmla="*/ 867311 w 2436124"/>
                <a:gd name="connsiteY76" fmla="*/ 1559769 h 2436119"/>
                <a:gd name="connsiteX77" fmla="*/ 867433 w 2436124"/>
                <a:gd name="connsiteY77" fmla="*/ 1559648 h 2436119"/>
                <a:gd name="connsiteX78" fmla="*/ 876495 w 2436124"/>
                <a:gd name="connsiteY78" fmla="*/ 1559648 h 2436119"/>
                <a:gd name="connsiteX79" fmla="*/ 876495 w 2436124"/>
                <a:gd name="connsiteY79" fmla="*/ 1568709 h 2436119"/>
                <a:gd name="connsiteX80" fmla="*/ 876372 w 2436124"/>
                <a:gd name="connsiteY80" fmla="*/ 1568831 h 2436119"/>
                <a:gd name="connsiteX81" fmla="*/ 871850 w 2436124"/>
                <a:gd name="connsiteY81" fmla="*/ 1570699 h 2436119"/>
                <a:gd name="connsiteX82" fmla="*/ 958361 w 2436124"/>
                <a:gd name="connsiteY82" fmla="*/ 1484153 h 2436119"/>
                <a:gd name="connsiteX83" fmla="*/ 953839 w 2436124"/>
                <a:gd name="connsiteY83" fmla="*/ 1482285 h 2436119"/>
                <a:gd name="connsiteX84" fmla="*/ 953839 w 2436124"/>
                <a:gd name="connsiteY84" fmla="*/ 1473224 h 2436119"/>
                <a:gd name="connsiteX85" fmla="*/ 953961 w 2436124"/>
                <a:gd name="connsiteY85" fmla="*/ 1473102 h 2436119"/>
                <a:gd name="connsiteX86" fmla="*/ 963023 w 2436124"/>
                <a:gd name="connsiteY86" fmla="*/ 1473102 h 2436119"/>
                <a:gd name="connsiteX87" fmla="*/ 963023 w 2436124"/>
                <a:gd name="connsiteY87" fmla="*/ 1482163 h 2436119"/>
                <a:gd name="connsiteX88" fmla="*/ 962901 w 2436124"/>
                <a:gd name="connsiteY88" fmla="*/ 1482285 h 2436119"/>
                <a:gd name="connsiteX89" fmla="*/ 958379 w 2436124"/>
                <a:gd name="connsiteY89" fmla="*/ 1484153 h 2436119"/>
                <a:gd name="connsiteX90" fmla="*/ 1044942 w 2436124"/>
                <a:gd name="connsiteY90" fmla="*/ 1397521 h 2436119"/>
                <a:gd name="connsiteX91" fmla="*/ 1040437 w 2436124"/>
                <a:gd name="connsiteY91" fmla="*/ 1395670 h 2436119"/>
                <a:gd name="connsiteX92" fmla="*/ 1040367 w 2436124"/>
                <a:gd name="connsiteY92" fmla="*/ 1386679 h 2436119"/>
                <a:gd name="connsiteX93" fmla="*/ 1040490 w 2436124"/>
                <a:gd name="connsiteY93" fmla="*/ 1386556 h 2436119"/>
                <a:gd name="connsiteX94" fmla="*/ 1049551 w 2436124"/>
                <a:gd name="connsiteY94" fmla="*/ 1386556 h 2436119"/>
                <a:gd name="connsiteX95" fmla="*/ 1049551 w 2436124"/>
                <a:gd name="connsiteY95" fmla="*/ 1395617 h 2436119"/>
                <a:gd name="connsiteX96" fmla="*/ 1044924 w 2436124"/>
                <a:gd name="connsiteY96" fmla="*/ 1397521 h 2436119"/>
                <a:gd name="connsiteX97" fmla="*/ 1131487 w 2436124"/>
                <a:gd name="connsiteY97" fmla="*/ 1310975 h 2436119"/>
                <a:gd name="connsiteX98" fmla="*/ 1126983 w 2436124"/>
                <a:gd name="connsiteY98" fmla="*/ 1309124 h 2436119"/>
                <a:gd name="connsiteX99" fmla="*/ 1126913 w 2436124"/>
                <a:gd name="connsiteY99" fmla="*/ 1300133 h 2436119"/>
                <a:gd name="connsiteX100" fmla="*/ 1127035 w 2436124"/>
                <a:gd name="connsiteY100" fmla="*/ 1300010 h 2436119"/>
                <a:gd name="connsiteX101" fmla="*/ 1136097 w 2436124"/>
                <a:gd name="connsiteY101" fmla="*/ 1300010 h 2436119"/>
                <a:gd name="connsiteX102" fmla="*/ 1136097 w 2436124"/>
                <a:gd name="connsiteY102" fmla="*/ 1309072 h 2436119"/>
                <a:gd name="connsiteX103" fmla="*/ 1131470 w 2436124"/>
                <a:gd name="connsiteY103" fmla="*/ 1310975 h 2436119"/>
                <a:gd name="connsiteX104" fmla="*/ 1218033 w 2436124"/>
                <a:gd name="connsiteY104" fmla="*/ 1224430 h 2436119"/>
                <a:gd name="connsiteX105" fmla="*/ 1213528 w 2436124"/>
                <a:gd name="connsiteY105" fmla="*/ 1222579 h 2436119"/>
                <a:gd name="connsiteX106" fmla="*/ 1213459 w 2436124"/>
                <a:gd name="connsiteY106" fmla="*/ 1213587 h 2436119"/>
                <a:gd name="connsiteX107" fmla="*/ 1213581 w 2436124"/>
                <a:gd name="connsiteY107" fmla="*/ 1213465 h 2436119"/>
                <a:gd name="connsiteX108" fmla="*/ 1222642 w 2436124"/>
                <a:gd name="connsiteY108" fmla="*/ 1213465 h 2436119"/>
                <a:gd name="connsiteX109" fmla="*/ 1222642 w 2436124"/>
                <a:gd name="connsiteY109" fmla="*/ 1222526 h 2436119"/>
                <a:gd name="connsiteX110" fmla="*/ 1218015 w 2436124"/>
                <a:gd name="connsiteY110" fmla="*/ 1224430 h 2436119"/>
                <a:gd name="connsiteX111" fmla="*/ 1304544 w 2436124"/>
                <a:gd name="connsiteY111" fmla="*/ 1137989 h 2436119"/>
                <a:gd name="connsiteX112" fmla="*/ 1300021 w 2436124"/>
                <a:gd name="connsiteY112" fmla="*/ 1136121 h 2436119"/>
                <a:gd name="connsiteX113" fmla="*/ 1300021 w 2436124"/>
                <a:gd name="connsiteY113" fmla="*/ 1127059 h 2436119"/>
                <a:gd name="connsiteX114" fmla="*/ 1300144 w 2436124"/>
                <a:gd name="connsiteY114" fmla="*/ 1126937 h 2436119"/>
                <a:gd name="connsiteX115" fmla="*/ 1309205 w 2436124"/>
                <a:gd name="connsiteY115" fmla="*/ 1126937 h 2436119"/>
                <a:gd name="connsiteX116" fmla="*/ 1309205 w 2436124"/>
                <a:gd name="connsiteY116" fmla="*/ 1135998 h 2436119"/>
                <a:gd name="connsiteX117" fmla="*/ 1309083 w 2436124"/>
                <a:gd name="connsiteY117" fmla="*/ 1136121 h 2436119"/>
                <a:gd name="connsiteX118" fmla="*/ 1304561 w 2436124"/>
                <a:gd name="connsiteY118" fmla="*/ 1137989 h 2436119"/>
                <a:gd name="connsiteX119" fmla="*/ 1391072 w 2436124"/>
                <a:gd name="connsiteY119" fmla="*/ 1051443 h 2436119"/>
                <a:gd name="connsiteX120" fmla="*/ 1386550 w 2436124"/>
                <a:gd name="connsiteY120" fmla="*/ 1049575 h 2436119"/>
                <a:gd name="connsiteX121" fmla="*/ 1386550 w 2436124"/>
                <a:gd name="connsiteY121" fmla="*/ 1040514 h 2436119"/>
                <a:gd name="connsiteX122" fmla="*/ 1386672 w 2436124"/>
                <a:gd name="connsiteY122" fmla="*/ 1040391 h 2436119"/>
                <a:gd name="connsiteX123" fmla="*/ 1395733 w 2436124"/>
                <a:gd name="connsiteY123" fmla="*/ 1040391 h 2436119"/>
                <a:gd name="connsiteX124" fmla="*/ 1395733 w 2436124"/>
                <a:gd name="connsiteY124" fmla="*/ 1049453 h 2436119"/>
                <a:gd name="connsiteX125" fmla="*/ 1395611 w 2436124"/>
                <a:gd name="connsiteY125" fmla="*/ 1049575 h 2436119"/>
                <a:gd name="connsiteX126" fmla="*/ 1391089 w 2436124"/>
                <a:gd name="connsiteY126" fmla="*/ 1051443 h 2436119"/>
                <a:gd name="connsiteX127" fmla="*/ 1477617 w 2436124"/>
                <a:gd name="connsiteY127" fmla="*/ 964897 h 2436119"/>
                <a:gd name="connsiteX128" fmla="*/ 1473113 w 2436124"/>
                <a:gd name="connsiteY128" fmla="*/ 963047 h 2436119"/>
                <a:gd name="connsiteX129" fmla="*/ 1473043 w 2436124"/>
                <a:gd name="connsiteY129" fmla="*/ 953985 h 2436119"/>
                <a:gd name="connsiteX130" fmla="*/ 1473165 w 2436124"/>
                <a:gd name="connsiteY130" fmla="*/ 953863 h 2436119"/>
                <a:gd name="connsiteX131" fmla="*/ 1482227 w 2436124"/>
                <a:gd name="connsiteY131" fmla="*/ 953794 h 2436119"/>
                <a:gd name="connsiteX132" fmla="*/ 1482296 w 2436124"/>
                <a:gd name="connsiteY132" fmla="*/ 962855 h 2436119"/>
                <a:gd name="connsiteX133" fmla="*/ 1482174 w 2436124"/>
                <a:gd name="connsiteY133" fmla="*/ 962977 h 2436119"/>
                <a:gd name="connsiteX134" fmla="*/ 1477617 w 2436124"/>
                <a:gd name="connsiteY134" fmla="*/ 964880 h 2436119"/>
                <a:gd name="connsiteX135" fmla="*/ 1564198 w 2436124"/>
                <a:gd name="connsiteY135" fmla="*/ 878265 h 2436119"/>
                <a:gd name="connsiteX136" fmla="*/ 1559693 w 2436124"/>
                <a:gd name="connsiteY136" fmla="*/ 876414 h 2436119"/>
                <a:gd name="connsiteX137" fmla="*/ 1559624 w 2436124"/>
                <a:gd name="connsiteY137" fmla="*/ 867422 h 2436119"/>
                <a:gd name="connsiteX138" fmla="*/ 1559745 w 2436124"/>
                <a:gd name="connsiteY138" fmla="*/ 867300 h 2436119"/>
                <a:gd name="connsiteX139" fmla="*/ 1568807 w 2436124"/>
                <a:gd name="connsiteY139" fmla="*/ 867300 h 2436119"/>
                <a:gd name="connsiteX140" fmla="*/ 1568807 w 2436124"/>
                <a:gd name="connsiteY140" fmla="*/ 876362 h 2436119"/>
                <a:gd name="connsiteX141" fmla="*/ 1564180 w 2436124"/>
                <a:gd name="connsiteY141" fmla="*/ 878265 h 2436119"/>
                <a:gd name="connsiteX142" fmla="*/ 1650743 w 2436124"/>
                <a:gd name="connsiteY142" fmla="*/ 791719 h 2436119"/>
                <a:gd name="connsiteX143" fmla="*/ 1646239 w 2436124"/>
                <a:gd name="connsiteY143" fmla="*/ 789868 h 2436119"/>
                <a:gd name="connsiteX144" fmla="*/ 1646169 w 2436124"/>
                <a:gd name="connsiteY144" fmla="*/ 780877 h 2436119"/>
                <a:gd name="connsiteX145" fmla="*/ 1646291 w 2436124"/>
                <a:gd name="connsiteY145" fmla="*/ 780755 h 2436119"/>
                <a:gd name="connsiteX146" fmla="*/ 1655352 w 2436124"/>
                <a:gd name="connsiteY146" fmla="*/ 780755 h 2436119"/>
                <a:gd name="connsiteX147" fmla="*/ 1655352 w 2436124"/>
                <a:gd name="connsiteY147" fmla="*/ 789816 h 2436119"/>
                <a:gd name="connsiteX148" fmla="*/ 1650726 w 2436124"/>
                <a:gd name="connsiteY148" fmla="*/ 791719 h 2436119"/>
                <a:gd name="connsiteX149" fmla="*/ 1737254 w 2436124"/>
                <a:gd name="connsiteY149" fmla="*/ 705278 h 2436119"/>
                <a:gd name="connsiteX150" fmla="*/ 1732750 w 2436124"/>
                <a:gd name="connsiteY150" fmla="*/ 703427 h 2436119"/>
                <a:gd name="connsiteX151" fmla="*/ 1732680 w 2436124"/>
                <a:gd name="connsiteY151" fmla="*/ 694366 h 2436119"/>
                <a:gd name="connsiteX152" fmla="*/ 1732802 w 2436124"/>
                <a:gd name="connsiteY152" fmla="*/ 694244 h 2436119"/>
                <a:gd name="connsiteX153" fmla="*/ 1741863 w 2436124"/>
                <a:gd name="connsiteY153" fmla="*/ 694174 h 2436119"/>
                <a:gd name="connsiteX154" fmla="*/ 1741933 w 2436124"/>
                <a:gd name="connsiteY154" fmla="*/ 703235 h 2436119"/>
                <a:gd name="connsiteX155" fmla="*/ 1741811 w 2436124"/>
                <a:gd name="connsiteY155" fmla="*/ 703358 h 2436119"/>
                <a:gd name="connsiteX156" fmla="*/ 1737254 w 2436124"/>
                <a:gd name="connsiteY156" fmla="*/ 705261 h 2436119"/>
                <a:gd name="connsiteX157" fmla="*/ 1823799 w 2436124"/>
                <a:gd name="connsiteY157" fmla="*/ 618732 h 2436119"/>
                <a:gd name="connsiteX158" fmla="*/ 1819278 w 2436124"/>
                <a:gd name="connsiteY158" fmla="*/ 616864 h 2436119"/>
                <a:gd name="connsiteX159" fmla="*/ 1819278 w 2436124"/>
                <a:gd name="connsiteY159" fmla="*/ 607803 h 2436119"/>
                <a:gd name="connsiteX160" fmla="*/ 1819400 w 2436124"/>
                <a:gd name="connsiteY160" fmla="*/ 607681 h 2436119"/>
                <a:gd name="connsiteX161" fmla="*/ 1828461 w 2436124"/>
                <a:gd name="connsiteY161" fmla="*/ 607681 h 2436119"/>
                <a:gd name="connsiteX162" fmla="*/ 1828461 w 2436124"/>
                <a:gd name="connsiteY162" fmla="*/ 616742 h 2436119"/>
                <a:gd name="connsiteX163" fmla="*/ 1828339 w 2436124"/>
                <a:gd name="connsiteY163" fmla="*/ 616864 h 2436119"/>
                <a:gd name="connsiteX164" fmla="*/ 1823817 w 2436124"/>
                <a:gd name="connsiteY164" fmla="*/ 618732 h 2436119"/>
                <a:gd name="connsiteX165" fmla="*/ 1910328 w 2436124"/>
                <a:gd name="connsiteY165" fmla="*/ 532187 h 2436119"/>
                <a:gd name="connsiteX166" fmla="*/ 1905771 w 2436124"/>
                <a:gd name="connsiteY166" fmla="*/ 530284 h 2436119"/>
                <a:gd name="connsiteX167" fmla="*/ 1905841 w 2436124"/>
                <a:gd name="connsiteY167" fmla="*/ 521222 h 2436119"/>
                <a:gd name="connsiteX168" fmla="*/ 1905963 w 2436124"/>
                <a:gd name="connsiteY168" fmla="*/ 521100 h 2436119"/>
                <a:gd name="connsiteX169" fmla="*/ 1915024 w 2436124"/>
                <a:gd name="connsiteY169" fmla="*/ 521170 h 2436119"/>
                <a:gd name="connsiteX170" fmla="*/ 1914954 w 2436124"/>
                <a:gd name="connsiteY170" fmla="*/ 530232 h 2436119"/>
                <a:gd name="connsiteX171" fmla="*/ 1914832 w 2436124"/>
                <a:gd name="connsiteY171" fmla="*/ 530354 h 2436119"/>
                <a:gd name="connsiteX172" fmla="*/ 1910345 w 2436124"/>
                <a:gd name="connsiteY172" fmla="*/ 532204 h 2436119"/>
                <a:gd name="connsiteX173" fmla="*/ 1996908 w 2436124"/>
                <a:gd name="connsiteY173" fmla="*/ 445554 h 2436119"/>
                <a:gd name="connsiteX174" fmla="*/ 1992421 w 2436124"/>
                <a:gd name="connsiteY174" fmla="*/ 443721 h 2436119"/>
                <a:gd name="connsiteX175" fmla="*/ 1992334 w 2436124"/>
                <a:gd name="connsiteY175" fmla="*/ 434729 h 2436119"/>
                <a:gd name="connsiteX176" fmla="*/ 1992456 w 2436124"/>
                <a:gd name="connsiteY176" fmla="*/ 434607 h 2436119"/>
                <a:gd name="connsiteX177" fmla="*/ 2001518 w 2436124"/>
                <a:gd name="connsiteY177" fmla="*/ 434572 h 2436119"/>
                <a:gd name="connsiteX178" fmla="*/ 2001553 w 2436124"/>
                <a:gd name="connsiteY178" fmla="*/ 443634 h 2436119"/>
                <a:gd name="connsiteX179" fmla="*/ 1996925 w 2436124"/>
                <a:gd name="connsiteY179" fmla="*/ 445554 h 2436119"/>
                <a:gd name="connsiteX180" fmla="*/ 2083454 w 2436124"/>
                <a:gd name="connsiteY180" fmla="*/ 359008 h 2436119"/>
                <a:gd name="connsiteX181" fmla="*/ 2078949 w 2436124"/>
                <a:gd name="connsiteY181" fmla="*/ 357158 h 2436119"/>
                <a:gd name="connsiteX182" fmla="*/ 2078879 w 2436124"/>
                <a:gd name="connsiteY182" fmla="*/ 348166 h 2436119"/>
                <a:gd name="connsiteX183" fmla="*/ 2079002 w 2436124"/>
                <a:gd name="connsiteY183" fmla="*/ 348044 h 2436119"/>
                <a:gd name="connsiteX184" fmla="*/ 2088063 w 2436124"/>
                <a:gd name="connsiteY184" fmla="*/ 348044 h 2436119"/>
                <a:gd name="connsiteX185" fmla="*/ 2088063 w 2436124"/>
                <a:gd name="connsiteY185" fmla="*/ 357105 h 2436119"/>
                <a:gd name="connsiteX186" fmla="*/ 2083437 w 2436124"/>
                <a:gd name="connsiteY186" fmla="*/ 359008 h 2436119"/>
                <a:gd name="connsiteX187" fmla="*/ 2169965 w 2436124"/>
                <a:gd name="connsiteY187" fmla="*/ 272568 h 2436119"/>
                <a:gd name="connsiteX188" fmla="*/ 2165425 w 2436124"/>
                <a:gd name="connsiteY188" fmla="*/ 270682 h 2436119"/>
                <a:gd name="connsiteX189" fmla="*/ 2165460 w 2436124"/>
                <a:gd name="connsiteY189" fmla="*/ 261621 h 2436119"/>
                <a:gd name="connsiteX190" fmla="*/ 2165582 w 2436124"/>
                <a:gd name="connsiteY190" fmla="*/ 261498 h 2436119"/>
                <a:gd name="connsiteX191" fmla="*/ 2174643 w 2436124"/>
                <a:gd name="connsiteY191" fmla="*/ 261533 h 2436119"/>
                <a:gd name="connsiteX192" fmla="*/ 2174608 w 2436124"/>
                <a:gd name="connsiteY192" fmla="*/ 270595 h 2436119"/>
                <a:gd name="connsiteX193" fmla="*/ 2174487 w 2436124"/>
                <a:gd name="connsiteY193" fmla="*/ 270717 h 2436119"/>
                <a:gd name="connsiteX194" fmla="*/ 2169982 w 2436124"/>
                <a:gd name="connsiteY194" fmla="*/ 272568 h 2436119"/>
                <a:gd name="connsiteX195" fmla="*/ 2256510 w 2436124"/>
                <a:gd name="connsiteY195" fmla="*/ 186022 h 2436119"/>
                <a:gd name="connsiteX196" fmla="*/ 2251971 w 2436124"/>
                <a:gd name="connsiteY196" fmla="*/ 184137 h 2436119"/>
                <a:gd name="connsiteX197" fmla="*/ 2252006 w 2436124"/>
                <a:gd name="connsiteY197" fmla="*/ 175075 h 2436119"/>
                <a:gd name="connsiteX198" fmla="*/ 2252127 w 2436124"/>
                <a:gd name="connsiteY198" fmla="*/ 174953 h 2436119"/>
                <a:gd name="connsiteX199" fmla="*/ 2261190 w 2436124"/>
                <a:gd name="connsiteY199" fmla="*/ 174988 h 2436119"/>
                <a:gd name="connsiteX200" fmla="*/ 2261155 w 2436124"/>
                <a:gd name="connsiteY200" fmla="*/ 184049 h 2436119"/>
                <a:gd name="connsiteX201" fmla="*/ 2261032 w 2436124"/>
                <a:gd name="connsiteY201" fmla="*/ 184171 h 2436119"/>
                <a:gd name="connsiteX202" fmla="*/ 2256527 w 2436124"/>
                <a:gd name="connsiteY202" fmla="*/ 186022 h 2436119"/>
                <a:gd name="connsiteX203" fmla="*/ 2343038 w 2436124"/>
                <a:gd name="connsiteY203" fmla="*/ 99477 h 2436119"/>
                <a:gd name="connsiteX204" fmla="*/ 2338499 w 2436124"/>
                <a:gd name="connsiteY204" fmla="*/ 97591 h 2436119"/>
                <a:gd name="connsiteX205" fmla="*/ 2338534 w 2436124"/>
                <a:gd name="connsiteY205" fmla="*/ 88530 h 2436119"/>
                <a:gd name="connsiteX206" fmla="*/ 2338656 w 2436124"/>
                <a:gd name="connsiteY206" fmla="*/ 88407 h 2436119"/>
                <a:gd name="connsiteX207" fmla="*/ 2347717 w 2436124"/>
                <a:gd name="connsiteY207" fmla="*/ 88442 h 2436119"/>
                <a:gd name="connsiteX208" fmla="*/ 2347683 w 2436124"/>
                <a:gd name="connsiteY208" fmla="*/ 97504 h 2436119"/>
                <a:gd name="connsiteX209" fmla="*/ 2347560 w 2436124"/>
                <a:gd name="connsiteY209" fmla="*/ 97626 h 2436119"/>
                <a:gd name="connsiteX210" fmla="*/ 2343055 w 2436124"/>
                <a:gd name="connsiteY210" fmla="*/ 99477 h 2436119"/>
                <a:gd name="connsiteX211" fmla="*/ 2429584 w 2436124"/>
                <a:gd name="connsiteY211" fmla="*/ 12931 h 2436119"/>
                <a:gd name="connsiteX212" fmla="*/ 2425044 w 2436124"/>
                <a:gd name="connsiteY212" fmla="*/ 11045 h 2436119"/>
                <a:gd name="connsiteX213" fmla="*/ 2425079 w 2436124"/>
                <a:gd name="connsiteY213" fmla="*/ 1984 h 2436119"/>
                <a:gd name="connsiteX214" fmla="*/ 2425202 w 2436124"/>
                <a:gd name="connsiteY214" fmla="*/ 1862 h 2436119"/>
                <a:gd name="connsiteX215" fmla="*/ 2434263 w 2436124"/>
                <a:gd name="connsiteY215" fmla="*/ 1897 h 2436119"/>
                <a:gd name="connsiteX216" fmla="*/ 2434228 w 2436124"/>
                <a:gd name="connsiteY216" fmla="*/ 10958 h 2436119"/>
                <a:gd name="connsiteX217" fmla="*/ 2434106 w 2436124"/>
                <a:gd name="connsiteY217" fmla="*/ 11080 h 2436119"/>
                <a:gd name="connsiteX218" fmla="*/ 2429602 w 2436124"/>
                <a:gd name="connsiteY218" fmla="*/ 12931 h 243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2436124" h="2436119">
                  <a:moveTo>
                    <a:pt x="6395" y="2436120"/>
                  </a:moveTo>
                  <a:cubicBezTo>
                    <a:pt x="4753" y="2436120"/>
                    <a:pt x="3112" y="2435492"/>
                    <a:pt x="1872" y="2434252"/>
                  </a:cubicBezTo>
                  <a:cubicBezTo>
                    <a:pt x="-624" y="2431755"/>
                    <a:pt x="-624" y="2427705"/>
                    <a:pt x="1872" y="2425191"/>
                  </a:cubicBezTo>
                  <a:lnTo>
                    <a:pt x="1995" y="2425068"/>
                  </a:lnTo>
                  <a:cubicBezTo>
                    <a:pt x="4491" y="2422572"/>
                    <a:pt x="8542" y="2422572"/>
                    <a:pt x="11056" y="2425068"/>
                  </a:cubicBezTo>
                  <a:cubicBezTo>
                    <a:pt x="13553" y="2427565"/>
                    <a:pt x="13553" y="2431616"/>
                    <a:pt x="11056" y="2434130"/>
                  </a:cubicBezTo>
                  <a:lnTo>
                    <a:pt x="10934" y="2434252"/>
                  </a:lnTo>
                  <a:cubicBezTo>
                    <a:pt x="9677" y="2435509"/>
                    <a:pt x="8053" y="2436120"/>
                    <a:pt x="6412" y="2436120"/>
                  </a:cubicBezTo>
                  <a:close/>
                  <a:moveTo>
                    <a:pt x="92940" y="2349575"/>
                  </a:moveTo>
                  <a:cubicBezTo>
                    <a:pt x="91299" y="2349575"/>
                    <a:pt x="89658" y="2348946"/>
                    <a:pt x="88418" y="2347706"/>
                  </a:cubicBezTo>
                  <a:cubicBezTo>
                    <a:pt x="85922" y="2345210"/>
                    <a:pt x="85922" y="2341159"/>
                    <a:pt x="88418" y="2338645"/>
                  </a:cubicBezTo>
                  <a:lnTo>
                    <a:pt x="88540" y="2338523"/>
                  </a:lnTo>
                  <a:cubicBezTo>
                    <a:pt x="91037" y="2336026"/>
                    <a:pt x="95088" y="2336026"/>
                    <a:pt x="97602" y="2338523"/>
                  </a:cubicBezTo>
                  <a:cubicBezTo>
                    <a:pt x="100098" y="2341019"/>
                    <a:pt x="100098" y="2345070"/>
                    <a:pt x="97602" y="2347584"/>
                  </a:cubicBezTo>
                  <a:lnTo>
                    <a:pt x="97479" y="2347706"/>
                  </a:lnTo>
                  <a:cubicBezTo>
                    <a:pt x="96222" y="2348963"/>
                    <a:pt x="94599" y="2349575"/>
                    <a:pt x="92958" y="2349575"/>
                  </a:cubicBezTo>
                  <a:close/>
                  <a:moveTo>
                    <a:pt x="179520" y="2262942"/>
                  </a:moveTo>
                  <a:cubicBezTo>
                    <a:pt x="177879" y="2262942"/>
                    <a:pt x="176256" y="2262331"/>
                    <a:pt x="175016" y="2261091"/>
                  </a:cubicBezTo>
                  <a:cubicBezTo>
                    <a:pt x="172519" y="2258594"/>
                    <a:pt x="172450" y="2254596"/>
                    <a:pt x="174946" y="2252099"/>
                  </a:cubicBezTo>
                  <a:lnTo>
                    <a:pt x="175069" y="2251977"/>
                  </a:lnTo>
                  <a:cubicBezTo>
                    <a:pt x="177565" y="2249480"/>
                    <a:pt x="181616" y="2249480"/>
                    <a:pt x="184130" y="2251977"/>
                  </a:cubicBezTo>
                  <a:cubicBezTo>
                    <a:pt x="186627" y="2254474"/>
                    <a:pt x="186627" y="2258524"/>
                    <a:pt x="184130" y="2261039"/>
                  </a:cubicBezTo>
                  <a:cubicBezTo>
                    <a:pt x="182873" y="2262296"/>
                    <a:pt x="181179" y="2262942"/>
                    <a:pt x="179503" y="2262942"/>
                  </a:cubicBezTo>
                  <a:close/>
                  <a:moveTo>
                    <a:pt x="266066" y="2176396"/>
                  </a:moveTo>
                  <a:cubicBezTo>
                    <a:pt x="264425" y="2176396"/>
                    <a:pt x="262802" y="2175785"/>
                    <a:pt x="261562" y="2174545"/>
                  </a:cubicBezTo>
                  <a:cubicBezTo>
                    <a:pt x="259065" y="2172048"/>
                    <a:pt x="258995" y="2168051"/>
                    <a:pt x="261492" y="2165554"/>
                  </a:cubicBezTo>
                  <a:lnTo>
                    <a:pt x="261614" y="2165432"/>
                  </a:lnTo>
                  <a:cubicBezTo>
                    <a:pt x="264111" y="2162935"/>
                    <a:pt x="268161" y="2162935"/>
                    <a:pt x="270676" y="2165432"/>
                  </a:cubicBezTo>
                  <a:cubicBezTo>
                    <a:pt x="273190" y="2167928"/>
                    <a:pt x="273172" y="2171979"/>
                    <a:pt x="270676" y="2174493"/>
                  </a:cubicBezTo>
                  <a:cubicBezTo>
                    <a:pt x="269418" y="2175750"/>
                    <a:pt x="267725" y="2176396"/>
                    <a:pt x="266049" y="2176396"/>
                  </a:cubicBezTo>
                  <a:close/>
                  <a:moveTo>
                    <a:pt x="352612" y="2089868"/>
                  </a:moveTo>
                  <a:cubicBezTo>
                    <a:pt x="350971" y="2089868"/>
                    <a:pt x="349347" y="2089257"/>
                    <a:pt x="348107" y="2088017"/>
                  </a:cubicBezTo>
                  <a:cubicBezTo>
                    <a:pt x="345611" y="2085521"/>
                    <a:pt x="345541" y="2081522"/>
                    <a:pt x="348037" y="2079026"/>
                  </a:cubicBezTo>
                  <a:lnTo>
                    <a:pt x="348160" y="2078903"/>
                  </a:lnTo>
                  <a:cubicBezTo>
                    <a:pt x="350656" y="2076407"/>
                    <a:pt x="354707" y="2076407"/>
                    <a:pt x="357221" y="2078903"/>
                  </a:cubicBezTo>
                  <a:cubicBezTo>
                    <a:pt x="359735" y="2081400"/>
                    <a:pt x="359718" y="2085451"/>
                    <a:pt x="357221" y="2087965"/>
                  </a:cubicBezTo>
                  <a:cubicBezTo>
                    <a:pt x="355964" y="2089222"/>
                    <a:pt x="354270" y="2089868"/>
                    <a:pt x="352594" y="2089868"/>
                  </a:cubicBezTo>
                  <a:close/>
                  <a:moveTo>
                    <a:pt x="439105" y="2003410"/>
                  </a:moveTo>
                  <a:cubicBezTo>
                    <a:pt x="437464" y="2003410"/>
                    <a:pt x="435823" y="2002781"/>
                    <a:pt x="434583" y="2001541"/>
                  </a:cubicBezTo>
                  <a:cubicBezTo>
                    <a:pt x="432087" y="1999045"/>
                    <a:pt x="432087" y="1994994"/>
                    <a:pt x="434583" y="1992480"/>
                  </a:cubicBezTo>
                  <a:lnTo>
                    <a:pt x="434705" y="1992358"/>
                  </a:lnTo>
                  <a:cubicBezTo>
                    <a:pt x="437202" y="1989861"/>
                    <a:pt x="441253" y="1989861"/>
                    <a:pt x="443767" y="1992358"/>
                  </a:cubicBezTo>
                  <a:cubicBezTo>
                    <a:pt x="446281" y="1994854"/>
                    <a:pt x="446263" y="1998905"/>
                    <a:pt x="443767" y="2001419"/>
                  </a:cubicBezTo>
                  <a:lnTo>
                    <a:pt x="443644" y="2001541"/>
                  </a:lnTo>
                  <a:cubicBezTo>
                    <a:pt x="442387" y="2002798"/>
                    <a:pt x="440764" y="2003410"/>
                    <a:pt x="439123" y="2003410"/>
                  </a:cubicBezTo>
                  <a:close/>
                  <a:moveTo>
                    <a:pt x="525650" y="1916864"/>
                  </a:moveTo>
                  <a:cubicBezTo>
                    <a:pt x="524009" y="1916864"/>
                    <a:pt x="522368" y="1916236"/>
                    <a:pt x="521129" y="1914996"/>
                  </a:cubicBezTo>
                  <a:cubicBezTo>
                    <a:pt x="518632" y="1912499"/>
                    <a:pt x="518632" y="1908448"/>
                    <a:pt x="521129" y="1905934"/>
                  </a:cubicBezTo>
                  <a:lnTo>
                    <a:pt x="521251" y="1905812"/>
                  </a:lnTo>
                  <a:cubicBezTo>
                    <a:pt x="523748" y="1903316"/>
                    <a:pt x="527798" y="1903316"/>
                    <a:pt x="530312" y="1905812"/>
                  </a:cubicBezTo>
                  <a:cubicBezTo>
                    <a:pt x="532809" y="1908309"/>
                    <a:pt x="532809" y="1912359"/>
                    <a:pt x="530312" y="1914874"/>
                  </a:cubicBezTo>
                  <a:lnTo>
                    <a:pt x="530190" y="1914996"/>
                  </a:lnTo>
                  <a:cubicBezTo>
                    <a:pt x="528933" y="1916253"/>
                    <a:pt x="527309" y="1916864"/>
                    <a:pt x="525668" y="1916864"/>
                  </a:cubicBezTo>
                  <a:close/>
                  <a:moveTo>
                    <a:pt x="612231" y="1830231"/>
                  </a:moveTo>
                  <a:cubicBezTo>
                    <a:pt x="610590" y="1830231"/>
                    <a:pt x="608966" y="1829620"/>
                    <a:pt x="607726" y="1828380"/>
                  </a:cubicBezTo>
                  <a:cubicBezTo>
                    <a:pt x="605230" y="1825884"/>
                    <a:pt x="605160" y="1821886"/>
                    <a:pt x="607657" y="1819389"/>
                  </a:cubicBezTo>
                  <a:lnTo>
                    <a:pt x="607779" y="1819267"/>
                  </a:lnTo>
                  <a:cubicBezTo>
                    <a:pt x="610276" y="1816770"/>
                    <a:pt x="614326" y="1816770"/>
                    <a:pt x="616840" y="1819267"/>
                  </a:cubicBezTo>
                  <a:cubicBezTo>
                    <a:pt x="619355" y="1821763"/>
                    <a:pt x="619337" y="1825814"/>
                    <a:pt x="616840" y="1828328"/>
                  </a:cubicBezTo>
                  <a:cubicBezTo>
                    <a:pt x="615583" y="1829585"/>
                    <a:pt x="613890" y="1830231"/>
                    <a:pt x="612214" y="1830231"/>
                  </a:cubicBezTo>
                  <a:close/>
                  <a:moveTo>
                    <a:pt x="698777" y="1743686"/>
                  </a:moveTo>
                  <a:cubicBezTo>
                    <a:pt x="697136" y="1743686"/>
                    <a:pt x="695512" y="1743074"/>
                    <a:pt x="694272" y="1741835"/>
                  </a:cubicBezTo>
                  <a:cubicBezTo>
                    <a:pt x="691776" y="1739338"/>
                    <a:pt x="691706" y="1735340"/>
                    <a:pt x="694202" y="1732843"/>
                  </a:cubicBezTo>
                  <a:lnTo>
                    <a:pt x="694325" y="1732721"/>
                  </a:lnTo>
                  <a:cubicBezTo>
                    <a:pt x="696821" y="1730225"/>
                    <a:pt x="700872" y="1730225"/>
                    <a:pt x="703386" y="1732721"/>
                  </a:cubicBezTo>
                  <a:cubicBezTo>
                    <a:pt x="705900" y="1735218"/>
                    <a:pt x="705882" y="1739268"/>
                    <a:pt x="703386" y="1741782"/>
                  </a:cubicBezTo>
                  <a:cubicBezTo>
                    <a:pt x="702129" y="1743039"/>
                    <a:pt x="700435" y="1743686"/>
                    <a:pt x="698759" y="1743686"/>
                  </a:cubicBezTo>
                  <a:close/>
                  <a:moveTo>
                    <a:pt x="785322" y="1657157"/>
                  </a:moveTo>
                  <a:cubicBezTo>
                    <a:pt x="783681" y="1657157"/>
                    <a:pt x="782057" y="1656547"/>
                    <a:pt x="780818" y="1655307"/>
                  </a:cubicBezTo>
                  <a:cubicBezTo>
                    <a:pt x="778321" y="1652810"/>
                    <a:pt x="778251" y="1648812"/>
                    <a:pt x="780748" y="1646315"/>
                  </a:cubicBezTo>
                  <a:lnTo>
                    <a:pt x="780870" y="1646193"/>
                  </a:lnTo>
                  <a:cubicBezTo>
                    <a:pt x="783367" y="1643696"/>
                    <a:pt x="787418" y="1643696"/>
                    <a:pt x="789932" y="1646193"/>
                  </a:cubicBezTo>
                  <a:cubicBezTo>
                    <a:pt x="792428" y="1648690"/>
                    <a:pt x="792428" y="1652740"/>
                    <a:pt x="789932" y="1655254"/>
                  </a:cubicBezTo>
                  <a:cubicBezTo>
                    <a:pt x="788675" y="1656512"/>
                    <a:pt x="786981" y="1657157"/>
                    <a:pt x="785305" y="1657157"/>
                  </a:cubicBezTo>
                  <a:close/>
                  <a:moveTo>
                    <a:pt x="871833" y="1570699"/>
                  </a:moveTo>
                  <a:cubicBezTo>
                    <a:pt x="870192" y="1570699"/>
                    <a:pt x="868551" y="1570071"/>
                    <a:pt x="867311" y="1568831"/>
                  </a:cubicBezTo>
                  <a:cubicBezTo>
                    <a:pt x="864814" y="1566334"/>
                    <a:pt x="864814" y="1562284"/>
                    <a:pt x="867311" y="1559769"/>
                  </a:cubicBezTo>
                  <a:lnTo>
                    <a:pt x="867433" y="1559648"/>
                  </a:lnTo>
                  <a:cubicBezTo>
                    <a:pt x="869930" y="1557151"/>
                    <a:pt x="873980" y="1557151"/>
                    <a:pt x="876495" y="1559648"/>
                  </a:cubicBezTo>
                  <a:cubicBezTo>
                    <a:pt x="878991" y="1562144"/>
                    <a:pt x="878991" y="1566195"/>
                    <a:pt x="876495" y="1568709"/>
                  </a:cubicBezTo>
                  <a:lnTo>
                    <a:pt x="876372" y="1568831"/>
                  </a:lnTo>
                  <a:cubicBezTo>
                    <a:pt x="875115" y="1570088"/>
                    <a:pt x="873491" y="1570699"/>
                    <a:pt x="871850" y="1570699"/>
                  </a:cubicBezTo>
                  <a:close/>
                  <a:moveTo>
                    <a:pt x="958361" y="1484153"/>
                  </a:moveTo>
                  <a:cubicBezTo>
                    <a:pt x="956720" y="1484153"/>
                    <a:pt x="955079" y="1483525"/>
                    <a:pt x="953839" y="1482285"/>
                  </a:cubicBezTo>
                  <a:cubicBezTo>
                    <a:pt x="951342" y="1479788"/>
                    <a:pt x="951342" y="1475738"/>
                    <a:pt x="953839" y="1473224"/>
                  </a:cubicBezTo>
                  <a:lnTo>
                    <a:pt x="953961" y="1473102"/>
                  </a:lnTo>
                  <a:cubicBezTo>
                    <a:pt x="956458" y="1470605"/>
                    <a:pt x="960509" y="1470605"/>
                    <a:pt x="963023" y="1473102"/>
                  </a:cubicBezTo>
                  <a:cubicBezTo>
                    <a:pt x="965520" y="1475598"/>
                    <a:pt x="965520" y="1479649"/>
                    <a:pt x="963023" y="1482163"/>
                  </a:cubicBezTo>
                  <a:lnTo>
                    <a:pt x="962901" y="1482285"/>
                  </a:lnTo>
                  <a:cubicBezTo>
                    <a:pt x="961644" y="1483542"/>
                    <a:pt x="960020" y="1484153"/>
                    <a:pt x="958379" y="1484153"/>
                  </a:cubicBezTo>
                  <a:close/>
                  <a:moveTo>
                    <a:pt x="1044942" y="1397521"/>
                  </a:moveTo>
                  <a:cubicBezTo>
                    <a:pt x="1043300" y="1397521"/>
                    <a:pt x="1041677" y="1396909"/>
                    <a:pt x="1040437" y="1395670"/>
                  </a:cubicBezTo>
                  <a:cubicBezTo>
                    <a:pt x="1037941" y="1393173"/>
                    <a:pt x="1037871" y="1389175"/>
                    <a:pt x="1040367" y="1386679"/>
                  </a:cubicBezTo>
                  <a:lnTo>
                    <a:pt x="1040490" y="1386556"/>
                  </a:lnTo>
                  <a:cubicBezTo>
                    <a:pt x="1042986" y="1384060"/>
                    <a:pt x="1047037" y="1384060"/>
                    <a:pt x="1049551" y="1386556"/>
                  </a:cubicBezTo>
                  <a:cubicBezTo>
                    <a:pt x="1052047" y="1389053"/>
                    <a:pt x="1052047" y="1393103"/>
                    <a:pt x="1049551" y="1395617"/>
                  </a:cubicBezTo>
                  <a:cubicBezTo>
                    <a:pt x="1048294" y="1396874"/>
                    <a:pt x="1046600" y="1397521"/>
                    <a:pt x="1044924" y="1397521"/>
                  </a:cubicBezTo>
                  <a:close/>
                  <a:moveTo>
                    <a:pt x="1131487" y="1310975"/>
                  </a:moveTo>
                  <a:cubicBezTo>
                    <a:pt x="1129846" y="1310975"/>
                    <a:pt x="1128222" y="1310364"/>
                    <a:pt x="1126983" y="1309124"/>
                  </a:cubicBezTo>
                  <a:cubicBezTo>
                    <a:pt x="1124486" y="1306628"/>
                    <a:pt x="1124416" y="1302629"/>
                    <a:pt x="1126913" y="1300133"/>
                  </a:cubicBezTo>
                  <a:lnTo>
                    <a:pt x="1127035" y="1300010"/>
                  </a:lnTo>
                  <a:cubicBezTo>
                    <a:pt x="1129532" y="1297514"/>
                    <a:pt x="1133583" y="1297514"/>
                    <a:pt x="1136097" y="1300010"/>
                  </a:cubicBezTo>
                  <a:cubicBezTo>
                    <a:pt x="1138593" y="1302507"/>
                    <a:pt x="1138593" y="1306558"/>
                    <a:pt x="1136097" y="1309072"/>
                  </a:cubicBezTo>
                  <a:cubicBezTo>
                    <a:pt x="1134840" y="1310329"/>
                    <a:pt x="1133146" y="1310975"/>
                    <a:pt x="1131470" y="1310975"/>
                  </a:cubicBezTo>
                  <a:close/>
                  <a:moveTo>
                    <a:pt x="1218033" y="1224430"/>
                  </a:moveTo>
                  <a:cubicBezTo>
                    <a:pt x="1216392" y="1224430"/>
                    <a:pt x="1214768" y="1223818"/>
                    <a:pt x="1213528" y="1222579"/>
                  </a:cubicBezTo>
                  <a:cubicBezTo>
                    <a:pt x="1211032" y="1220082"/>
                    <a:pt x="1210962" y="1216084"/>
                    <a:pt x="1213459" y="1213587"/>
                  </a:cubicBezTo>
                  <a:lnTo>
                    <a:pt x="1213581" y="1213465"/>
                  </a:lnTo>
                  <a:cubicBezTo>
                    <a:pt x="1216078" y="1210968"/>
                    <a:pt x="1220128" y="1210968"/>
                    <a:pt x="1222642" y="1213465"/>
                  </a:cubicBezTo>
                  <a:cubicBezTo>
                    <a:pt x="1225156" y="1215962"/>
                    <a:pt x="1225139" y="1220012"/>
                    <a:pt x="1222642" y="1222526"/>
                  </a:cubicBezTo>
                  <a:cubicBezTo>
                    <a:pt x="1221385" y="1223783"/>
                    <a:pt x="1219691" y="1224430"/>
                    <a:pt x="1218015" y="1224430"/>
                  </a:cubicBezTo>
                  <a:close/>
                  <a:moveTo>
                    <a:pt x="1304544" y="1137989"/>
                  </a:moveTo>
                  <a:cubicBezTo>
                    <a:pt x="1302902" y="1137989"/>
                    <a:pt x="1301261" y="1137360"/>
                    <a:pt x="1300021" y="1136121"/>
                  </a:cubicBezTo>
                  <a:cubicBezTo>
                    <a:pt x="1297525" y="1133624"/>
                    <a:pt x="1297525" y="1129573"/>
                    <a:pt x="1300021" y="1127059"/>
                  </a:cubicBezTo>
                  <a:lnTo>
                    <a:pt x="1300144" y="1126937"/>
                  </a:lnTo>
                  <a:cubicBezTo>
                    <a:pt x="1302640" y="1124440"/>
                    <a:pt x="1306691" y="1124440"/>
                    <a:pt x="1309205" y="1126937"/>
                  </a:cubicBezTo>
                  <a:cubicBezTo>
                    <a:pt x="1311719" y="1129434"/>
                    <a:pt x="1311702" y="1133484"/>
                    <a:pt x="1309205" y="1135998"/>
                  </a:cubicBezTo>
                  <a:lnTo>
                    <a:pt x="1309083" y="1136121"/>
                  </a:lnTo>
                  <a:cubicBezTo>
                    <a:pt x="1307826" y="1137378"/>
                    <a:pt x="1306202" y="1137989"/>
                    <a:pt x="1304561" y="1137989"/>
                  </a:cubicBezTo>
                  <a:close/>
                  <a:moveTo>
                    <a:pt x="1391072" y="1051443"/>
                  </a:moveTo>
                  <a:cubicBezTo>
                    <a:pt x="1389430" y="1051443"/>
                    <a:pt x="1387789" y="1050814"/>
                    <a:pt x="1386550" y="1049575"/>
                  </a:cubicBezTo>
                  <a:cubicBezTo>
                    <a:pt x="1384053" y="1047078"/>
                    <a:pt x="1384053" y="1043028"/>
                    <a:pt x="1386550" y="1040514"/>
                  </a:cubicBezTo>
                  <a:lnTo>
                    <a:pt x="1386672" y="1040391"/>
                  </a:lnTo>
                  <a:cubicBezTo>
                    <a:pt x="1389169" y="1037895"/>
                    <a:pt x="1393219" y="1037895"/>
                    <a:pt x="1395733" y="1040391"/>
                  </a:cubicBezTo>
                  <a:cubicBezTo>
                    <a:pt x="1398247" y="1042888"/>
                    <a:pt x="1398230" y="1046938"/>
                    <a:pt x="1395733" y="1049453"/>
                  </a:cubicBezTo>
                  <a:lnTo>
                    <a:pt x="1395611" y="1049575"/>
                  </a:lnTo>
                  <a:cubicBezTo>
                    <a:pt x="1394354" y="1050832"/>
                    <a:pt x="1392730" y="1051443"/>
                    <a:pt x="1391089" y="1051443"/>
                  </a:cubicBezTo>
                  <a:close/>
                  <a:moveTo>
                    <a:pt x="1477617" y="964897"/>
                  </a:moveTo>
                  <a:cubicBezTo>
                    <a:pt x="1475993" y="964897"/>
                    <a:pt x="1474370" y="964287"/>
                    <a:pt x="1473113" y="963047"/>
                  </a:cubicBezTo>
                  <a:cubicBezTo>
                    <a:pt x="1470598" y="960568"/>
                    <a:pt x="1470564" y="956517"/>
                    <a:pt x="1473043" y="953985"/>
                  </a:cubicBezTo>
                  <a:lnTo>
                    <a:pt x="1473165" y="953863"/>
                  </a:lnTo>
                  <a:cubicBezTo>
                    <a:pt x="1475644" y="951349"/>
                    <a:pt x="1479695" y="951314"/>
                    <a:pt x="1482227" y="953794"/>
                  </a:cubicBezTo>
                  <a:cubicBezTo>
                    <a:pt x="1484741" y="956273"/>
                    <a:pt x="1484776" y="960323"/>
                    <a:pt x="1482296" y="962855"/>
                  </a:cubicBezTo>
                  <a:lnTo>
                    <a:pt x="1482174" y="962977"/>
                  </a:lnTo>
                  <a:cubicBezTo>
                    <a:pt x="1480917" y="964252"/>
                    <a:pt x="1479276" y="964880"/>
                    <a:pt x="1477617" y="964880"/>
                  </a:cubicBezTo>
                  <a:close/>
                  <a:moveTo>
                    <a:pt x="1564198" y="878265"/>
                  </a:moveTo>
                  <a:cubicBezTo>
                    <a:pt x="1562557" y="878265"/>
                    <a:pt x="1560933" y="877653"/>
                    <a:pt x="1559693" y="876414"/>
                  </a:cubicBezTo>
                  <a:cubicBezTo>
                    <a:pt x="1557197" y="873917"/>
                    <a:pt x="1557127" y="869919"/>
                    <a:pt x="1559624" y="867422"/>
                  </a:cubicBezTo>
                  <a:lnTo>
                    <a:pt x="1559745" y="867300"/>
                  </a:lnTo>
                  <a:cubicBezTo>
                    <a:pt x="1562242" y="864803"/>
                    <a:pt x="1566293" y="864803"/>
                    <a:pt x="1568807" y="867300"/>
                  </a:cubicBezTo>
                  <a:cubicBezTo>
                    <a:pt x="1571321" y="869797"/>
                    <a:pt x="1571304" y="873847"/>
                    <a:pt x="1568807" y="876362"/>
                  </a:cubicBezTo>
                  <a:cubicBezTo>
                    <a:pt x="1567550" y="877619"/>
                    <a:pt x="1565856" y="878265"/>
                    <a:pt x="1564180" y="878265"/>
                  </a:cubicBezTo>
                  <a:close/>
                  <a:moveTo>
                    <a:pt x="1650743" y="791719"/>
                  </a:moveTo>
                  <a:cubicBezTo>
                    <a:pt x="1649102" y="791719"/>
                    <a:pt x="1647478" y="791108"/>
                    <a:pt x="1646239" y="789868"/>
                  </a:cubicBezTo>
                  <a:cubicBezTo>
                    <a:pt x="1643742" y="787372"/>
                    <a:pt x="1643672" y="783373"/>
                    <a:pt x="1646169" y="780877"/>
                  </a:cubicBezTo>
                  <a:lnTo>
                    <a:pt x="1646291" y="780755"/>
                  </a:lnTo>
                  <a:cubicBezTo>
                    <a:pt x="1648788" y="778258"/>
                    <a:pt x="1652838" y="778258"/>
                    <a:pt x="1655352" y="780755"/>
                  </a:cubicBezTo>
                  <a:cubicBezTo>
                    <a:pt x="1657866" y="783251"/>
                    <a:pt x="1657849" y="787302"/>
                    <a:pt x="1655352" y="789816"/>
                  </a:cubicBezTo>
                  <a:cubicBezTo>
                    <a:pt x="1654095" y="791073"/>
                    <a:pt x="1652402" y="791719"/>
                    <a:pt x="1650726" y="791719"/>
                  </a:cubicBezTo>
                  <a:close/>
                  <a:moveTo>
                    <a:pt x="1737254" y="705278"/>
                  </a:moveTo>
                  <a:cubicBezTo>
                    <a:pt x="1735630" y="705278"/>
                    <a:pt x="1734007" y="704667"/>
                    <a:pt x="1732750" y="703427"/>
                  </a:cubicBezTo>
                  <a:cubicBezTo>
                    <a:pt x="1730235" y="700948"/>
                    <a:pt x="1730201" y="696898"/>
                    <a:pt x="1732680" y="694366"/>
                  </a:cubicBezTo>
                  <a:lnTo>
                    <a:pt x="1732802" y="694244"/>
                  </a:lnTo>
                  <a:cubicBezTo>
                    <a:pt x="1735281" y="691730"/>
                    <a:pt x="1739332" y="691695"/>
                    <a:pt x="1741863" y="694174"/>
                  </a:cubicBezTo>
                  <a:cubicBezTo>
                    <a:pt x="1744377" y="696653"/>
                    <a:pt x="1744412" y="700704"/>
                    <a:pt x="1741933" y="703235"/>
                  </a:cubicBezTo>
                  <a:lnTo>
                    <a:pt x="1741811" y="703358"/>
                  </a:lnTo>
                  <a:cubicBezTo>
                    <a:pt x="1740554" y="704632"/>
                    <a:pt x="1738913" y="705261"/>
                    <a:pt x="1737254" y="705261"/>
                  </a:cubicBezTo>
                  <a:close/>
                  <a:moveTo>
                    <a:pt x="1823799" y="618732"/>
                  </a:moveTo>
                  <a:cubicBezTo>
                    <a:pt x="1822158" y="618732"/>
                    <a:pt x="1820517" y="618104"/>
                    <a:pt x="1819278" y="616864"/>
                  </a:cubicBezTo>
                  <a:cubicBezTo>
                    <a:pt x="1816781" y="614368"/>
                    <a:pt x="1816781" y="610317"/>
                    <a:pt x="1819278" y="607803"/>
                  </a:cubicBezTo>
                  <a:lnTo>
                    <a:pt x="1819400" y="607681"/>
                  </a:lnTo>
                  <a:cubicBezTo>
                    <a:pt x="1821897" y="605184"/>
                    <a:pt x="1825947" y="605184"/>
                    <a:pt x="1828461" y="607681"/>
                  </a:cubicBezTo>
                  <a:cubicBezTo>
                    <a:pt x="1830958" y="610178"/>
                    <a:pt x="1830958" y="614228"/>
                    <a:pt x="1828461" y="616742"/>
                  </a:cubicBezTo>
                  <a:lnTo>
                    <a:pt x="1828339" y="616864"/>
                  </a:lnTo>
                  <a:cubicBezTo>
                    <a:pt x="1827082" y="618121"/>
                    <a:pt x="1825458" y="618732"/>
                    <a:pt x="1823817" y="618732"/>
                  </a:cubicBezTo>
                  <a:close/>
                  <a:moveTo>
                    <a:pt x="1910328" y="532187"/>
                  </a:moveTo>
                  <a:cubicBezTo>
                    <a:pt x="1908669" y="532187"/>
                    <a:pt x="1907028" y="531558"/>
                    <a:pt x="1905771" y="530284"/>
                  </a:cubicBezTo>
                  <a:cubicBezTo>
                    <a:pt x="1903292" y="527770"/>
                    <a:pt x="1903309" y="523719"/>
                    <a:pt x="1905841" y="521222"/>
                  </a:cubicBezTo>
                  <a:lnTo>
                    <a:pt x="1905963" y="521100"/>
                  </a:lnTo>
                  <a:cubicBezTo>
                    <a:pt x="1908477" y="518621"/>
                    <a:pt x="1912545" y="518639"/>
                    <a:pt x="1915024" y="521170"/>
                  </a:cubicBezTo>
                  <a:cubicBezTo>
                    <a:pt x="1917504" y="523684"/>
                    <a:pt x="1917486" y="527735"/>
                    <a:pt x="1914954" y="530232"/>
                  </a:cubicBezTo>
                  <a:lnTo>
                    <a:pt x="1914832" y="530354"/>
                  </a:lnTo>
                  <a:cubicBezTo>
                    <a:pt x="1913593" y="531576"/>
                    <a:pt x="1911969" y="532204"/>
                    <a:pt x="1910345" y="532204"/>
                  </a:cubicBezTo>
                  <a:close/>
                  <a:moveTo>
                    <a:pt x="1996908" y="445554"/>
                  </a:moveTo>
                  <a:cubicBezTo>
                    <a:pt x="1995284" y="445554"/>
                    <a:pt x="1993661" y="444943"/>
                    <a:pt x="1992421" y="443721"/>
                  </a:cubicBezTo>
                  <a:cubicBezTo>
                    <a:pt x="1989907" y="441224"/>
                    <a:pt x="1989837" y="437243"/>
                    <a:pt x="1992334" y="434729"/>
                  </a:cubicBezTo>
                  <a:lnTo>
                    <a:pt x="1992456" y="434607"/>
                  </a:lnTo>
                  <a:cubicBezTo>
                    <a:pt x="1994953" y="432093"/>
                    <a:pt x="1999003" y="432093"/>
                    <a:pt x="2001518" y="434572"/>
                  </a:cubicBezTo>
                  <a:cubicBezTo>
                    <a:pt x="2004032" y="437069"/>
                    <a:pt x="2004032" y="441119"/>
                    <a:pt x="2001553" y="443634"/>
                  </a:cubicBezTo>
                  <a:cubicBezTo>
                    <a:pt x="2000277" y="444908"/>
                    <a:pt x="1998601" y="445554"/>
                    <a:pt x="1996925" y="445554"/>
                  </a:cubicBezTo>
                  <a:close/>
                  <a:moveTo>
                    <a:pt x="2083454" y="359008"/>
                  </a:moveTo>
                  <a:cubicBezTo>
                    <a:pt x="2081813" y="359008"/>
                    <a:pt x="2080189" y="358397"/>
                    <a:pt x="2078949" y="357158"/>
                  </a:cubicBezTo>
                  <a:cubicBezTo>
                    <a:pt x="2076453" y="354661"/>
                    <a:pt x="2076383" y="350663"/>
                    <a:pt x="2078879" y="348166"/>
                  </a:cubicBezTo>
                  <a:lnTo>
                    <a:pt x="2079002" y="348044"/>
                  </a:lnTo>
                  <a:cubicBezTo>
                    <a:pt x="2081498" y="345547"/>
                    <a:pt x="2085549" y="345547"/>
                    <a:pt x="2088063" y="348044"/>
                  </a:cubicBezTo>
                  <a:cubicBezTo>
                    <a:pt x="2090560" y="350541"/>
                    <a:pt x="2090560" y="354591"/>
                    <a:pt x="2088063" y="357105"/>
                  </a:cubicBezTo>
                  <a:cubicBezTo>
                    <a:pt x="2086806" y="358362"/>
                    <a:pt x="2085113" y="359008"/>
                    <a:pt x="2083437" y="359008"/>
                  </a:cubicBezTo>
                  <a:close/>
                  <a:moveTo>
                    <a:pt x="2169965" y="272568"/>
                  </a:moveTo>
                  <a:cubicBezTo>
                    <a:pt x="2168323" y="272568"/>
                    <a:pt x="2166682" y="271939"/>
                    <a:pt x="2165425" y="270682"/>
                  </a:cubicBezTo>
                  <a:cubicBezTo>
                    <a:pt x="2162928" y="268168"/>
                    <a:pt x="2162946" y="264117"/>
                    <a:pt x="2165460" y="261621"/>
                  </a:cubicBezTo>
                  <a:lnTo>
                    <a:pt x="2165582" y="261498"/>
                  </a:lnTo>
                  <a:cubicBezTo>
                    <a:pt x="2168096" y="259002"/>
                    <a:pt x="2172147" y="259019"/>
                    <a:pt x="2174643" y="261533"/>
                  </a:cubicBezTo>
                  <a:cubicBezTo>
                    <a:pt x="2177140" y="264048"/>
                    <a:pt x="2177122" y="268098"/>
                    <a:pt x="2174608" y="270595"/>
                  </a:cubicBezTo>
                  <a:lnTo>
                    <a:pt x="2174487" y="270717"/>
                  </a:lnTo>
                  <a:cubicBezTo>
                    <a:pt x="2173247" y="271956"/>
                    <a:pt x="2171606" y="272568"/>
                    <a:pt x="2169982" y="272568"/>
                  </a:cubicBezTo>
                  <a:close/>
                  <a:moveTo>
                    <a:pt x="2256510" y="186022"/>
                  </a:moveTo>
                  <a:cubicBezTo>
                    <a:pt x="2254869" y="186022"/>
                    <a:pt x="2253228" y="185394"/>
                    <a:pt x="2251971" y="184137"/>
                  </a:cubicBezTo>
                  <a:cubicBezTo>
                    <a:pt x="2249474" y="181622"/>
                    <a:pt x="2249491" y="177572"/>
                    <a:pt x="2252006" y="175075"/>
                  </a:cubicBezTo>
                  <a:lnTo>
                    <a:pt x="2252127" y="174953"/>
                  </a:lnTo>
                  <a:cubicBezTo>
                    <a:pt x="2254642" y="172456"/>
                    <a:pt x="2258693" y="172474"/>
                    <a:pt x="2261190" y="174988"/>
                  </a:cubicBezTo>
                  <a:cubicBezTo>
                    <a:pt x="2263686" y="177502"/>
                    <a:pt x="2263669" y="181553"/>
                    <a:pt x="2261155" y="184049"/>
                  </a:cubicBezTo>
                  <a:lnTo>
                    <a:pt x="2261032" y="184171"/>
                  </a:lnTo>
                  <a:cubicBezTo>
                    <a:pt x="2259792" y="185411"/>
                    <a:pt x="2258151" y="186022"/>
                    <a:pt x="2256527" y="186022"/>
                  </a:cubicBezTo>
                  <a:close/>
                  <a:moveTo>
                    <a:pt x="2343038" y="99477"/>
                  </a:moveTo>
                  <a:cubicBezTo>
                    <a:pt x="2341397" y="99477"/>
                    <a:pt x="2339756" y="98848"/>
                    <a:pt x="2338499" y="97591"/>
                  </a:cubicBezTo>
                  <a:cubicBezTo>
                    <a:pt x="2336002" y="95077"/>
                    <a:pt x="2336020" y="91026"/>
                    <a:pt x="2338534" y="88530"/>
                  </a:cubicBezTo>
                  <a:lnTo>
                    <a:pt x="2338656" y="88407"/>
                  </a:lnTo>
                  <a:cubicBezTo>
                    <a:pt x="2341170" y="85911"/>
                    <a:pt x="2345221" y="85928"/>
                    <a:pt x="2347717" y="88442"/>
                  </a:cubicBezTo>
                  <a:cubicBezTo>
                    <a:pt x="2350214" y="90956"/>
                    <a:pt x="2350197" y="95007"/>
                    <a:pt x="2347683" y="97504"/>
                  </a:cubicBezTo>
                  <a:lnTo>
                    <a:pt x="2347560" y="97626"/>
                  </a:lnTo>
                  <a:cubicBezTo>
                    <a:pt x="2346320" y="98865"/>
                    <a:pt x="2344679" y="99477"/>
                    <a:pt x="2343055" y="99477"/>
                  </a:cubicBezTo>
                  <a:close/>
                  <a:moveTo>
                    <a:pt x="2429584" y="12931"/>
                  </a:moveTo>
                  <a:cubicBezTo>
                    <a:pt x="2427943" y="12931"/>
                    <a:pt x="2426302" y="12302"/>
                    <a:pt x="2425044" y="11045"/>
                  </a:cubicBezTo>
                  <a:cubicBezTo>
                    <a:pt x="2422548" y="8531"/>
                    <a:pt x="2422565" y="4481"/>
                    <a:pt x="2425079" y="1984"/>
                  </a:cubicBezTo>
                  <a:lnTo>
                    <a:pt x="2425202" y="1862"/>
                  </a:lnTo>
                  <a:cubicBezTo>
                    <a:pt x="2427716" y="-635"/>
                    <a:pt x="2431766" y="-618"/>
                    <a:pt x="2434263" y="1897"/>
                  </a:cubicBezTo>
                  <a:cubicBezTo>
                    <a:pt x="2436759" y="4411"/>
                    <a:pt x="2436742" y="8461"/>
                    <a:pt x="2434228" y="10958"/>
                  </a:cubicBezTo>
                  <a:lnTo>
                    <a:pt x="2434106" y="11080"/>
                  </a:lnTo>
                  <a:cubicBezTo>
                    <a:pt x="2432849" y="12320"/>
                    <a:pt x="2431225" y="12931"/>
                    <a:pt x="2429602" y="12931"/>
                  </a:cubicBezTo>
                  <a:close/>
                </a:path>
              </a:pathLst>
            </a:custGeom>
            <a:grpFill/>
            <a:ln w="0"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BE6136D5-85C2-1F87-FA82-633BC74A0A6B}"/>
                </a:ext>
              </a:extLst>
            </p:cNvPr>
            <p:cNvSpPr/>
            <p:nvPr/>
          </p:nvSpPr>
          <p:spPr>
            <a:xfrm>
              <a:off x="6602108" y="2845818"/>
              <a:ext cx="2350757" cy="2350722"/>
            </a:xfrm>
            <a:custGeom>
              <a:avLst/>
              <a:gdLst>
                <a:gd name="connsiteX0" fmla="*/ 6984 w 2350757"/>
                <a:gd name="connsiteY0" fmla="*/ 2350722 h 2350722"/>
                <a:gd name="connsiteX1" fmla="*/ 2078 w 2350757"/>
                <a:gd name="connsiteY1" fmla="*/ 2348715 h 2350722"/>
                <a:gd name="connsiteX2" fmla="*/ 2008 w 2350757"/>
                <a:gd name="connsiteY2" fmla="*/ 2338833 h 2350722"/>
                <a:gd name="connsiteX3" fmla="*/ 2130 w 2350757"/>
                <a:gd name="connsiteY3" fmla="*/ 2338710 h 2350722"/>
                <a:gd name="connsiteX4" fmla="*/ 12012 w 2350757"/>
                <a:gd name="connsiteY4" fmla="*/ 2338641 h 2350722"/>
                <a:gd name="connsiteX5" fmla="*/ 12082 w 2350757"/>
                <a:gd name="connsiteY5" fmla="*/ 2348523 h 2350722"/>
                <a:gd name="connsiteX6" fmla="*/ 11960 w 2350757"/>
                <a:gd name="connsiteY6" fmla="*/ 2348645 h 2350722"/>
                <a:gd name="connsiteX7" fmla="*/ 6984 w 2350757"/>
                <a:gd name="connsiteY7" fmla="*/ 2350722 h 2350722"/>
                <a:gd name="connsiteX8" fmla="*/ 93564 w 2350757"/>
                <a:gd name="connsiteY8" fmla="*/ 2264090 h 2350722"/>
                <a:gd name="connsiteX9" fmla="*/ 88658 w 2350757"/>
                <a:gd name="connsiteY9" fmla="*/ 2262082 h 2350722"/>
                <a:gd name="connsiteX10" fmla="*/ 88589 w 2350757"/>
                <a:gd name="connsiteY10" fmla="*/ 2252270 h 2350722"/>
                <a:gd name="connsiteX11" fmla="*/ 88711 w 2350757"/>
                <a:gd name="connsiteY11" fmla="*/ 2252147 h 2350722"/>
                <a:gd name="connsiteX12" fmla="*/ 98593 w 2350757"/>
                <a:gd name="connsiteY12" fmla="*/ 2252147 h 2350722"/>
                <a:gd name="connsiteX13" fmla="*/ 98593 w 2350757"/>
                <a:gd name="connsiteY13" fmla="*/ 2262030 h 2350722"/>
                <a:gd name="connsiteX14" fmla="*/ 93564 w 2350757"/>
                <a:gd name="connsiteY14" fmla="*/ 2264107 h 2350722"/>
                <a:gd name="connsiteX15" fmla="*/ 180110 w 2350757"/>
                <a:gd name="connsiteY15" fmla="*/ 2177544 h 2350722"/>
                <a:gd name="connsiteX16" fmla="*/ 175204 w 2350757"/>
                <a:gd name="connsiteY16" fmla="*/ 2175536 h 2350722"/>
                <a:gd name="connsiteX17" fmla="*/ 175134 w 2350757"/>
                <a:gd name="connsiteY17" fmla="*/ 2165724 h 2350722"/>
                <a:gd name="connsiteX18" fmla="*/ 175256 w 2350757"/>
                <a:gd name="connsiteY18" fmla="*/ 2165602 h 2350722"/>
                <a:gd name="connsiteX19" fmla="*/ 185138 w 2350757"/>
                <a:gd name="connsiteY19" fmla="*/ 2165602 h 2350722"/>
                <a:gd name="connsiteX20" fmla="*/ 185138 w 2350757"/>
                <a:gd name="connsiteY20" fmla="*/ 2175484 h 2350722"/>
                <a:gd name="connsiteX21" fmla="*/ 180110 w 2350757"/>
                <a:gd name="connsiteY21" fmla="*/ 2177561 h 2350722"/>
                <a:gd name="connsiteX22" fmla="*/ 266621 w 2350757"/>
                <a:gd name="connsiteY22" fmla="*/ 2091103 h 2350722"/>
                <a:gd name="connsiteX23" fmla="*/ 261645 w 2350757"/>
                <a:gd name="connsiteY23" fmla="*/ 2089025 h 2350722"/>
                <a:gd name="connsiteX24" fmla="*/ 261715 w 2350757"/>
                <a:gd name="connsiteY24" fmla="*/ 2079144 h 2350722"/>
                <a:gd name="connsiteX25" fmla="*/ 261837 w 2350757"/>
                <a:gd name="connsiteY25" fmla="*/ 2079021 h 2350722"/>
                <a:gd name="connsiteX26" fmla="*/ 271719 w 2350757"/>
                <a:gd name="connsiteY26" fmla="*/ 2079091 h 2350722"/>
                <a:gd name="connsiteX27" fmla="*/ 271649 w 2350757"/>
                <a:gd name="connsiteY27" fmla="*/ 2088973 h 2350722"/>
                <a:gd name="connsiteX28" fmla="*/ 271527 w 2350757"/>
                <a:gd name="connsiteY28" fmla="*/ 2089095 h 2350722"/>
                <a:gd name="connsiteX29" fmla="*/ 266621 w 2350757"/>
                <a:gd name="connsiteY29" fmla="*/ 2091103 h 2350722"/>
                <a:gd name="connsiteX30" fmla="*/ 353166 w 2350757"/>
                <a:gd name="connsiteY30" fmla="*/ 2004558 h 2350722"/>
                <a:gd name="connsiteX31" fmla="*/ 348190 w 2350757"/>
                <a:gd name="connsiteY31" fmla="*/ 2002480 h 2350722"/>
                <a:gd name="connsiteX32" fmla="*/ 348260 w 2350757"/>
                <a:gd name="connsiteY32" fmla="*/ 1992598 h 2350722"/>
                <a:gd name="connsiteX33" fmla="*/ 348382 w 2350757"/>
                <a:gd name="connsiteY33" fmla="*/ 1992476 h 2350722"/>
                <a:gd name="connsiteX34" fmla="*/ 358264 w 2350757"/>
                <a:gd name="connsiteY34" fmla="*/ 1992545 h 2350722"/>
                <a:gd name="connsiteX35" fmla="*/ 358195 w 2350757"/>
                <a:gd name="connsiteY35" fmla="*/ 2002427 h 2350722"/>
                <a:gd name="connsiteX36" fmla="*/ 358072 w 2350757"/>
                <a:gd name="connsiteY36" fmla="*/ 2002550 h 2350722"/>
                <a:gd name="connsiteX37" fmla="*/ 353166 w 2350757"/>
                <a:gd name="connsiteY37" fmla="*/ 2004558 h 2350722"/>
                <a:gd name="connsiteX38" fmla="*/ 439712 w 2350757"/>
                <a:gd name="connsiteY38" fmla="*/ 1918012 h 2350722"/>
                <a:gd name="connsiteX39" fmla="*/ 434806 w 2350757"/>
                <a:gd name="connsiteY39" fmla="*/ 1916004 h 2350722"/>
                <a:gd name="connsiteX40" fmla="*/ 434736 w 2350757"/>
                <a:gd name="connsiteY40" fmla="*/ 1906122 h 2350722"/>
                <a:gd name="connsiteX41" fmla="*/ 434858 w 2350757"/>
                <a:gd name="connsiteY41" fmla="*/ 1906000 h 2350722"/>
                <a:gd name="connsiteX42" fmla="*/ 444740 w 2350757"/>
                <a:gd name="connsiteY42" fmla="*/ 1905930 h 2350722"/>
                <a:gd name="connsiteX43" fmla="*/ 444810 w 2350757"/>
                <a:gd name="connsiteY43" fmla="*/ 1915812 h 2350722"/>
                <a:gd name="connsiteX44" fmla="*/ 444688 w 2350757"/>
                <a:gd name="connsiteY44" fmla="*/ 1915934 h 2350722"/>
                <a:gd name="connsiteX45" fmla="*/ 439712 w 2350757"/>
                <a:gd name="connsiteY45" fmla="*/ 1918012 h 2350722"/>
                <a:gd name="connsiteX46" fmla="*/ 526240 w 2350757"/>
                <a:gd name="connsiteY46" fmla="*/ 1831466 h 2350722"/>
                <a:gd name="connsiteX47" fmla="*/ 521334 w 2350757"/>
                <a:gd name="connsiteY47" fmla="*/ 1829459 h 2350722"/>
                <a:gd name="connsiteX48" fmla="*/ 521264 w 2350757"/>
                <a:gd name="connsiteY48" fmla="*/ 1819576 h 2350722"/>
                <a:gd name="connsiteX49" fmla="*/ 521386 w 2350757"/>
                <a:gd name="connsiteY49" fmla="*/ 1819455 h 2350722"/>
                <a:gd name="connsiteX50" fmla="*/ 531268 w 2350757"/>
                <a:gd name="connsiteY50" fmla="*/ 1819385 h 2350722"/>
                <a:gd name="connsiteX51" fmla="*/ 531338 w 2350757"/>
                <a:gd name="connsiteY51" fmla="*/ 1829266 h 2350722"/>
                <a:gd name="connsiteX52" fmla="*/ 531216 w 2350757"/>
                <a:gd name="connsiteY52" fmla="*/ 1829389 h 2350722"/>
                <a:gd name="connsiteX53" fmla="*/ 526240 w 2350757"/>
                <a:gd name="connsiteY53" fmla="*/ 1831466 h 2350722"/>
                <a:gd name="connsiteX54" fmla="*/ 612820 w 2350757"/>
                <a:gd name="connsiteY54" fmla="*/ 1744834 h 2350722"/>
                <a:gd name="connsiteX55" fmla="*/ 607915 w 2350757"/>
                <a:gd name="connsiteY55" fmla="*/ 1742826 h 2350722"/>
                <a:gd name="connsiteX56" fmla="*/ 607845 w 2350757"/>
                <a:gd name="connsiteY56" fmla="*/ 1733014 h 2350722"/>
                <a:gd name="connsiteX57" fmla="*/ 607967 w 2350757"/>
                <a:gd name="connsiteY57" fmla="*/ 1732891 h 2350722"/>
                <a:gd name="connsiteX58" fmla="*/ 617849 w 2350757"/>
                <a:gd name="connsiteY58" fmla="*/ 1732891 h 2350722"/>
                <a:gd name="connsiteX59" fmla="*/ 617849 w 2350757"/>
                <a:gd name="connsiteY59" fmla="*/ 1742773 h 2350722"/>
                <a:gd name="connsiteX60" fmla="*/ 612820 w 2350757"/>
                <a:gd name="connsiteY60" fmla="*/ 1744851 h 2350722"/>
                <a:gd name="connsiteX61" fmla="*/ 699331 w 2350757"/>
                <a:gd name="connsiteY61" fmla="*/ 1658375 h 2350722"/>
                <a:gd name="connsiteX62" fmla="*/ 694355 w 2350757"/>
                <a:gd name="connsiteY62" fmla="*/ 1656297 h 2350722"/>
                <a:gd name="connsiteX63" fmla="*/ 694425 w 2350757"/>
                <a:gd name="connsiteY63" fmla="*/ 1646416 h 2350722"/>
                <a:gd name="connsiteX64" fmla="*/ 694547 w 2350757"/>
                <a:gd name="connsiteY64" fmla="*/ 1646293 h 2350722"/>
                <a:gd name="connsiteX65" fmla="*/ 704429 w 2350757"/>
                <a:gd name="connsiteY65" fmla="*/ 1646363 h 2350722"/>
                <a:gd name="connsiteX66" fmla="*/ 704360 w 2350757"/>
                <a:gd name="connsiteY66" fmla="*/ 1656245 h 2350722"/>
                <a:gd name="connsiteX67" fmla="*/ 704237 w 2350757"/>
                <a:gd name="connsiteY67" fmla="*/ 1656367 h 2350722"/>
                <a:gd name="connsiteX68" fmla="*/ 699331 w 2350757"/>
                <a:gd name="connsiteY68" fmla="*/ 1658375 h 2350722"/>
                <a:gd name="connsiteX69" fmla="*/ 785877 w 2350757"/>
                <a:gd name="connsiteY69" fmla="*/ 1571847 h 2350722"/>
                <a:gd name="connsiteX70" fmla="*/ 780901 w 2350757"/>
                <a:gd name="connsiteY70" fmla="*/ 1569770 h 2350722"/>
                <a:gd name="connsiteX71" fmla="*/ 780971 w 2350757"/>
                <a:gd name="connsiteY71" fmla="*/ 1559887 h 2350722"/>
                <a:gd name="connsiteX72" fmla="*/ 781093 w 2350757"/>
                <a:gd name="connsiteY72" fmla="*/ 1559765 h 2350722"/>
                <a:gd name="connsiteX73" fmla="*/ 790975 w 2350757"/>
                <a:gd name="connsiteY73" fmla="*/ 1559835 h 2350722"/>
                <a:gd name="connsiteX74" fmla="*/ 790905 w 2350757"/>
                <a:gd name="connsiteY74" fmla="*/ 1569717 h 2350722"/>
                <a:gd name="connsiteX75" fmla="*/ 790783 w 2350757"/>
                <a:gd name="connsiteY75" fmla="*/ 1569839 h 2350722"/>
                <a:gd name="connsiteX76" fmla="*/ 785877 w 2350757"/>
                <a:gd name="connsiteY76" fmla="*/ 1571847 h 2350722"/>
                <a:gd name="connsiteX77" fmla="*/ 872440 w 2350757"/>
                <a:gd name="connsiteY77" fmla="*/ 1485196 h 2350722"/>
                <a:gd name="connsiteX78" fmla="*/ 867534 w 2350757"/>
                <a:gd name="connsiteY78" fmla="*/ 1483189 h 2350722"/>
                <a:gd name="connsiteX79" fmla="*/ 867464 w 2350757"/>
                <a:gd name="connsiteY79" fmla="*/ 1473377 h 2350722"/>
                <a:gd name="connsiteX80" fmla="*/ 867586 w 2350757"/>
                <a:gd name="connsiteY80" fmla="*/ 1473255 h 2350722"/>
                <a:gd name="connsiteX81" fmla="*/ 877468 w 2350757"/>
                <a:gd name="connsiteY81" fmla="*/ 1473255 h 2350722"/>
                <a:gd name="connsiteX82" fmla="*/ 877468 w 2350757"/>
                <a:gd name="connsiteY82" fmla="*/ 1483136 h 2350722"/>
                <a:gd name="connsiteX83" fmla="*/ 872440 w 2350757"/>
                <a:gd name="connsiteY83" fmla="*/ 1485214 h 2350722"/>
                <a:gd name="connsiteX84" fmla="*/ 958950 w 2350757"/>
                <a:gd name="connsiteY84" fmla="*/ 1398756 h 2350722"/>
                <a:gd name="connsiteX85" fmla="*/ 954045 w 2350757"/>
                <a:gd name="connsiteY85" fmla="*/ 1396748 h 2350722"/>
                <a:gd name="connsiteX86" fmla="*/ 953975 w 2350757"/>
                <a:gd name="connsiteY86" fmla="*/ 1386866 h 2350722"/>
                <a:gd name="connsiteX87" fmla="*/ 954097 w 2350757"/>
                <a:gd name="connsiteY87" fmla="*/ 1386744 h 2350722"/>
                <a:gd name="connsiteX88" fmla="*/ 963979 w 2350757"/>
                <a:gd name="connsiteY88" fmla="*/ 1386674 h 2350722"/>
                <a:gd name="connsiteX89" fmla="*/ 964049 w 2350757"/>
                <a:gd name="connsiteY89" fmla="*/ 1396556 h 2350722"/>
                <a:gd name="connsiteX90" fmla="*/ 963926 w 2350757"/>
                <a:gd name="connsiteY90" fmla="*/ 1396678 h 2350722"/>
                <a:gd name="connsiteX91" fmla="*/ 958950 w 2350757"/>
                <a:gd name="connsiteY91" fmla="*/ 1398756 h 2350722"/>
                <a:gd name="connsiteX92" fmla="*/ 1045496 w 2350757"/>
                <a:gd name="connsiteY92" fmla="*/ 1312210 h 2350722"/>
                <a:gd name="connsiteX93" fmla="*/ 1040590 w 2350757"/>
                <a:gd name="connsiteY93" fmla="*/ 1310202 h 2350722"/>
                <a:gd name="connsiteX94" fmla="*/ 1040520 w 2350757"/>
                <a:gd name="connsiteY94" fmla="*/ 1300321 h 2350722"/>
                <a:gd name="connsiteX95" fmla="*/ 1040642 w 2350757"/>
                <a:gd name="connsiteY95" fmla="*/ 1300198 h 2350722"/>
                <a:gd name="connsiteX96" fmla="*/ 1050524 w 2350757"/>
                <a:gd name="connsiteY96" fmla="*/ 1300128 h 2350722"/>
                <a:gd name="connsiteX97" fmla="*/ 1050594 w 2350757"/>
                <a:gd name="connsiteY97" fmla="*/ 1310010 h 2350722"/>
                <a:gd name="connsiteX98" fmla="*/ 1050472 w 2350757"/>
                <a:gd name="connsiteY98" fmla="*/ 1310133 h 2350722"/>
                <a:gd name="connsiteX99" fmla="*/ 1045496 w 2350757"/>
                <a:gd name="connsiteY99" fmla="*/ 1312210 h 2350722"/>
                <a:gd name="connsiteX100" fmla="*/ 1132042 w 2350757"/>
                <a:gd name="connsiteY100" fmla="*/ 1225665 h 2350722"/>
                <a:gd name="connsiteX101" fmla="*/ 1127066 w 2350757"/>
                <a:gd name="connsiteY101" fmla="*/ 1223587 h 2350722"/>
                <a:gd name="connsiteX102" fmla="*/ 1127136 w 2350757"/>
                <a:gd name="connsiteY102" fmla="*/ 1213705 h 2350722"/>
                <a:gd name="connsiteX103" fmla="*/ 1127258 w 2350757"/>
                <a:gd name="connsiteY103" fmla="*/ 1213583 h 2350722"/>
                <a:gd name="connsiteX104" fmla="*/ 1137140 w 2350757"/>
                <a:gd name="connsiteY104" fmla="*/ 1213653 h 2350722"/>
                <a:gd name="connsiteX105" fmla="*/ 1137070 w 2350757"/>
                <a:gd name="connsiteY105" fmla="*/ 1223535 h 2350722"/>
                <a:gd name="connsiteX106" fmla="*/ 1136948 w 2350757"/>
                <a:gd name="connsiteY106" fmla="*/ 1223657 h 2350722"/>
                <a:gd name="connsiteX107" fmla="*/ 1132042 w 2350757"/>
                <a:gd name="connsiteY107" fmla="*/ 1225665 h 2350722"/>
                <a:gd name="connsiteX108" fmla="*/ 1218587 w 2350757"/>
                <a:gd name="connsiteY108" fmla="*/ 1139136 h 2350722"/>
                <a:gd name="connsiteX109" fmla="*/ 1213611 w 2350757"/>
                <a:gd name="connsiteY109" fmla="*/ 1137059 h 2350722"/>
                <a:gd name="connsiteX110" fmla="*/ 1213681 w 2350757"/>
                <a:gd name="connsiteY110" fmla="*/ 1127177 h 2350722"/>
                <a:gd name="connsiteX111" fmla="*/ 1213804 w 2350757"/>
                <a:gd name="connsiteY111" fmla="*/ 1127055 h 2350722"/>
                <a:gd name="connsiteX112" fmla="*/ 1223685 w 2350757"/>
                <a:gd name="connsiteY112" fmla="*/ 1127125 h 2350722"/>
                <a:gd name="connsiteX113" fmla="*/ 1223615 w 2350757"/>
                <a:gd name="connsiteY113" fmla="*/ 1137006 h 2350722"/>
                <a:gd name="connsiteX114" fmla="*/ 1223493 w 2350757"/>
                <a:gd name="connsiteY114" fmla="*/ 1137129 h 2350722"/>
                <a:gd name="connsiteX115" fmla="*/ 1218587 w 2350757"/>
                <a:gd name="connsiteY115" fmla="*/ 1139136 h 2350722"/>
                <a:gd name="connsiteX116" fmla="*/ 1305133 w 2350757"/>
                <a:gd name="connsiteY116" fmla="*/ 1052591 h 2350722"/>
                <a:gd name="connsiteX117" fmla="*/ 1300227 w 2350757"/>
                <a:gd name="connsiteY117" fmla="*/ 1050583 h 2350722"/>
                <a:gd name="connsiteX118" fmla="*/ 1300157 w 2350757"/>
                <a:gd name="connsiteY118" fmla="*/ 1040701 h 2350722"/>
                <a:gd name="connsiteX119" fmla="*/ 1300279 w 2350757"/>
                <a:gd name="connsiteY119" fmla="*/ 1040579 h 2350722"/>
                <a:gd name="connsiteX120" fmla="*/ 1310161 w 2350757"/>
                <a:gd name="connsiteY120" fmla="*/ 1040509 h 2350722"/>
                <a:gd name="connsiteX121" fmla="*/ 1310231 w 2350757"/>
                <a:gd name="connsiteY121" fmla="*/ 1050391 h 2350722"/>
                <a:gd name="connsiteX122" fmla="*/ 1310109 w 2350757"/>
                <a:gd name="connsiteY122" fmla="*/ 1050513 h 2350722"/>
                <a:gd name="connsiteX123" fmla="*/ 1305133 w 2350757"/>
                <a:gd name="connsiteY123" fmla="*/ 1052591 h 2350722"/>
                <a:gd name="connsiteX124" fmla="*/ 1391678 w 2350757"/>
                <a:gd name="connsiteY124" fmla="*/ 966045 h 2350722"/>
                <a:gd name="connsiteX125" fmla="*/ 1386772 w 2350757"/>
                <a:gd name="connsiteY125" fmla="*/ 964037 h 2350722"/>
                <a:gd name="connsiteX126" fmla="*/ 1386702 w 2350757"/>
                <a:gd name="connsiteY126" fmla="*/ 954156 h 2350722"/>
                <a:gd name="connsiteX127" fmla="*/ 1386825 w 2350757"/>
                <a:gd name="connsiteY127" fmla="*/ 954033 h 2350722"/>
                <a:gd name="connsiteX128" fmla="*/ 1396707 w 2350757"/>
                <a:gd name="connsiteY128" fmla="*/ 953964 h 2350722"/>
                <a:gd name="connsiteX129" fmla="*/ 1396776 w 2350757"/>
                <a:gd name="connsiteY129" fmla="*/ 963846 h 2350722"/>
                <a:gd name="connsiteX130" fmla="*/ 1396654 w 2350757"/>
                <a:gd name="connsiteY130" fmla="*/ 963968 h 2350722"/>
                <a:gd name="connsiteX131" fmla="*/ 1391678 w 2350757"/>
                <a:gd name="connsiteY131" fmla="*/ 966045 h 2350722"/>
                <a:gd name="connsiteX132" fmla="*/ 1478242 w 2350757"/>
                <a:gd name="connsiteY132" fmla="*/ 879412 h 2350722"/>
                <a:gd name="connsiteX133" fmla="*/ 1473335 w 2350757"/>
                <a:gd name="connsiteY133" fmla="*/ 877405 h 2350722"/>
                <a:gd name="connsiteX134" fmla="*/ 1473266 w 2350757"/>
                <a:gd name="connsiteY134" fmla="*/ 867592 h 2350722"/>
                <a:gd name="connsiteX135" fmla="*/ 1473388 w 2350757"/>
                <a:gd name="connsiteY135" fmla="*/ 867470 h 2350722"/>
                <a:gd name="connsiteX136" fmla="*/ 1483270 w 2350757"/>
                <a:gd name="connsiteY136" fmla="*/ 867470 h 2350722"/>
                <a:gd name="connsiteX137" fmla="*/ 1483270 w 2350757"/>
                <a:gd name="connsiteY137" fmla="*/ 877352 h 2350722"/>
                <a:gd name="connsiteX138" fmla="*/ 1478242 w 2350757"/>
                <a:gd name="connsiteY138" fmla="*/ 879430 h 2350722"/>
                <a:gd name="connsiteX139" fmla="*/ 1564752 w 2350757"/>
                <a:gd name="connsiteY139" fmla="*/ 792954 h 2350722"/>
                <a:gd name="connsiteX140" fmla="*/ 1559776 w 2350757"/>
                <a:gd name="connsiteY140" fmla="*/ 790876 h 2350722"/>
                <a:gd name="connsiteX141" fmla="*/ 1559846 w 2350757"/>
                <a:gd name="connsiteY141" fmla="*/ 780995 h 2350722"/>
                <a:gd name="connsiteX142" fmla="*/ 1559969 w 2350757"/>
                <a:gd name="connsiteY142" fmla="*/ 780872 h 2350722"/>
                <a:gd name="connsiteX143" fmla="*/ 1569850 w 2350757"/>
                <a:gd name="connsiteY143" fmla="*/ 780942 h 2350722"/>
                <a:gd name="connsiteX144" fmla="*/ 1569780 w 2350757"/>
                <a:gd name="connsiteY144" fmla="*/ 790824 h 2350722"/>
                <a:gd name="connsiteX145" fmla="*/ 1569658 w 2350757"/>
                <a:gd name="connsiteY145" fmla="*/ 790946 h 2350722"/>
                <a:gd name="connsiteX146" fmla="*/ 1564752 w 2350757"/>
                <a:gd name="connsiteY146" fmla="*/ 792954 h 2350722"/>
                <a:gd name="connsiteX147" fmla="*/ 1651298 w 2350757"/>
                <a:gd name="connsiteY147" fmla="*/ 706409 h 2350722"/>
                <a:gd name="connsiteX148" fmla="*/ 1646322 w 2350757"/>
                <a:gd name="connsiteY148" fmla="*/ 704331 h 2350722"/>
                <a:gd name="connsiteX149" fmla="*/ 1646392 w 2350757"/>
                <a:gd name="connsiteY149" fmla="*/ 694449 h 2350722"/>
                <a:gd name="connsiteX150" fmla="*/ 1646514 w 2350757"/>
                <a:gd name="connsiteY150" fmla="*/ 694327 h 2350722"/>
                <a:gd name="connsiteX151" fmla="*/ 1656396 w 2350757"/>
                <a:gd name="connsiteY151" fmla="*/ 694397 h 2350722"/>
                <a:gd name="connsiteX152" fmla="*/ 1656326 w 2350757"/>
                <a:gd name="connsiteY152" fmla="*/ 704279 h 2350722"/>
                <a:gd name="connsiteX153" fmla="*/ 1656204 w 2350757"/>
                <a:gd name="connsiteY153" fmla="*/ 704401 h 2350722"/>
                <a:gd name="connsiteX154" fmla="*/ 1651298 w 2350757"/>
                <a:gd name="connsiteY154" fmla="*/ 706409 h 2350722"/>
                <a:gd name="connsiteX155" fmla="*/ 1737878 w 2350757"/>
                <a:gd name="connsiteY155" fmla="*/ 619776 h 2350722"/>
                <a:gd name="connsiteX156" fmla="*/ 1732972 w 2350757"/>
                <a:gd name="connsiteY156" fmla="*/ 617768 h 2350722"/>
                <a:gd name="connsiteX157" fmla="*/ 1732902 w 2350757"/>
                <a:gd name="connsiteY157" fmla="*/ 607956 h 2350722"/>
                <a:gd name="connsiteX158" fmla="*/ 1733025 w 2350757"/>
                <a:gd name="connsiteY158" fmla="*/ 607834 h 2350722"/>
                <a:gd name="connsiteX159" fmla="*/ 1742906 w 2350757"/>
                <a:gd name="connsiteY159" fmla="*/ 607834 h 2350722"/>
                <a:gd name="connsiteX160" fmla="*/ 1742906 w 2350757"/>
                <a:gd name="connsiteY160" fmla="*/ 617716 h 2350722"/>
                <a:gd name="connsiteX161" fmla="*/ 1737878 w 2350757"/>
                <a:gd name="connsiteY161" fmla="*/ 619793 h 2350722"/>
                <a:gd name="connsiteX162" fmla="*/ 1824407 w 2350757"/>
                <a:gd name="connsiteY162" fmla="*/ 533230 h 2350722"/>
                <a:gd name="connsiteX163" fmla="*/ 1819500 w 2350757"/>
                <a:gd name="connsiteY163" fmla="*/ 531222 h 2350722"/>
                <a:gd name="connsiteX164" fmla="*/ 1819430 w 2350757"/>
                <a:gd name="connsiteY164" fmla="*/ 521410 h 2350722"/>
                <a:gd name="connsiteX165" fmla="*/ 1819552 w 2350757"/>
                <a:gd name="connsiteY165" fmla="*/ 521288 h 2350722"/>
                <a:gd name="connsiteX166" fmla="*/ 1829435 w 2350757"/>
                <a:gd name="connsiteY166" fmla="*/ 521288 h 2350722"/>
                <a:gd name="connsiteX167" fmla="*/ 1829435 w 2350757"/>
                <a:gd name="connsiteY167" fmla="*/ 531170 h 2350722"/>
                <a:gd name="connsiteX168" fmla="*/ 1824407 w 2350757"/>
                <a:gd name="connsiteY168" fmla="*/ 533248 h 2350722"/>
                <a:gd name="connsiteX169" fmla="*/ 1910917 w 2350757"/>
                <a:gd name="connsiteY169" fmla="*/ 446789 h 2350722"/>
                <a:gd name="connsiteX170" fmla="*/ 1905959 w 2350757"/>
                <a:gd name="connsiteY170" fmla="*/ 444729 h 2350722"/>
                <a:gd name="connsiteX171" fmla="*/ 1905994 w 2350757"/>
                <a:gd name="connsiteY171" fmla="*/ 434847 h 2350722"/>
                <a:gd name="connsiteX172" fmla="*/ 1906116 w 2350757"/>
                <a:gd name="connsiteY172" fmla="*/ 434725 h 2350722"/>
                <a:gd name="connsiteX173" fmla="*/ 1915998 w 2350757"/>
                <a:gd name="connsiteY173" fmla="*/ 434760 h 2350722"/>
                <a:gd name="connsiteX174" fmla="*/ 1915963 w 2350757"/>
                <a:gd name="connsiteY174" fmla="*/ 444642 h 2350722"/>
                <a:gd name="connsiteX175" fmla="*/ 1915841 w 2350757"/>
                <a:gd name="connsiteY175" fmla="*/ 444764 h 2350722"/>
                <a:gd name="connsiteX176" fmla="*/ 1910917 w 2350757"/>
                <a:gd name="connsiteY176" fmla="*/ 446789 h 2350722"/>
                <a:gd name="connsiteX177" fmla="*/ 1997463 w 2350757"/>
                <a:gd name="connsiteY177" fmla="*/ 360244 h 2350722"/>
                <a:gd name="connsiteX178" fmla="*/ 1992504 w 2350757"/>
                <a:gd name="connsiteY178" fmla="*/ 358184 h 2350722"/>
                <a:gd name="connsiteX179" fmla="*/ 1992539 w 2350757"/>
                <a:gd name="connsiteY179" fmla="*/ 348302 h 2350722"/>
                <a:gd name="connsiteX180" fmla="*/ 1992662 w 2350757"/>
                <a:gd name="connsiteY180" fmla="*/ 348179 h 2350722"/>
                <a:gd name="connsiteX181" fmla="*/ 2002543 w 2350757"/>
                <a:gd name="connsiteY181" fmla="*/ 348214 h 2350722"/>
                <a:gd name="connsiteX182" fmla="*/ 2002508 w 2350757"/>
                <a:gd name="connsiteY182" fmla="*/ 358096 h 2350722"/>
                <a:gd name="connsiteX183" fmla="*/ 2002386 w 2350757"/>
                <a:gd name="connsiteY183" fmla="*/ 358218 h 2350722"/>
                <a:gd name="connsiteX184" fmla="*/ 1997463 w 2350757"/>
                <a:gd name="connsiteY184" fmla="*/ 360244 h 2350722"/>
                <a:gd name="connsiteX185" fmla="*/ 2084043 w 2350757"/>
                <a:gd name="connsiteY185" fmla="*/ 273611 h 2350722"/>
                <a:gd name="connsiteX186" fmla="*/ 2079137 w 2350757"/>
                <a:gd name="connsiteY186" fmla="*/ 271603 h 2350722"/>
                <a:gd name="connsiteX187" fmla="*/ 2079067 w 2350757"/>
                <a:gd name="connsiteY187" fmla="*/ 261791 h 2350722"/>
                <a:gd name="connsiteX188" fmla="*/ 2079189 w 2350757"/>
                <a:gd name="connsiteY188" fmla="*/ 261669 h 2350722"/>
                <a:gd name="connsiteX189" fmla="*/ 2089071 w 2350757"/>
                <a:gd name="connsiteY189" fmla="*/ 261669 h 2350722"/>
                <a:gd name="connsiteX190" fmla="*/ 2089071 w 2350757"/>
                <a:gd name="connsiteY190" fmla="*/ 271551 h 2350722"/>
                <a:gd name="connsiteX191" fmla="*/ 2084043 w 2350757"/>
                <a:gd name="connsiteY191" fmla="*/ 273628 h 2350722"/>
                <a:gd name="connsiteX192" fmla="*/ 2170589 w 2350757"/>
                <a:gd name="connsiteY192" fmla="*/ 187065 h 2350722"/>
                <a:gd name="connsiteX193" fmla="*/ 2165682 w 2350757"/>
                <a:gd name="connsiteY193" fmla="*/ 185057 h 2350722"/>
                <a:gd name="connsiteX194" fmla="*/ 2165612 w 2350757"/>
                <a:gd name="connsiteY194" fmla="*/ 175245 h 2350722"/>
                <a:gd name="connsiteX195" fmla="*/ 2165735 w 2350757"/>
                <a:gd name="connsiteY195" fmla="*/ 175123 h 2350722"/>
                <a:gd name="connsiteX196" fmla="*/ 2175617 w 2350757"/>
                <a:gd name="connsiteY196" fmla="*/ 175123 h 2350722"/>
                <a:gd name="connsiteX197" fmla="*/ 2175617 w 2350757"/>
                <a:gd name="connsiteY197" fmla="*/ 185005 h 2350722"/>
                <a:gd name="connsiteX198" fmla="*/ 2170589 w 2350757"/>
                <a:gd name="connsiteY198" fmla="*/ 187083 h 2350722"/>
                <a:gd name="connsiteX199" fmla="*/ 2257117 w 2350757"/>
                <a:gd name="connsiteY199" fmla="*/ 100520 h 2350722"/>
                <a:gd name="connsiteX200" fmla="*/ 2252229 w 2350757"/>
                <a:gd name="connsiteY200" fmla="*/ 98529 h 2350722"/>
                <a:gd name="connsiteX201" fmla="*/ 2252141 w 2350757"/>
                <a:gd name="connsiteY201" fmla="*/ 88717 h 2350722"/>
                <a:gd name="connsiteX202" fmla="*/ 2252263 w 2350757"/>
                <a:gd name="connsiteY202" fmla="*/ 88595 h 2350722"/>
                <a:gd name="connsiteX203" fmla="*/ 2262145 w 2350757"/>
                <a:gd name="connsiteY203" fmla="*/ 88560 h 2350722"/>
                <a:gd name="connsiteX204" fmla="*/ 2262180 w 2350757"/>
                <a:gd name="connsiteY204" fmla="*/ 98442 h 2350722"/>
                <a:gd name="connsiteX205" fmla="*/ 2257135 w 2350757"/>
                <a:gd name="connsiteY205" fmla="*/ 100537 h 2350722"/>
                <a:gd name="connsiteX206" fmla="*/ 2343663 w 2350757"/>
                <a:gd name="connsiteY206" fmla="*/ 13991 h 2350722"/>
                <a:gd name="connsiteX207" fmla="*/ 2338774 w 2350757"/>
                <a:gd name="connsiteY207" fmla="*/ 12001 h 2350722"/>
                <a:gd name="connsiteX208" fmla="*/ 2338687 w 2350757"/>
                <a:gd name="connsiteY208" fmla="*/ 2189 h 2350722"/>
                <a:gd name="connsiteX209" fmla="*/ 2338809 w 2350757"/>
                <a:gd name="connsiteY209" fmla="*/ 2067 h 2350722"/>
                <a:gd name="connsiteX210" fmla="*/ 2348691 w 2350757"/>
                <a:gd name="connsiteY210" fmla="*/ 2032 h 2350722"/>
                <a:gd name="connsiteX211" fmla="*/ 2348726 w 2350757"/>
                <a:gd name="connsiteY211" fmla="*/ 11914 h 2350722"/>
                <a:gd name="connsiteX212" fmla="*/ 2343680 w 2350757"/>
                <a:gd name="connsiteY212" fmla="*/ 14009 h 235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Lst>
              <a:rect l="l" t="t" r="r" b="b"/>
              <a:pathLst>
                <a:path w="2350757" h="2350722">
                  <a:moveTo>
                    <a:pt x="6984" y="2350722"/>
                  </a:moveTo>
                  <a:cubicBezTo>
                    <a:pt x="5221" y="2350722"/>
                    <a:pt x="3440" y="2350059"/>
                    <a:pt x="2078" y="2348715"/>
                  </a:cubicBezTo>
                  <a:cubicBezTo>
                    <a:pt x="-663" y="2346008"/>
                    <a:pt x="-698" y="2341591"/>
                    <a:pt x="2008" y="2338833"/>
                  </a:cubicBezTo>
                  <a:lnTo>
                    <a:pt x="2130" y="2338710"/>
                  </a:lnTo>
                  <a:cubicBezTo>
                    <a:pt x="4836" y="2335952"/>
                    <a:pt x="9253" y="2335934"/>
                    <a:pt x="12012" y="2338641"/>
                  </a:cubicBezTo>
                  <a:cubicBezTo>
                    <a:pt x="14753" y="2341347"/>
                    <a:pt x="14788" y="2345764"/>
                    <a:pt x="12082" y="2348523"/>
                  </a:cubicBezTo>
                  <a:lnTo>
                    <a:pt x="11960" y="2348645"/>
                  </a:lnTo>
                  <a:cubicBezTo>
                    <a:pt x="10598" y="2350024"/>
                    <a:pt x="8800" y="2350722"/>
                    <a:pt x="6984" y="2350722"/>
                  </a:cubicBezTo>
                  <a:close/>
                  <a:moveTo>
                    <a:pt x="93564" y="2264090"/>
                  </a:moveTo>
                  <a:cubicBezTo>
                    <a:pt x="91783" y="2264090"/>
                    <a:pt x="90003" y="2263426"/>
                    <a:pt x="88658" y="2262082"/>
                  </a:cubicBezTo>
                  <a:cubicBezTo>
                    <a:pt x="85935" y="2259358"/>
                    <a:pt x="85865" y="2254993"/>
                    <a:pt x="88589" y="2252270"/>
                  </a:cubicBezTo>
                  <a:lnTo>
                    <a:pt x="88711" y="2252147"/>
                  </a:lnTo>
                  <a:cubicBezTo>
                    <a:pt x="91434" y="2249424"/>
                    <a:pt x="95852" y="2249424"/>
                    <a:pt x="98593" y="2252147"/>
                  </a:cubicBezTo>
                  <a:cubicBezTo>
                    <a:pt x="101316" y="2254871"/>
                    <a:pt x="101316" y="2259288"/>
                    <a:pt x="98593" y="2262030"/>
                  </a:cubicBezTo>
                  <a:cubicBezTo>
                    <a:pt x="97213" y="2263409"/>
                    <a:pt x="95380" y="2264107"/>
                    <a:pt x="93564" y="2264107"/>
                  </a:cubicBezTo>
                  <a:close/>
                  <a:moveTo>
                    <a:pt x="180110" y="2177544"/>
                  </a:moveTo>
                  <a:cubicBezTo>
                    <a:pt x="178329" y="2177544"/>
                    <a:pt x="176548" y="2176881"/>
                    <a:pt x="175204" y="2175536"/>
                  </a:cubicBezTo>
                  <a:cubicBezTo>
                    <a:pt x="172480" y="2172812"/>
                    <a:pt x="172410" y="2168448"/>
                    <a:pt x="175134" y="2165724"/>
                  </a:cubicBezTo>
                  <a:lnTo>
                    <a:pt x="175256" y="2165602"/>
                  </a:lnTo>
                  <a:cubicBezTo>
                    <a:pt x="177980" y="2162878"/>
                    <a:pt x="182415" y="2162878"/>
                    <a:pt x="185138" y="2165602"/>
                  </a:cubicBezTo>
                  <a:cubicBezTo>
                    <a:pt x="187862" y="2168325"/>
                    <a:pt x="187862" y="2172743"/>
                    <a:pt x="185138" y="2175484"/>
                  </a:cubicBezTo>
                  <a:cubicBezTo>
                    <a:pt x="183759" y="2176863"/>
                    <a:pt x="181926" y="2177561"/>
                    <a:pt x="180110" y="2177561"/>
                  </a:cubicBezTo>
                  <a:close/>
                  <a:moveTo>
                    <a:pt x="266621" y="2091103"/>
                  </a:moveTo>
                  <a:cubicBezTo>
                    <a:pt x="264822" y="2091103"/>
                    <a:pt x="263007" y="2090405"/>
                    <a:pt x="261645" y="2089025"/>
                  </a:cubicBezTo>
                  <a:cubicBezTo>
                    <a:pt x="258938" y="2086284"/>
                    <a:pt x="258973" y="2081849"/>
                    <a:pt x="261715" y="2079144"/>
                  </a:cubicBezTo>
                  <a:lnTo>
                    <a:pt x="261837" y="2079021"/>
                  </a:lnTo>
                  <a:cubicBezTo>
                    <a:pt x="264578" y="2076315"/>
                    <a:pt x="269013" y="2076332"/>
                    <a:pt x="271719" y="2079091"/>
                  </a:cubicBezTo>
                  <a:cubicBezTo>
                    <a:pt x="274425" y="2081832"/>
                    <a:pt x="274390" y="2086267"/>
                    <a:pt x="271649" y="2088973"/>
                  </a:cubicBezTo>
                  <a:lnTo>
                    <a:pt x="271527" y="2089095"/>
                  </a:lnTo>
                  <a:cubicBezTo>
                    <a:pt x="270165" y="2090440"/>
                    <a:pt x="268402" y="2091103"/>
                    <a:pt x="266621" y="2091103"/>
                  </a:cubicBezTo>
                  <a:close/>
                  <a:moveTo>
                    <a:pt x="353166" y="2004558"/>
                  </a:moveTo>
                  <a:cubicBezTo>
                    <a:pt x="351368" y="2004558"/>
                    <a:pt x="349552" y="2003859"/>
                    <a:pt x="348190" y="2002480"/>
                  </a:cubicBezTo>
                  <a:cubicBezTo>
                    <a:pt x="345484" y="1999739"/>
                    <a:pt x="345519" y="1995304"/>
                    <a:pt x="348260" y="1992598"/>
                  </a:cubicBezTo>
                  <a:lnTo>
                    <a:pt x="348382" y="1992476"/>
                  </a:lnTo>
                  <a:cubicBezTo>
                    <a:pt x="351124" y="1989769"/>
                    <a:pt x="355541" y="1989787"/>
                    <a:pt x="358264" y="1992545"/>
                  </a:cubicBezTo>
                  <a:cubicBezTo>
                    <a:pt x="360970" y="1995287"/>
                    <a:pt x="360936" y="1999721"/>
                    <a:pt x="358195" y="2002427"/>
                  </a:cubicBezTo>
                  <a:lnTo>
                    <a:pt x="358072" y="2002550"/>
                  </a:lnTo>
                  <a:cubicBezTo>
                    <a:pt x="356710" y="2003894"/>
                    <a:pt x="354947" y="2004558"/>
                    <a:pt x="353166" y="2004558"/>
                  </a:cubicBezTo>
                  <a:close/>
                  <a:moveTo>
                    <a:pt x="439712" y="1918012"/>
                  </a:moveTo>
                  <a:cubicBezTo>
                    <a:pt x="437948" y="1918012"/>
                    <a:pt x="436168" y="1917348"/>
                    <a:pt x="434806" y="1916004"/>
                  </a:cubicBezTo>
                  <a:cubicBezTo>
                    <a:pt x="432065" y="1913298"/>
                    <a:pt x="432030" y="1908881"/>
                    <a:pt x="434736" y="1906122"/>
                  </a:cubicBezTo>
                  <a:lnTo>
                    <a:pt x="434858" y="1906000"/>
                  </a:lnTo>
                  <a:cubicBezTo>
                    <a:pt x="437564" y="1903242"/>
                    <a:pt x="441982" y="1903224"/>
                    <a:pt x="444740" y="1905930"/>
                  </a:cubicBezTo>
                  <a:cubicBezTo>
                    <a:pt x="447499" y="1908636"/>
                    <a:pt x="447516" y="1913053"/>
                    <a:pt x="444810" y="1915812"/>
                  </a:cubicBezTo>
                  <a:lnTo>
                    <a:pt x="444688" y="1915934"/>
                  </a:lnTo>
                  <a:cubicBezTo>
                    <a:pt x="443326" y="1917313"/>
                    <a:pt x="441510" y="1918012"/>
                    <a:pt x="439712" y="1918012"/>
                  </a:cubicBezTo>
                  <a:close/>
                  <a:moveTo>
                    <a:pt x="526240" y="1831466"/>
                  </a:moveTo>
                  <a:cubicBezTo>
                    <a:pt x="524477" y="1831466"/>
                    <a:pt x="522696" y="1830803"/>
                    <a:pt x="521334" y="1829459"/>
                  </a:cubicBezTo>
                  <a:cubicBezTo>
                    <a:pt x="518593" y="1826752"/>
                    <a:pt x="518558" y="1822335"/>
                    <a:pt x="521264" y="1819576"/>
                  </a:cubicBezTo>
                  <a:lnTo>
                    <a:pt x="521386" y="1819455"/>
                  </a:lnTo>
                  <a:cubicBezTo>
                    <a:pt x="524093" y="1816713"/>
                    <a:pt x="528510" y="1816678"/>
                    <a:pt x="531268" y="1819385"/>
                  </a:cubicBezTo>
                  <a:cubicBezTo>
                    <a:pt x="534009" y="1822091"/>
                    <a:pt x="534044" y="1826508"/>
                    <a:pt x="531338" y="1829266"/>
                  </a:cubicBezTo>
                  <a:lnTo>
                    <a:pt x="531216" y="1829389"/>
                  </a:lnTo>
                  <a:cubicBezTo>
                    <a:pt x="529854" y="1830768"/>
                    <a:pt x="528038" y="1831466"/>
                    <a:pt x="526240" y="1831466"/>
                  </a:cubicBezTo>
                  <a:close/>
                  <a:moveTo>
                    <a:pt x="612820" y="1744834"/>
                  </a:moveTo>
                  <a:cubicBezTo>
                    <a:pt x="611040" y="1744834"/>
                    <a:pt x="609259" y="1744170"/>
                    <a:pt x="607915" y="1742826"/>
                  </a:cubicBezTo>
                  <a:cubicBezTo>
                    <a:pt x="605191" y="1740102"/>
                    <a:pt x="605121" y="1735737"/>
                    <a:pt x="607845" y="1733014"/>
                  </a:cubicBezTo>
                  <a:lnTo>
                    <a:pt x="607967" y="1732891"/>
                  </a:lnTo>
                  <a:cubicBezTo>
                    <a:pt x="610690" y="1730168"/>
                    <a:pt x="615125" y="1730168"/>
                    <a:pt x="617849" y="1732891"/>
                  </a:cubicBezTo>
                  <a:cubicBezTo>
                    <a:pt x="620573" y="1735615"/>
                    <a:pt x="620573" y="1740032"/>
                    <a:pt x="617849" y="1742773"/>
                  </a:cubicBezTo>
                  <a:cubicBezTo>
                    <a:pt x="616469" y="1744152"/>
                    <a:pt x="614636" y="1744851"/>
                    <a:pt x="612820" y="1744851"/>
                  </a:cubicBezTo>
                  <a:close/>
                  <a:moveTo>
                    <a:pt x="699331" y="1658375"/>
                  </a:moveTo>
                  <a:cubicBezTo>
                    <a:pt x="697533" y="1658375"/>
                    <a:pt x="695717" y="1657677"/>
                    <a:pt x="694355" y="1656297"/>
                  </a:cubicBezTo>
                  <a:cubicBezTo>
                    <a:pt x="691649" y="1653557"/>
                    <a:pt x="691684" y="1649122"/>
                    <a:pt x="694425" y="1646416"/>
                  </a:cubicBezTo>
                  <a:lnTo>
                    <a:pt x="694547" y="1646293"/>
                  </a:lnTo>
                  <a:cubicBezTo>
                    <a:pt x="697288" y="1643587"/>
                    <a:pt x="701723" y="1643605"/>
                    <a:pt x="704429" y="1646363"/>
                  </a:cubicBezTo>
                  <a:cubicBezTo>
                    <a:pt x="707135" y="1649104"/>
                    <a:pt x="707100" y="1653539"/>
                    <a:pt x="704360" y="1656245"/>
                  </a:cubicBezTo>
                  <a:lnTo>
                    <a:pt x="704237" y="1656367"/>
                  </a:lnTo>
                  <a:cubicBezTo>
                    <a:pt x="702875" y="1657712"/>
                    <a:pt x="701112" y="1658375"/>
                    <a:pt x="699331" y="1658375"/>
                  </a:cubicBezTo>
                  <a:close/>
                  <a:moveTo>
                    <a:pt x="785877" y="1571847"/>
                  </a:moveTo>
                  <a:cubicBezTo>
                    <a:pt x="784078" y="1571847"/>
                    <a:pt x="782263" y="1571149"/>
                    <a:pt x="780901" y="1569770"/>
                  </a:cubicBezTo>
                  <a:cubicBezTo>
                    <a:pt x="778195" y="1567028"/>
                    <a:pt x="778230" y="1562594"/>
                    <a:pt x="780971" y="1559887"/>
                  </a:cubicBezTo>
                  <a:lnTo>
                    <a:pt x="781093" y="1559765"/>
                  </a:lnTo>
                  <a:cubicBezTo>
                    <a:pt x="783834" y="1557059"/>
                    <a:pt x="788269" y="1557077"/>
                    <a:pt x="790975" y="1559835"/>
                  </a:cubicBezTo>
                  <a:cubicBezTo>
                    <a:pt x="793681" y="1562576"/>
                    <a:pt x="793646" y="1567011"/>
                    <a:pt x="790905" y="1569717"/>
                  </a:cubicBezTo>
                  <a:lnTo>
                    <a:pt x="790783" y="1569839"/>
                  </a:lnTo>
                  <a:cubicBezTo>
                    <a:pt x="789421" y="1571183"/>
                    <a:pt x="787658" y="1571847"/>
                    <a:pt x="785877" y="1571847"/>
                  </a:cubicBezTo>
                  <a:close/>
                  <a:moveTo>
                    <a:pt x="872440" y="1485196"/>
                  </a:moveTo>
                  <a:cubicBezTo>
                    <a:pt x="870659" y="1485196"/>
                    <a:pt x="868878" y="1484533"/>
                    <a:pt x="867534" y="1483189"/>
                  </a:cubicBezTo>
                  <a:cubicBezTo>
                    <a:pt x="864810" y="1480465"/>
                    <a:pt x="864740" y="1476100"/>
                    <a:pt x="867464" y="1473377"/>
                  </a:cubicBezTo>
                  <a:lnTo>
                    <a:pt x="867586" y="1473255"/>
                  </a:lnTo>
                  <a:cubicBezTo>
                    <a:pt x="870310" y="1470531"/>
                    <a:pt x="874744" y="1470531"/>
                    <a:pt x="877468" y="1473255"/>
                  </a:cubicBezTo>
                  <a:cubicBezTo>
                    <a:pt x="880192" y="1475978"/>
                    <a:pt x="880192" y="1480395"/>
                    <a:pt x="877468" y="1483136"/>
                  </a:cubicBezTo>
                  <a:cubicBezTo>
                    <a:pt x="876089" y="1484516"/>
                    <a:pt x="874256" y="1485214"/>
                    <a:pt x="872440" y="1485214"/>
                  </a:cubicBezTo>
                  <a:close/>
                  <a:moveTo>
                    <a:pt x="958950" y="1398756"/>
                  </a:moveTo>
                  <a:cubicBezTo>
                    <a:pt x="957187" y="1398756"/>
                    <a:pt x="955406" y="1398092"/>
                    <a:pt x="954045" y="1396748"/>
                  </a:cubicBezTo>
                  <a:cubicBezTo>
                    <a:pt x="951303" y="1394042"/>
                    <a:pt x="951268" y="1389624"/>
                    <a:pt x="953975" y="1386866"/>
                  </a:cubicBezTo>
                  <a:lnTo>
                    <a:pt x="954097" y="1386744"/>
                  </a:lnTo>
                  <a:cubicBezTo>
                    <a:pt x="956803" y="1383985"/>
                    <a:pt x="961220" y="1383968"/>
                    <a:pt x="963979" y="1386674"/>
                  </a:cubicBezTo>
                  <a:cubicBezTo>
                    <a:pt x="966720" y="1389380"/>
                    <a:pt x="966755" y="1393797"/>
                    <a:pt x="964049" y="1396556"/>
                  </a:cubicBezTo>
                  <a:lnTo>
                    <a:pt x="963926" y="1396678"/>
                  </a:lnTo>
                  <a:cubicBezTo>
                    <a:pt x="962564" y="1398057"/>
                    <a:pt x="960766" y="1398756"/>
                    <a:pt x="958950" y="1398756"/>
                  </a:cubicBezTo>
                  <a:close/>
                  <a:moveTo>
                    <a:pt x="1045496" y="1312210"/>
                  </a:moveTo>
                  <a:cubicBezTo>
                    <a:pt x="1043733" y="1312210"/>
                    <a:pt x="1041952" y="1311547"/>
                    <a:pt x="1040590" y="1310202"/>
                  </a:cubicBezTo>
                  <a:cubicBezTo>
                    <a:pt x="1037849" y="1307496"/>
                    <a:pt x="1037814" y="1303079"/>
                    <a:pt x="1040520" y="1300321"/>
                  </a:cubicBezTo>
                  <a:lnTo>
                    <a:pt x="1040642" y="1300198"/>
                  </a:lnTo>
                  <a:cubicBezTo>
                    <a:pt x="1043349" y="1297457"/>
                    <a:pt x="1047766" y="1297422"/>
                    <a:pt x="1050524" y="1300128"/>
                  </a:cubicBezTo>
                  <a:cubicBezTo>
                    <a:pt x="1053265" y="1302835"/>
                    <a:pt x="1053300" y="1307252"/>
                    <a:pt x="1050594" y="1310010"/>
                  </a:cubicBezTo>
                  <a:lnTo>
                    <a:pt x="1050472" y="1310133"/>
                  </a:lnTo>
                  <a:cubicBezTo>
                    <a:pt x="1049110" y="1311512"/>
                    <a:pt x="1047312" y="1312210"/>
                    <a:pt x="1045496" y="1312210"/>
                  </a:cubicBezTo>
                  <a:close/>
                  <a:moveTo>
                    <a:pt x="1132042" y="1225665"/>
                  </a:moveTo>
                  <a:cubicBezTo>
                    <a:pt x="1130243" y="1225665"/>
                    <a:pt x="1128428" y="1224966"/>
                    <a:pt x="1127066" y="1223587"/>
                  </a:cubicBezTo>
                  <a:cubicBezTo>
                    <a:pt x="1124360" y="1220846"/>
                    <a:pt x="1124394" y="1216411"/>
                    <a:pt x="1127136" y="1213705"/>
                  </a:cubicBezTo>
                  <a:lnTo>
                    <a:pt x="1127258" y="1213583"/>
                  </a:lnTo>
                  <a:cubicBezTo>
                    <a:pt x="1129999" y="1210877"/>
                    <a:pt x="1134416" y="1210894"/>
                    <a:pt x="1137140" y="1213653"/>
                  </a:cubicBezTo>
                  <a:cubicBezTo>
                    <a:pt x="1139846" y="1216394"/>
                    <a:pt x="1139811" y="1220828"/>
                    <a:pt x="1137070" y="1223535"/>
                  </a:cubicBezTo>
                  <a:lnTo>
                    <a:pt x="1136948" y="1223657"/>
                  </a:lnTo>
                  <a:cubicBezTo>
                    <a:pt x="1135586" y="1225001"/>
                    <a:pt x="1133823" y="1225665"/>
                    <a:pt x="1132042" y="1225665"/>
                  </a:cubicBezTo>
                  <a:close/>
                  <a:moveTo>
                    <a:pt x="1218587" y="1139136"/>
                  </a:moveTo>
                  <a:cubicBezTo>
                    <a:pt x="1216789" y="1139136"/>
                    <a:pt x="1214973" y="1138438"/>
                    <a:pt x="1213611" y="1137059"/>
                  </a:cubicBezTo>
                  <a:cubicBezTo>
                    <a:pt x="1210905" y="1134318"/>
                    <a:pt x="1210940" y="1129883"/>
                    <a:pt x="1213681" y="1127177"/>
                  </a:cubicBezTo>
                  <a:lnTo>
                    <a:pt x="1213804" y="1127055"/>
                  </a:lnTo>
                  <a:cubicBezTo>
                    <a:pt x="1216544" y="1124348"/>
                    <a:pt x="1220962" y="1124366"/>
                    <a:pt x="1223685" y="1127125"/>
                  </a:cubicBezTo>
                  <a:cubicBezTo>
                    <a:pt x="1226392" y="1129866"/>
                    <a:pt x="1226357" y="1134300"/>
                    <a:pt x="1223615" y="1137006"/>
                  </a:cubicBezTo>
                  <a:lnTo>
                    <a:pt x="1223493" y="1137129"/>
                  </a:lnTo>
                  <a:cubicBezTo>
                    <a:pt x="1222132" y="1138473"/>
                    <a:pt x="1220368" y="1139136"/>
                    <a:pt x="1218587" y="1139136"/>
                  </a:cubicBezTo>
                  <a:close/>
                  <a:moveTo>
                    <a:pt x="1305133" y="1052591"/>
                  </a:moveTo>
                  <a:cubicBezTo>
                    <a:pt x="1303369" y="1052591"/>
                    <a:pt x="1301588" y="1051927"/>
                    <a:pt x="1300227" y="1050583"/>
                  </a:cubicBezTo>
                  <a:cubicBezTo>
                    <a:pt x="1297486" y="1047877"/>
                    <a:pt x="1297451" y="1043460"/>
                    <a:pt x="1300157" y="1040701"/>
                  </a:cubicBezTo>
                  <a:lnTo>
                    <a:pt x="1300279" y="1040579"/>
                  </a:lnTo>
                  <a:cubicBezTo>
                    <a:pt x="1302985" y="1037838"/>
                    <a:pt x="1307402" y="1037803"/>
                    <a:pt x="1310161" y="1040509"/>
                  </a:cubicBezTo>
                  <a:cubicBezTo>
                    <a:pt x="1312902" y="1043215"/>
                    <a:pt x="1312937" y="1047633"/>
                    <a:pt x="1310231" y="1050391"/>
                  </a:cubicBezTo>
                  <a:lnTo>
                    <a:pt x="1310109" y="1050513"/>
                  </a:lnTo>
                  <a:cubicBezTo>
                    <a:pt x="1308747" y="1051893"/>
                    <a:pt x="1306949" y="1052591"/>
                    <a:pt x="1305133" y="1052591"/>
                  </a:cubicBezTo>
                  <a:close/>
                  <a:moveTo>
                    <a:pt x="1391678" y="966045"/>
                  </a:moveTo>
                  <a:cubicBezTo>
                    <a:pt x="1389915" y="966045"/>
                    <a:pt x="1388134" y="965382"/>
                    <a:pt x="1386772" y="964037"/>
                  </a:cubicBezTo>
                  <a:cubicBezTo>
                    <a:pt x="1384031" y="961332"/>
                    <a:pt x="1383996" y="956914"/>
                    <a:pt x="1386702" y="954156"/>
                  </a:cubicBezTo>
                  <a:lnTo>
                    <a:pt x="1386825" y="954033"/>
                  </a:lnTo>
                  <a:cubicBezTo>
                    <a:pt x="1389531" y="951275"/>
                    <a:pt x="1393948" y="951257"/>
                    <a:pt x="1396707" y="953964"/>
                  </a:cubicBezTo>
                  <a:cubicBezTo>
                    <a:pt x="1399448" y="956670"/>
                    <a:pt x="1399483" y="961087"/>
                    <a:pt x="1396776" y="963846"/>
                  </a:cubicBezTo>
                  <a:lnTo>
                    <a:pt x="1396654" y="963968"/>
                  </a:lnTo>
                  <a:cubicBezTo>
                    <a:pt x="1395293" y="965347"/>
                    <a:pt x="1393477" y="966045"/>
                    <a:pt x="1391678" y="966045"/>
                  </a:cubicBezTo>
                  <a:close/>
                  <a:moveTo>
                    <a:pt x="1478242" y="879412"/>
                  </a:moveTo>
                  <a:cubicBezTo>
                    <a:pt x="1476461" y="879412"/>
                    <a:pt x="1474680" y="878749"/>
                    <a:pt x="1473335" y="877405"/>
                  </a:cubicBezTo>
                  <a:cubicBezTo>
                    <a:pt x="1470612" y="874681"/>
                    <a:pt x="1470542" y="870316"/>
                    <a:pt x="1473266" y="867592"/>
                  </a:cubicBezTo>
                  <a:lnTo>
                    <a:pt x="1473388" y="867470"/>
                  </a:lnTo>
                  <a:cubicBezTo>
                    <a:pt x="1476112" y="864747"/>
                    <a:pt x="1480546" y="864747"/>
                    <a:pt x="1483270" y="867470"/>
                  </a:cubicBezTo>
                  <a:cubicBezTo>
                    <a:pt x="1485993" y="870194"/>
                    <a:pt x="1485993" y="874611"/>
                    <a:pt x="1483270" y="877352"/>
                  </a:cubicBezTo>
                  <a:cubicBezTo>
                    <a:pt x="1481890" y="878732"/>
                    <a:pt x="1480057" y="879430"/>
                    <a:pt x="1478242" y="879430"/>
                  </a:cubicBezTo>
                  <a:close/>
                  <a:moveTo>
                    <a:pt x="1564752" y="792954"/>
                  </a:moveTo>
                  <a:cubicBezTo>
                    <a:pt x="1562954" y="792954"/>
                    <a:pt x="1561138" y="792256"/>
                    <a:pt x="1559776" y="790876"/>
                  </a:cubicBezTo>
                  <a:cubicBezTo>
                    <a:pt x="1557070" y="788135"/>
                    <a:pt x="1557105" y="783701"/>
                    <a:pt x="1559846" y="780995"/>
                  </a:cubicBezTo>
                  <a:lnTo>
                    <a:pt x="1559969" y="780872"/>
                  </a:lnTo>
                  <a:cubicBezTo>
                    <a:pt x="1562709" y="778166"/>
                    <a:pt x="1567144" y="778184"/>
                    <a:pt x="1569850" y="780942"/>
                  </a:cubicBezTo>
                  <a:cubicBezTo>
                    <a:pt x="1572557" y="783683"/>
                    <a:pt x="1572522" y="788118"/>
                    <a:pt x="1569780" y="790824"/>
                  </a:cubicBezTo>
                  <a:lnTo>
                    <a:pt x="1569658" y="790946"/>
                  </a:lnTo>
                  <a:cubicBezTo>
                    <a:pt x="1568296" y="792291"/>
                    <a:pt x="1566533" y="792954"/>
                    <a:pt x="1564752" y="792954"/>
                  </a:cubicBezTo>
                  <a:close/>
                  <a:moveTo>
                    <a:pt x="1651298" y="706409"/>
                  </a:moveTo>
                  <a:cubicBezTo>
                    <a:pt x="1649499" y="706409"/>
                    <a:pt x="1647684" y="705710"/>
                    <a:pt x="1646322" y="704331"/>
                  </a:cubicBezTo>
                  <a:cubicBezTo>
                    <a:pt x="1643616" y="701590"/>
                    <a:pt x="1643651" y="697155"/>
                    <a:pt x="1646392" y="694449"/>
                  </a:cubicBezTo>
                  <a:lnTo>
                    <a:pt x="1646514" y="694327"/>
                  </a:lnTo>
                  <a:cubicBezTo>
                    <a:pt x="1649255" y="691621"/>
                    <a:pt x="1653690" y="691638"/>
                    <a:pt x="1656396" y="694397"/>
                  </a:cubicBezTo>
                  <a:cubicBezTo>
                    <a:pt x="1659102" y="697138"/>
                    <a:pt x="1659067" y="701572"/>
                    <a:pt x="1656326" y="704279"/>
                  </a:cubicBezTo>
                  <a:lnTo>
                    <a:pt x="1656204" y="704401"/>
                  </a:lnTo>
                  <a:cubicBezTo>
                    <a:pt x="1654842" y="705745"/>
                    <a:pt x="1653078" y="706409"/>
                    <a:pt x="1651298" y="706409"/>
                  </a:cubicBezTo>
                  <a:close/>
                  <a:moveTo>
                    <a:pt x="1737878" y="619776"/>
                  </a:moveTo>
                  <a:cubicBezTo>
                    <a:pt x="1736097" y="619776"/>
                    <a:pt x="1734317" y="619112"/>
                    <a:pt x="1732972" y="617768"/>
                  </a:cubicBezTo>
                  <a:cubicBezTo>
                    <a:pt x="1730248" y="615044"/>
                    <a:pt x="1730179" y="610679"/>
                    <a:pt x="1732902" y="607956"/>
                  </a:cubicBezTo>
                  <a:lnTo>
                    <a:pt x="1733025" y="607834"/>
                  </a:lnTo>
                  <a:cubicBezTo>
                    <a:pt x="1735748" y="605110"/>
                    <a:pt x="1740183" y="605110"/>
                    <a:pt x="1742906" y="607834"/>
                  </a:cubicBezTo>
                  <a:cubicBezTo>
                    <a:pt x="1745630" y="610557"/>
                    <a:pt x="1745630" y="614974"/>
                    <a:pt x="1742906" y="617716"/>
                  </a:cubicBezTo>
                  <a:cubicBezTo>
                    <a:pt x="1741527" y="619095"/>
                    <a:pt x="1739694" y="619793"/>
                    <a:pt x="1737878" y="619793"/>
                  </a:cubicBezTo>
                  <a:close/>
                  <a:moveTo>
                    <a:pt x="1824407" y="533230"/>
                  </a:moveTo>
                  <a:cubicBezTo>
                    <a:pt x="1822626" y="533230"/>
                    <a:pt x="1820845" y="532567"/>
                    <a:pt x="1819500" y="531222"/>
                  </a:cubicBezTo>
                  <a:cubicBezTo>
                    <a:pt x="1816777" y="528499"/>
                    <a:pt x="1816707" y="524134"/>
                    <a:pt x="1819430" y="521410"/>
                  </a:cubicBezTo>
                  <a:lnTo>
                    <a:pt x="1819552" y="521288"/>
                  </a:lnTo>
                  <a:cubicBezTo>
                    <a:pt x="1822276" y="518564"/>
                    <a:pt x="1826711" y="518564"/>
                    <a:pt x="1829435" y="521288"/>
                  </a:cubicBezTo>
                  <a:cubicBezTo>
                    <a:pt x="1832158" y="524012"/>
                    <a:pt x="1832158" y="528429"/>
                    <a:pt x="1829435" y="531170"/>
                  </a:cubicBezTo>
                  <a:cubicBezTo>
                    <a:pt x="1828055" y="532549"/>
                    <a:pt x="1826222" y="533248"/>
                    <a:pt x="1824407" y="533248"/>
                  </a:cubicBezTo>
                  <a:close/>
                  <a:moveTo>
                    <a:pt x="1910917" y="446789"/>
                  </a:moveTo>
                  <a:cubicBezTo>
                    <a:pt x="1909119" y="446789"/>
                    <a:pt x="1907320" y="446108"/>
                    <a:pt x="1905959" y="444729"/>
                  </a:cubicBezTo>
                  <a:cubicBezTo>
                    <a:pt x="1903235" y="441988"/>
                    <a:pt x="1903253" y="437571"/>
                    <a:pt x="1905994" y="434847"/>
                  </a:cubicBezTo>
                  <a:lnTo>
                    <a:pt x="1906116" y="434725"/>
                  </a:lnTo>
                  <a:cubicBezTo>
                    <a:pt x="1908857" y="432001"/>
                    <a:pt x="1913274" y="432019"/>
                    <a:pt x="1915998" y="434760"/>
                  </a:cubicBezTo>
                  <a:cubicBezTo>
                    <a:pt x="1918721" y="437501"/>
                    <a:pt x="1918704" y="441918"/>
                    <a:pt x="1915963" y="444642"/>
                  </a:cubicBezTo>
                  <a:lnTo>
                    <a:pt x="1915841" y="444764"/>
                  </a:lnTo>
                  <a:cubicBezTo>
                    <a:pt x="1914479" y="446126"/>
                    <a:pt x="1912698" y="446789"/>
                    <a:pt x="1910917" y="446789"/>
                  </a:cubicBezTo>
                  <a:close/>
                  <a:moveTo>
                    <a:pt x="1997463" y="360244"/>
                  </a:moveTo>
                  <a:cubicBezTo>
                    <a:pt x="1995664" y="360244"/>
                    <a:pt x="1993866" y="359563"/>
                    <a:pt x="1992504" y="358184"/>
                  </a:cubicBezTo>
                  <a:cubicBezTo>
                    <a:pt x="1989780" y="355443"/>
                    <a:pt x="1989798" y="351025"/>
                    <a:pt x="1992539" y="348302"/>
                  </a:cubicBezTo>
                  <a:lnTo>
                    <a:pt x="1992662" y="348179"/>
                  </a:lnTo>
                  <a:cubicBezTo>
                    <a:pt x="1995402" y="345456"/>
                    <a:pt x="1999819" y="345473"/>
                    <a:pt x="2002543" y="348214"/>
                  </a:cubicBezTo>
                  <a:cubicBezTo>
                    <a:pt x="2005267" y="350955"/>
                    <a:pt x="2005250" y="355373"/>
                    <a:pt x="2002508" y="358096"/>
                  </a:cubicBezTo>
                  <a:lnTo>
                    <a:pt x="2002386" y="358218"/>
                  </a:lnTo>
                  <a:cubicBezTo>
                    <a:pt x="2001025" y="359563"/>
                    <a:pt x="1999244" y="360244"/>
                    <a:pt x="1997463" y="360244"/>
                  </a:cubicBezTo>
                  <a:close/>
                  <a:moveTo>
                    <a:pt x="2084043" y="273611"/>
                  </a:moveTo>
                  <a:cubicBezTo>
                    <a:pt x="2082262" y="273611"/>
                    <a:pt x="2080481" y="272947"/>
                    <a:pt x="2079137" y="271603"/>
                  </a:cubicBezTo>
                  <a:cubicBezTo>
                    <a:pt x="2076413" y="268879"/>
                    <a:pt x="2076343" y="264515"/>
                    <a:pt x="2079067" y="261791"/>
                  </a:cubicBezTo>
                  <a:lnTo>
                    <a:pt x="2079189" y="261669"/>
                  </a:lnTo>
                  <a:cubicBezTo>
                    <a:pt x="2081913" y="258945"/>
                    <a:pt x="2086348" y="258945"/>
                    <a:pt x="2089071" y="261669"/>
                  </a:cubicBezTo>
                  <a:cubicBezTo>
                    <a:pt x="2091795" y="264392"/>
                    <a:pt x="2091795" y="268827"/>
                    <a:pt x="2089071" y="271551"/>
                  </a:cubicBezTo>
                  <a:cubicBezTo>
                    <a:pt x="2087692" y="272930"/>
                    <a:pt x="2085859" y="273628"/>
                    <a:pt x="2084043" y="273628"/>
                  </a:cubicBezTo>
                  <a:close/>
                  <a:moveTo>
                    <a:pt x="2170589" y="187065"/>
                  </a:moveTo>
                  <a:cubicBezTo>
                    <a:pt x="2168808" y="187065"/>
                    <a:pt x="2167027" y="186402"/>
                    <a:pt x="2165682" y="185057"/>
                  </a:cubicBezTo>
                  <a:cubicBezTo>
                    <a:pt x="2162959" y="182334"/>
                    <a:pt x="2162890" y="177969"/>
                    <a:pt x="2165612" y="175245"/>
                  </a:cubicBezTo>
                  <a:lnTo>
                    <a:pt x="2165735" y="175123"/>
                  </a:lnTo>
                  <a:cubicBezTo>
                    <a:pt x="2168459" y="172399"/>
                    <a:pt x="2172894" y="172399"/>
                    <a:pt x="2175617" y="175123"/>
                  </a:cubicBezTo>
                  <a:cubicBezTo>
                    <a:pt x="2178340" y="177847"/>
                    <a:pt x="2178340" y="182264"/>
                    <a:pt x="2175617" y="185005"/>
                  </a:cubicBezTo>
                  <a:cubicBezTo>
                    <a:pt x="2174238" y="186384"/>
                    <a:pt x="2172404" y="187083"/>
                    <a:pt x="2170589" y="187083"/>
                  </a:cubicBezTo>
                  <a:close/>
                  <a:moveTo>
                    <a:pt x="2257117" y="100520"/>
                  </a:moveTo>
                  <a:cubicBezTo>
                    <a:pt x="2255336" y="100520"/>
                    <a:pt x="2253573" y="99856"/>
                    <a:pt x="2252229" y="98529"/>
                  </a:cubicBezTo>
                  <a:cubicBezTo>
                    <a:pt x="2249487" y="95806"/>
                    <a:pt x="2249417" y="91458"/>
                    <a:pt x="2252141" y="88717"/>
                  </a:cubicBezTo>
                  <a:lnTo>
                    <a:pt x="2252263" y="88595"/>
                  </a:lnTo>
                  <a:cubicBezTo>
                    <a:pt x="2254969" y="85854"/>
                    <a:pt x="2259404" y="85836"/>
                    <a:pt x="2262145" y="88560"/>
                  </a:cubicBezTo>
                  <a:cubicBezTo>
                    <a:pt x="2264886" y="91284"/>
                    <a:pt x="2264904" y="95701"/>
                    <a:pt x="2262180" y="98442"/>
                  </a:cubicBezTo>
                  <a:cubicBezTo>
                    <a:pt x="2260800" y="99839"/>
                    <a:pt x="2258968" y="100537"/>
                    <a:pt x="2257135" y="100537"/>
                  </a:cubicBezTo>
                  <a:close/>
                  <a:moveTo>
                    <a:pt x="2343663" y="13991"/>
                  </a:moveTo>
                  <a:cubicBezTo>
                    <a:pt x="2341882" y="13991"/>
                    <a:pt x="2340118" y="13328"/>
                    <a:pt x="2338774" y="12001"/>
                  </a:cubicBezTo>
                  <a:cubicBezTo>
                    <a:pt x="2336033" y="9278"/>
                    <a:pt x="2335963" y="4930"/>
                    <a:pt x="2338687" y="2189"/>
                  </a:cubicBezTo>
                  <a:lnTo>
                    <a:pt x="2338809" y="2067"/>
                  </a:lnTo>
                  <a:cubicBezTo>
                    <a:pt x="2341515" y="-674"/>
                    <a:pt x="2345949" y="-692"/>
                    <a:pt x="2348691" y="2032"/>
                  </a:cubicBezTo>
                  <a:cubicBezTo>
                    <a:pt x="2351432" y="4755"/>
                    <a:pt x="2351450" y="9173"/>
                    <a:pt x="2348726" y="11914"/>
                  </a:cubicBezTo>
                  <a:cubicBezTo>
                    <a:pt x="2347347" y="13311"/>
                    <a:pt x="2345513" y="14009"/>
                    <a:pt x="2343680" y="14009"/>
                  </a:cubicBezTo>
                  <a:close/>
                </a:path>
              </a:pathLst>
            </a:custGeom>
            <a:grpFill/>
            <a:ln w="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9261A73-6726-4E7E-686A-B87C0AA60A6A}"/>
                </a:ext>
              </a:extLst>
            </p:cNvPr>
            <p:cNvSpPr/>
            <p:nvPr/>
          </p:nvSpPr>
          <p:spPr>
            <a:xfrm>
              <a:off x="6750638" y="2991974"/>
              <a:ext cx="2178792" cy="2178744"/>
            </a:xfrm>
            <a:custGeom>
              <a:avLst/>
              <a:gdLst>
                <a:gd name="connsiteX0" fmla="*/ 7573 w 2178792"/>
                <a:gd name="connsiteY0" fmla="*/ 2178727 h 2178744"/>
                <a:gd name="connsiteX1" fmla="*/ 2248 w 2178792"/>
                <a:gd name="connsiteY1" fmla="*/ 2176545 h 2178744"/>
                <a:gd name="connsiteX2" fmla="*/ 2178 w 2178792"/>
                <a:gd name="connsiteY2" fmla="*/ 2165912 h 2178744"/>
                <a:gd name="connsiteX3" fmla="*/ 2301 w 2178792"/>
                <a:gd name="connsiteY3" fmla="*/ 2165789 h 2178744"/>
                <a:gd name="connsiteX4" fmla="*/ 13003 w 2178792"/>
                <a:gd name="connsiteY4" fmla="*/ 2165789 h 2178744"/>
                <a:gd name="connsiteX5" fmla="*/ 13003 w 2178792"/>
                <a:gd name="connsiteY5" fmla="*/ 2176492 h 2178744"/>
                <a:gd name="connsiteX6" fmla="*/ 7556 w 2178792"/>
                <a:gd name="connsiteY6" fmla="*/ 2178744 h 2178744"/>
                <a:gd name="connsiteX7" fmla="*/ 94119 w 2178792"/>
                <a:gd name="connsiteY7" fmla="*/ 2092181 h 2178744"/>
                <a:gd name="connsiteX8" fmla="*/ 88794 w 2178792"/>
                <a:gd name="connsiteY8" fmla="*/ 2089999 h 2178744"/>
                <a:gd name="connsiteX9" fmla="*/ 88724 w 2178792"/>
                <a:gd name="connsiteY9" fmla="*/ 2079366 h 2178744"/>
                <a:gd name="connsiteX10" fmla="*/ 88846 w 2178792"/>
                <a:gd name="connsiteY10" fmla="*/ 2079244 h 2178744"/>
                <a:gd name="connsiteX11" fmla="*/ 99549 w 2178792"/>
                <a:gd name="connsiteY11" fmla="*/ 2079244 h 2178744"/>
                <a:gd name="connsiteX12" fmla="*/ 99549 w 2178792"/>
                <a:gd name="connsiteY12" fmla="*/ 2089946 h 2178744"/>
                <a:gd name="connsiteX13" fmla="*/ 94102 w 2178792"/>
                <a:gd name="connsiteY13" fmla="*/ 2092199 h 2178744"/>
                <a:gd name="connsiteX14" fmla="*/ 180664 w 2178792"/>
                <a:gd name="connsiteY14" fmla="*/ 2005635 h 2178744"/>
                <a:gd name="connsiteX15" fmla="*/ 175339 w 2178792"/>
                <a:gd name="connsiteY15" fmla="*/ 2003453 h 2178744"/>
                <a:gd name="connsiteX16" fmla="*/ 175270 w 2178792"/>
                <a:gd name="connsiteY16" fmla="*/ 1992821 h 2178744"/>
                <a:gd name="connsiteX17" fmla="*/ 175392 w 2178792"/>
                <a:gd name="connsiteY17" fmla="*/ 1992698 h 2178744"/>
                <a:gd name="connsiteX18" fmla="*/ 186094 w 2178792"/>
                <a:gd name="connsiteY18" fmla="*/ 1992698 h 2178744"/>
                <a:gd name="connsiteX19" fmla="*/ 186094 w 2178792"/>
                <a:gd name="connsiteY19" fmla="*/ 2003401 h 2178744"/>
                <a:gd name="connsiteX20" fmla="*/ 180647 w 2178792"/>
                <a:gd name="connsiteY20" fmla="*/ 2005653 h 2178744"/>
                <a:gd name="connsiteX21" fmla="*/ 267175 w 2178792"/>
                <a:gd name="connsiteY21" fmla="*/ 1919177 h 2178744"/>
                <a:gd name="connsiteX22" fmla="*/ 261832 w 2178792"/>
                <a:gd name="connsiteY22" fmla="*/ 1916960 h 2178744"/>
                <a:gd name="connsiteX23" fmla="*/ 261832 w 2178792"/>
                <a:gd name="connsiteY23" fmla="*/ 1906257 h 2178744"/>
                <a:gd name="connsiteX24" fmla="*/ 261955 w 2178792"/>
                <a:gd name="connsiteY24" fmla="*/ 1906135 h 2178744"/>
                <a:gd name="connsiteX25" fmla="*/ 272658 w 2178792"/>
                <a:gd name="connsiteY25" fmla="*/ 1906135 h 2178744"/>
                <a:gd name="connsiteX26" fmla="*/ 272658 w 2178792"/>
                <a:gd name="connsiteY26" fmla="*/ 1916838 h 2178744"/>
                <a:gd name="connsiteX27" fmla="*/ 272535 w 2178792"/>
                <a:gd name="connsiteY27" fmla="*/ 1916960 h 2178744"/>
                <a:gd name="connsiteX28" fmla="*/ 267193 w 2178792"/>
                <a:gd name="connsiteY28" fmla="*/ 1919177 h 2178744"/>
                <a:gd name="connsiteX29" fmla="*/ 353721 w 2178792"/>
                <a:gd name="connsiteY29" fmla="*/ 1832632 h 2178744"/>
                <a:gd name="connsiteX30" fmla="*/ 348378 w 2178792"/>
                <a:gd name="connsiteY30" fmla="*/ 1830414 h 2178744"/>
                <a:gd name="connsiteX31" fmla="*/ 348378 w 2178792"/>
                <a:gd name="connsiteY31" fmla="*/ 1819712 h 2178744"/>
                <a:gd name="connsiteX32" fmla="*/ 348500 w 2178792"/>
                <a:gd name="connsiteY32" fmla="*/ 1819589 h 2178744"/>
                <a:gd name="connsiteX33" fmla="*/ 359203 w 2178792"/>
                <a:gd name="connsiteY33" fmla="*/ 1819589 h 2178744"/>
                <a:gd name="connsiteX34" fmla="*/ 359203 w 2178792"/>
                <a:gd name="connsiteY34" fmla="*/ 1830292 h 2178744"/>
                <a:gd name="connsiteX35" fmla="*/ 359081 w 2178792"/>
                <a:gd name="connsiteY35" fmla="*/ 1830414 h 2178744"/>
                <a:gd name="connsiteX36" fmla="*/ 353738 w 2178792"/>
                <a:gd name="connsiteY36" fmla="*/ 1832632 h 2178744"/>
                <a:gd name="connsiteX37" fmla="*/ 440284 w 2178792"/>
                <a:gd name="connsiteY37" fmla="*/ 1745999 h 2178744"/>
                <a:gd name="connsiteX38" fmla="*/ 434959 w 2178792"/>
                <a:gd name="connsiteY38" fmla="*/ 1743816 h 2178744"/>
                <a:gd name="connsiteX39" fmla="*/ 434889 w 2178792"/>
                <a:gd name="connsiteY39" fmla="*/ 1733184 h 2178744"/>
                <a:gd name="connsiteX40" fmla="*/ 435011 w 2178792"/>
                <a:gd name="connsiteY40" fmla="*/ 1733062 h 2178744"/>
                <a:gd name="connsiteX41" fmla="*/ 445714 w 2178792"/>
                <a:gd name="connsiteY41" fmla="*/ 1733062 h 2178744"/>
                <a:gd name="connsiteX42" fmla="*/ 445714 w 2178792"/>
                <a:gd name="connsiteY42" fmla="*/ 1743764 h 2178744"/>
                <a:gd name="connsiteX43" fmla="*/ 440266 w 2178792"/>
                <a:gd name="connsiteY43" fmla="*/ 1746016 h 2178744"/>
                <a:gd name="connsiteX44" fmla="*/ 526829 w 2178792"/>
                <a:gd name="connsiteY44" fmla="*/ 1659471 h 2178744"/>
                <a:gd name="connsiteX45" fmla="*/ 521504 w 2178792"/>
                <a:gd name="connsiteY45" fmla="*/ 1657288 h 2178744"/>
                <a:gd name="connsiteX46" fmla="*/ 521435 w 2178792"/>
                <a:gd name="connsiteY46" fmla="*/ 1646656 h 2178744"/>
                <a:gd name="connsiteX47" fmla="*/ 521557 w 2178792"/>
                <a:gd name="connsiteY47" fmla="*/ 1646533 h 2178744"/>
                <a:gd name="connsiteX48" fmla="*/ 532259 w 2178792"/>
                <a:gd name="connsiteY48" fmla="*/ 1646533 h 2178744"/>
                <a:gd name="connsiteX49" fmla="*/ 532259 w 2178792"/>
                <a:gd name="connsiteY49" fmla="*/ 1657236 h 2178744"/>
                <a:gd name="connsiteX50" fmla="*/ 526812 w 2178792"/>
                <a:gd name="connsiteY50" fmla="*/ 1659488 h 2178744"/>
                <a:gd name="connsiteX51" fmla="*/ 613375 w 2178792"/>
                <a:gd name="connsiteY51" fmla="*/ 1572925 h 2178744"/>
                <a:gd name="connsiteX52" fmla="*/ 608050 w 2178792"/>
                <a:gd name="connsiteY52" fmla="*/ 1570743 h 2178744"/>
                <a:gd name="connsiteX53" fmla="*/ 607980 w 2178792"/>
                <a:gd name="connsiteY53" fmla="*/ 1560110 h 2178744"/>
                <a:gd name="connsiteX54" fmla="*/ 608102 w 2178792"/>
                <a:gd name="connsiteY54" fmla="*/ 1559988 h 2178744"/>
                <a:gd name="connsiteX55" fmla="*/ 618805 w 2178792"/>
                <a:gd name="connsiteY55" fmla="*/ 1559988 h 2178744"/>
                <a:gd name="connsiteX56" fmla="*/ 618805 w 2178792"/>
                <a:gd name="connsiteY56" fmla="*/ 1570690 h 2178744"/>
                <a:gd name="connsiteX57" fmla="*/ 613357 w 2178792"/>
                <a:gd name="connsiteY57" fmla="*/ 1572943 h 2178744"/>
                <a:gd name="connsiteX58" fmla="*/ 699886 w 2178792"/>
                <a:gd name="connsiteY58" fmla="*/ 1486467 h 2178744"/>
                <a:gd name="connsiteX59" fmla="*/ 694508 w 2178792"/>
                <a:gd name="connsiteY59" fmla="*/ 1484215 h 2178744"/>
                <a:gd name="connsiteX60" fmla="*/ 694578 w 2178792"/>
                <a:gd name="connsiteY60" fmla="*/ 1473512 h 2178744"/>
                <a:gd name="connsiteX61" fmla="*/ 694700 w 2178792"/>
                <a:gd name="connsiteY61" fmla="*/ 1473390 h 2178744"/>
                <a:gd name="connsiteX62" fmla="*/ 705403 w 2178792"/>
                <a:gd name="connsiteY62" fmla="*/ 1473459 h 2178744"/>
                <a:gd name="connsiteX63" fmla="*/ 705333 w 2178792"/>
                <a:gd name="connsiteY63" fmla="*/ 1484162 h 2178744"/>
                <a:gd name="connsiteX64" fmla="*/ 705211 w 2178792"/>
                <a:gd name="connsiteY64" fmla="*/ 1484285 h 2178744"/>
                <a:gd name="connsiteX65" fmla="*/ 699903 w 2178792"/>
                <a:gd name="connsiteY65" fmla="*/ 1486467 h 2178744"/>
                <a:gd name="connsiteX66" fmla="*/ 786431 w 2178792"/>
                <a:gd name="connsiteY66" fmla="*/ 1399921 h 2178744"/>
                <a:gd name="connsiteX67" fmla="*/ 781089 w 2178792"/>
                <a:gd name="connsiteY67" fmla="*/ 1397704 h 2178744"/>
                <a:gd name="connsiteX68" fmla="*/ 781089 w 2178792"/>
                <a:gd name="connsiteY68" fmla="*/ 1387002 h 2178744"/>
                <a:gd name="connsiteX69" fmla="*/ 781211 w 2178792"/>
                <a:gd name="connsiteY69" fmla="*/ 1386879 h 2178744"/>
                <a:gd name="connsiteX70" fmla="*/ 791913 w 2178792"/>
                <a:gd name="connsiteY70" fmla="*/ 1386879 h 2178744"/>
                <a:gd name="connsiteX71" fmla="*/ 791913 w 2178792"/>
                <a:gd name="connsiteY71" fmla="*/ 1397582 h 2178744"/>
                <a:gd name="connsiteX72" fmla="*/ 791791 w 2178792"/>
                <a:gd name="connsiteY72" fmla="*/ 1397704 h 2178744"/>
                <a:gd name="connsiteX73" fmla="*/ 786448 w 2178792"/>
                <a:gd name="connsiteY73" fmla="*/ 1399921 h 2178744"/>
                <a:gd name="connsiteX74" fmla="*/ 872977 w 2178792"/>
                <a:gd name="connsiteY74" fmla="*/ 1313393 h 2178744"/>
                <a:gd name="connsiteX75" fmla="*/ 867669 w 2178792"/>
                <a:gd name="connsiteY75" fmla="*/ 1311211 h 2178744"/>
                <a:gd name="connsiteX76" fmla="*/ 867599 w 2178792"/>
                <a:gd name="connsiteY76" fmla="*/ 1300508 h 2178744"/>
                <a:gd name="connsiteX77" fmla="*/ 867721 w 2178792"/>
                <a:gd name="connsiteY77" fmla="*/ 1300386 h 2178744"/>
                <a:gd name="connsiteX78" fmla="*/ 878424 w 2178792"/>
                <a:gd name="connsiteY78" fmla="*/ 1300316 h 2178744"/>
                <a:gd name="connsiteX79" fmla="*/ 878494 w 2178792"/>
                <a:gd name="connsiteY79" fmla="*/ 1311019 h 2178744"/>
                <a:gd name="connsiteX80" fmla="*/ 878372 w 2178792"/>
                <a:gd name="connsiteY80" fmla="*/ 1311141 h 2178744"/>
                <a:gd name="connsiteX81" fmla="*/ 872994 w 2178792"/>
                <a:gd name="connsiteY81" fmla="*/ 1313393 h 2178744"/>
                <a:gd name="connsiteX82" fmla="*/ 959540 w 2178792"/>
                <a:gd name="connsiteY82" fmla="*/ 1226760 h 2178744"/>
                <a:gd name="connsiteX83" fmla="*/ 954215 w 2178792"/>
                <a:gd name="connsiteY83" fmla="*/ 1224578 h 2178744"/>
                <a:gd name="connsiteX84" fmla="*/ 954145 w 2178792"/>
                <a:gd name="connsiteY84" fmla="*/ 1213945 h 2178744"/>
                <a:gd name="connsiteX85" fmla="*/ 954267 w 2178792"/>
                <a:gd name="connsiteY85" fmla="*/ 1213823 h 2178744"/>
                <a:gd name="connsiteX86" fmla="*/ 964969 w 2178792"/>
                <a:gd name="connsiteY86" fmla="*/ 1213823 h 2178744"/>
                <a:gd name="connsiteX87" fmla="*/ 964969 w 2178792"/>
                <a:gd name="connsiteY87" fmla="*/ 1224526 h 2178744"/>
                <a:gd name="connsiteX88" fmla="*/ 959522 w 2178792"/>
                <a:gd name="connsiteY88" fmla="*/ 1226778 h 2178744"/>
                <a:gd name="connsiteX89" fmla="*/ 1046051 w 2178792"/>
                <a:gd name="connsiteY89" fmla="*/ 1140302 h 2178744"/>
                <a:gd name="connsiteX90" fmla="*/ 1040656 w 2178792"/>
                <a:gd name="connsiteY90" fmla="*/ 1138050 h 2178744"/>
                <a:gd name="connsiteX91" fmla="*/ 1040725 w 2178792"/>
                <a:gd name="connsiteY91" fmla="*/ 1127347 h 2178744"/>
                <a:gd name="connsiteX92" fmla="*/ 1040848 w 2178792"/>
                <a:gd name="connsiteY92" fmla="*/ 1127225 h 2178744"/>
                <a:gd name="connsiteX93" fmla="*/ 1051550 w 2178792"/>
                <a:gd name="connsiteY93" fmla="*/ 1127295 h 2178744"/>
                <a:gd name="connsiteX94" fmla="*/ 1051480 w 2178792"/>
                <a:gd name="connsiteY94" fmla="*/ 1137997 h 2178744"/>
                <a:gd name="connsiteX95" fmla="*/ 1051358 w 2178792"/>
                <a:gd name="connsiteY95" fmla="*/ 1138120 h 2178744"/>
                <a:gd name="connsiteX96" fmla="*/ 1046051 w 2178792"/>
                <a:gd name="connsiteY96" fmla="*/ 1140302 h 2178744"/>
                <a:gd name="connsiteX97" fmla="*/ 1132596 w 2178792"/>
                <a:gd name="connsiteY97" fmla="*/ 1053756 h 2178744"/>
                <a:gd name="connsiteX98" fmla="*/ 1127254 w 2178792"/>
                <a:gd name="connsiteY98" fmla="*/ 1051539 h 2178744"/>
                <a:gd name="connsiteX99" fmla="*/ 1127254 w 2178792"/>
                <a:gd name="connsiteY99" fmla="*/ 1040837 h 2178744"/>
                <a:gd name="connsiteX100" fmla="*/ 1127376 w 2178792"/>
                <a:gd name="connsiteY100" fmla="*/ 1040714 h 2178744"/>
                <a:gd name="connsiteX101" fmla="*/ 1138078 w 2178792"/>
                <a:gd name="connsiteY101" fmla="*/ 1040714 h 2178744"/>
                <a:gd name="connsiteX102" fmla="*/ 1138078 w 2178792"/>
                <a:gd name="connsiteY102" fmla="*/ 1051417 h 2178744"/>
                <a:gd name="connsiteX103" fmla="*/ 1137956 w 2178792"/>
                <a:gd name="connsiteY103" fmla="*/ 1051539 h 2178744"/>
                <a:gd name="connsiteX104" fmla="*/ 1132613 w 2178792"/>
                <a:gd name="connsiteY104" fmla="*/ 1053756 h 2178744"/>
                <a:gd name="connsiteX105" fmla="*/ 1219142 w 2178792"/>
                <a:gd name="connsiteY105" fmla="*/ 967211 h 2178744"/>
                <a:gd name="connsiteX106" fmla="*/ 1213834 w 2178792"/>
                <a:gd name="connsiteY106" fmla="*/ 965028 h 2178744"/>
                <a:gd name="connsiteX107" fmla="*/ 1213764 w 2178792"/>
                <a:gd name="connsiteY107" fmla="*/ 954326 h 2178744"/>
                <a:gd name="connsiteX108" fmla="*/ 1213886 w 2178792"/>
                <a:gd name="connsiteY108" fmla="*/ 954204 h 2178744"/>
                <a:gd name="connsiteX109" fmla="*/ 1224589 w 2178792"/>
                <a:gd name="connsiteY109" fmla="*/ 954134 h 2178744"/>
                <a:gd name="connsiteX110" fmla="*/ 1224659 w 2178792"/>
                <a:gd name="connsiteY110" fmla="*/ 964836 h 2178744"/>
                <a:gd name="connsiteX111" fmla="*/ 1224537 w 2178792"/>
                <a:gd name="connsiteY111" fmla="*/ 964958 h 2178744"/>
                <a:gd name="connsiteX112" fmla="*/ 1219142 w 2178792"/>
                <a:gd name="connsiteY112" fmla="*/ 967211 h 2178744"/>
                <a:gd name="connsiteX113" fmla="*/ 1305687 w 2178792"/>
                <a:gd name="connsiteY113" fmla="*/ 880665 h 2178744"/>
                <a:gd name="connsiteX114" fmla="*/ 1300380 w 2178792"/>
                <a:gd name="connsiteY114" fmla="*/ 878483 h 2178744"/>
                <a:gd name="connsiteX115" fmla="*/ 1300310 w 2178792"/>
                <a:gd name="connsiteY115" fmla="*/ 867780 h 2178744"/>
                <a:gd name="connsiteX116" fmla="*/ 1300432 w 2178792"/>
                <a:gd name="connsiteY116" fmla="*/ 867658 h 2178744"/>
                <a:gd name="connsiteX117" fmla="*/ 1311134 w 2178792"/>
                <a:gd name="connsiteY117" fmla="*/ 867588 h 2178744"/>
                <a:gd name="connsiteX118" fmla="*/ 1311204 w 2178792"/>
                <a:gd name="connsiteY118" fmla="*/ 878291 h 2178744"/>
                <a:gd name="connsiteX119" fmla="*/ 1311082 w 2178792"/>
                <a:gd name="connsiteY119" fmla="*/ 878413 h 2178744"/>
                <a:gd name="connsiteX120" fmla="*/ 1305705 w 2178792"/>
                <a:gd name="connsiteY120" fmla="*/ 880665 h 2178744"/>
                <a:gd name="connsiteX121" fmla="*/ 1392250 w 2178792"/>
                <a:gd name="connsiteY121" fmla="*/ 794032 h 2178744"/>
                <a:gd name="connsiteX122" fmla="*/ 1386925 w 2178792"/>
                <a:gd name="connsiteY122" fmla="*/ 791850 h 2178744"/>
                <a:gd name="connsiteX123" fmla="*/ 1386855 w 2178792"/>
                <a:gd name="connsiteY123" fmla="*/ 781217 h 2178744"/>
                <a:gd name="connsiteX124" fmla="*/ 1386978 w 2178792"/>
                <a:gd name="connsiteY124" fmla="*/ 781095 h 2178744"/>
                <a:gd name="connsiteX125" fmla="*/ 1397680 w 2178792"/>
                <a:gd name="connsiteY125" fmla="*/ 781095 h 2178744"/>
                <a:gd name="connsiteX126" fmla="*/ 1397680 w 2178792"/>
                <a:gd name="connsiteY126" fmla="*/ 791797 h 2178744"/>
                <a:gd name="connsiteX127" fmla="*/ 1392233 w 2178792"/>
                <a:gd name="connsiteY127" fmla="*/ 794050 h 2178744"/>
                <a:gd name="connsiteX128" fmla="*/ 1478796 w 2178792"/>
                <a:gd name="connsiteY128" fmla="*/ 707504 h 2178744"/>
                <a:gd name="connsiteX129" fmla="*/ 1473471 w 2178792"/>
                <a:gd name="connsiteY129" fmla="*/ 705322 h 2178744"/>
                <a:gd name="connsiteX130" fmla="*/ 1473401 w 2178792"/>
                <a:gd name="connsiteY130" fmla="*/ 694689 h 2178744"/>
                <a:gd name="connsiteX131" fmla="*/ 1473523 w 2178792"/>
                <a:gd name="connsiteY131" fmla="*/ 694567 h 2178744"/>
                <a:gd name="connsiteX132" fmla="*/ 1484226 w 2178792"/>
                <a:gd name="connsiteY132" fmla="*/ 694567 h 2178744"/>
                <a:gd name="connsiteX133" fmla="*/ 1484226 w 2178792"/>
                <a:gd name="connsiteY133" fmla="*/ 705269 h 2178744"/>
                <a:gd name="connsiteX134" fmla="*/ 1478778 w 2178792"/>
                <a:gd name="connsiteY134" fmla="*/ 707521 h 2178744"/>
                <a:gd name="connsiteX135" fmla="*/ 1565307 w 2178792"/>
                <a:gd name="connsiteY135" fmla="*/ 621046 h 2178744"/>
                <a:gd name="connsiteX136" fmla="*/ 1559912 w 2178792"/>
                <a:gd name="connsiteY136" fmla="*/ 618794 h 2178744"/>
                <a:gd name="connsiteX137" fmla="*/ 1559981 w 2178792"/>
                <a:gd name="connsiteY137" fmla="*/ 608091 h 2178744"/>
                <a:gd name="connsiteX138" fmla="*/ 1560104 w 2178792"/>
                <a:gd name="connsiteY138" fmla="*/ 607969 h 2178744"/>
                <a:gd name="connsiteX139" fmla="*/ 1570806 w 2178792"/>
                <a:gd name="connsiteY139" fmla="*/ 608039 h 2178744"/>
                <a:gd name="connsiteX140" fmla="*/ 1570737 w 2178792"/>
                <a:gd name="connsiteY140" fmla="*/ 618741 h 2178744"/>
                <a:gd name="connsiteX141" fmla="*/ 1570614 w 2178792"/>
                <a:gd name="connsiteY141" fmla="*/ 618863 h 2178744"/>
                <a:gd name="connsiteX142" fmla="*/ 1565307 w 2178792"/>
                <a:gd name="connsiteY142" fmla="*/ 621046 h 2178744"/>
                <a:gd name="connsiteX143" fmla="*/ 1651852 w 2178792"/>
                <a:gd name="connsiteY143" fmla="*/ 534500 h 2178744"/>
                <a:gd name="connsiteX144" fmla="*/ 1646509 w 2178792"/>
                <a:gd name="connsiteY144" fmla="*/ 532283 h 2178744"/>
                <a:gd name="connsiteX145" fmla="*/ 1646509 w 2178792"/>
                <a:gd name="connsiteY145" fmla="*/ 521580 h 2178744"/>
                <a:gd name="connsiteX146" fmla="*/ 1646632 w 2178792"/>
                <a:gd name="connsiteY146" fmla="*/ 521458 h 2178744"/>
                <a:gd name="connsiteX147" fmla="*/ 1657334 w 2178792"/>
                <a:gd name="connsiteY147" fmla="*/ 521458 h 2178744"/>
                <a:gd name="connsiteX148" fmla="*/ 1657334 w 2178792"/>
                <a:gd name="connsiteY148" fmla="*/ 532161 h 2178744"/>
                <a:gd name="connsiteX149" fmla="*/ 1657212 w 2178792"/>
                <a:gd name="connsiteY149" fmla="*/ 532283 h 2178744"/>
                <a:gd name="connsiteX150" fmla="*/ 1651870 w 2178792"/>
                <a:gd name="connsiteY150" fmla="*/ 534500 h 2178744"/>
                <a:gd name="connsiteX151" fmla="*/ 1738398 w 2178792"/>
                <a:gd name="connsiteY151" fmla="*/ 447955 h 2178744"/>
                <a:gd name="connsiteX152" fmla="*/ 1733090 w 2178792"/>
                <a:gd name="connsiteY152" fmla="*/ 445772 h 2178744"/>
                <a:gd name="connsiteX153" fmla="*/ 1733020 w 2178792"/>
                <a:gd name="connsiteY153" fmla="*/ 435070 h 2178744"/>
                <a:gd name="connsiteX154" fmla="*/ 1733142 w 2178792"/>
                <a:gd name="connsiteY154" fmla="*/ 434948 h 2178744"/>
                <a:gd name="connsiteX155" fmla="*/ 1743845 w 2178792"/>
                <a:gd name="connsiteY155" fmla="*/ 434878 h 2178744"/>
                <a:gd name="connsiteX156" fmla="*/ 1743915 w 2178792"/>
                <a:gd name="connsiteY156" fmla="*/ 445580 h 2178744"/>
                <a:gd name="connsiteX157" fmla="*/ 1743793 w 2178792"/>
                <a:gd name="connsiteY157" fmla="*/ 445702 h 2178744"/>
                <a:gd name="connsiteX158" fmla="*/ 1738415 w 2178792"/>
                <a:gd name="connsiteY158" fmla="*/ 447955 h 2178744"/>
                <a:gd name="connsiteX159" fmla="*/ 1824978 w 2178792"/>
                <a:gd name="connsiteY159" fmla="*/ 361322 h 2178744"/>
                <a:gd name="connsiteX160" fmla="*/ 1819653 w 2178792"/>
                <a:gd name="connsiteY160" fmla="*/ 359139 h 2178744"/>
                <a:gd name="connsiteX161" fmla="*/ 1819584 w 2178792"/>
                <a:gd name="connsiteY161" fmla="*/ 348507 h 2178744"/>
                <a:gd name="connsiteX162" fmla="*/ 1819705 w 2178792"/>
                <a:gd name="connsiteY162" fmla="*/ 348384 h 2178744"/>
                <a:gd name="connsiteX163" fmla="*/ 1830408 w 2178792"/>
                <a:gd name="connsiteY163" fmla="*/ 348384 h 2178744"/>
                <a:gd name="connsiteX164" fmla="*/ 1830408 w 2178792"/>
                <a:gd name="connsiteY164" fmla="*/ 359087 h 2178744"/>
                <a:gd name="connsiteX165" fmla="*/ 1824961 w 2178792"/>
                <a:gd name="connsiteY165" fmla="*/ 361339 h 2178744"/>
                <a:gd name="connsiteX166" fmla="*/ 1911472 w 2178792"/>
                <a:gd name="connsiteY166" fmla="*/ 274881 h 2178744"/>
                <a:gd name="connsiteX167" fmla="*/ 1906094 w 2178792"/>
                <a:gd name="connsiteY167" fmla="*/ 272629 h 2178744"/>
                <a:gd name="connsiteX168" fmla="*/ 1906164 w 2178792"/>
                <a:gd name="connsiteY168" fmla="*/ 261926 h 2178744"/>
                <a:gd name="connsiteX169" fmla="*/ 1906286 w 2178792"/>
                <a:gd name="connsiteY169" fmla="*/ 261804 h 2178744"/>
                <a:gd name="connsiteX170" fmla="*/ 1916989 w 2178792"/>
                <a:gd name="connsiteY170" fmla="*/ 261874 h 2178744"/>
                <a:gd name="connsiteX171" fmla="*/ 1916919 w 2178792"/>
                <a:gd name="connsiteY171" fmla="*/ 272576 h 2178744"/>
                <a:gd name="connsiteX172" fmla="*/ 1916796 w 2178792"/>
                <a:gd name="connsiteY172" fmla="*/ 272699 h 2178744"/>
                <a:gd name="connsiteX173" fmla="*/ 1911489 w 2178792"/>
                <a:gd name="connsiteY173" fmla="*/ 274881 h 2178744"/>
                <a:gd name="connsiteX174" fmla="*/ 1998017 w 2178792"/>
                <a:gd name="connsiteY174" fmla="*/ 188335 h 2178744"/>
                <a:gd name="connsiteX175" fmla="*/ 1992622 w 2178792"/>
                <a:gd name="connsiteY175" fmla="*/ 186083 h 2178744"/>
                <a:gd name="connsiteX176" fmla="*/ 1992692 w 2178792"/>
                <a:gd name="connsiteY176" fmla="*/ 175381 h 2178744"/>
                <a:gd name="connsiteX177" fmla="*/ 1992814 w 2178792"/>
                <a:gd name="connsiteY177" fmla="*/ 175258 h 2178744"/>
                <a:gd name="connsiteX178" fmla="*/ 2003517 w 2178792"/>
                <a:gd name="connsiteY178" fmla="*/ 175328 h 2178744"/>
                <a:gd name="connsiteX179" fmla="*/ 2003447 w 2178792"/>
                <a:gd name="connsiteY179" fmla="*/ 186031 h 2178744"/>
                <a:gd name="connsiteX180" fmla="*/ 2003324 w 2178792"/>
                <a:gd name="connsiteY180" fmla="*/ 186153 h 2178744"/>
                <a:gd name="connsiteX181" fmla="*/ 1998017 w 2178792"/>
                <a:gd name="connsiteY181" fmla="*/ 188335 h 2178744"/>
                <a:gd name="connsiteX182" fmla="*/ 2084598 w 2178792"/>
                <a:gd name="connsiteY182" fmla="*/ 101702 h 2178744"/>
                <a:gd name="connsiteX183" fmla="*/ 2079290 w 2178792"/>
                <a:gd name="connsiteY183" fmla="*/ 99537 h 2178744"/>
                <a:gd name="connsiteX184" fmla="*/ 2079185 w 2178792"/>
                <a:gd name="connsiteY184" fmla="*/ 88905 h 2178744"/>
                <a:gd name="connsiteX185" fmla="*/ 2079307 w 2178792"/>
                <a:gd name="connsiteY185" fmla="*/ 88783 h 2178744"/>
                <a:gd name="connsiteX186" fmla="*/ 2090010 w 2178792"/>
                <a:gd name="connsiteY186" fmla="*/ 88748 h 2178744"/>
                <a:gd name="connsiteX187" fmla="*/ 2090045 w 2178792"/>
                <a:gd name="connsiteY187" fmla="*/ 99450 h 2178744"/>
                <a:gd name="connsiteX188" fmla="*/ 2084580 w 2178792"/>
                <a:gd name="connsiteY188" fmla="*/ 101720 h 2178744"/>
                <a:gd name="connsiteX189" fmla="*/ 2171143 w 2178792"/>
                <a:gd name="connsiteY189" fmla="*/ 15157 h 2178744"/>
                <a:gd name="connsiteX190" fmla="*/ 2165836 w 2178792"/>
                <a:gd name="connsiteY190" fmla="*/ 12992 h 2178744"/>
                <a:gd name="connsiteX191" fmla="*/ 2165731 w 2178792"/>
                <a:gd name="connsiteY191" fmla="*/ 2359 h 2178744"/>
                <a:gd name="connsiteX192" fmla="*/ 2165853 w 2178792"/>
                <a:gd name="connsiteY192" fmla="*/ 2237 h 2178744"/>
                <a:gd name="connsiteX193" fmla="*/ 2176556 w 2178792"/>
                <a:gd name="connsiteY193" fmla="*/ 2202 h 2178744"/>
                <a:gd name="connsiteX194" fmla="*/ 2176591 w 2178792"/>
                <a:gd name="connsiteY194" fmla="*/ 12905 h 2178744"/>
                <a:gd name="connsiteX195" fmla="*/ 2171126 w 2178792"/>
                <a:gd name="connsiteY195" fmla="*/ 15174 h 2178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78792" h="2178744">
                  <a:moveTo>
                    <a:pt x="7573" y="2178727"/>
                  </a:moveTo>
                  <a:cubicBezTo>
                    <a:pt x="5635" y="2178727"/>
                    <a:pt x="3715" y="2177993"/>
                    <a:pt x="2248" y="2176545"/>
                  </a:cubicBezTo>
                  <a:cubicBezTo>
                    <a:pt x="-702" y="2173594"/>
                    <a:pt x="-772" y="2168862"/>
                    <a:pt x="2178" y="2165912"/>
                  </a:cubicBezTo>
                  <a:lnTo>
                    <a:pt x="2301" y="2165789"/>
                  </a:lnTo>
                  <a:cubicBezTo>
                    <a:pt x="5251" y="2162839"/>
                    <a:pt x="10052" y="2162839"/>
                    <a:pt x="13003" y="2165789"/>
                  </a:cubicBezTo>
                  <a:cubicBezTo>
                    <a:pt x="15954" y="2168740"/>
                    <a:pt x="15954" y="2173542"/>
                    <a:pt x="13003" y="2176492"/>
                  </a:cubicBezTo>
                  <a:cubicBezTo>
                    <a:pt x="11502" y="2177976"/>
                    <a:pt x="9529" y="2178744"/>
                    <a:pt x="7556" y="2178744"/>
                  </a:cubicBezTo>
                  <a:close/>
                  <a:moveTo>
                    <a:pt x="94119" y="2092181"/>
                  </a:moveTo>
                  <a:cubicBezTo>
                    <a:pt x="92181" y="2092181"/>
                    <a:pt x="90260" y="2091465"/>
                    <a:pt x="88794" y="2089999"/>
                  </a:cubicBezTo>
                  <a:cubicBezTo>
                    <a:pt x="85843" y="2087048"/>
                    <a:pt x="85773" y="2082317"/>
                    <a:pt x="88724" y="2079366"/>
                  </a:cubicBezTo>
                  <a:lnTo>
                    <a:pt x="88846" y="2079244"/>
                  </a:lnTo>
                  <a:cubicBezTo>
                    <a:pt x="91797" y="2076293"/>
                    <a:pt x="96598" y="2076293"/>
                    <a:pt x="99549" y="2079244"/>
                  </a:cubicBezTo>
                  <a:cubicBezTo>
                    <a:pt x="102499" y="2082195"/>
                    <a:pt x="102499" y="2086996"/>
                    <a:pt x="99549" y="2089946"/>
                  </a:cubicBezTo>
                  <a:cubicBezTo>
                    <a:pt x="98047" y="2091431"/>
                    <a:pt x="96074" y="2092199"/>
                    <a:pt x="94102" y="2092199"/>
                  </a:cubicBezTo>
                  <a:close/>
                  <a:moveTo>
                    <a:pt x="180664" y="2005635"/>
                  </a:moveTo>
                  <a:cubicBezTo>
                    <a:pt x="178727" y="2005635"/>
                    <a:pt x="176806" y="2004920"/>
                    <a:pt x="175339" y="2003453"/>
                  </a:cubicBezTo>
                  <a:cubicBezTo>
                    <a:pt x="172389" y="2000503"/>
                    <a:pt x="172319" y="1995771"/>
                    <a:pt x="175270" y="1992821"/>
                  </a:cubicBezTo>
                  <a:lnTo>
                    <a:pt x="175392" y="1992698"/>
                  </a:lnTo>
                  <a:cubicBezTo>
                    <a:pt x="178343" y="1989748"/>
                    <a:pt x="183144" y="1989748"/>
                    <a:pt x="186094" y="1992698"/>
                  </a:cubicBezTo>
                  <a:cubicBezTo>
                    <a:pt x="189045" y="1995649"/>
                    <a:pt x="189045" y="2000450"/>
                    <a:pt x="186094" y="2003401"/>
                  </a:cubicBezTo>
                  <a:cubicBezTo>
                    <a:pt x="184593" y="2004885"/>
                    <a:pt x="182620" y="2005653"/>
                    <a:pt x="180647" y="2005653"/>
                  </a:cubicBezTo>
                  <a:close/>
                  <a:moveTo>
                    <a:pt x="267175" y="1919177"/>
                  </a:moveTo>
                  <a:cubicBezTo>
                    <a:pt x="265237" y="1919177"/>
                    <a:pt x="263299" y="1918444"/>
                    <a:pt x="261832" y="1916960"/>
                  </a:cubicBezTo>
                  <a:cubicBezTo>
                    <a:pt x="258882" y="1914009"/>
                    <a:pt x="258882" y="1909208"/>
                    <a:pt x="261832" y="1906257"/>
                  </a:cubicBezTo>
                  <a:lnTo>
                    <a:pt x="261955" y="1906135"/>
                  </a:lnTo>
                  <a:cubicBezTo>
                    <a:pt x="264905" y="1903185"/>
                    <a:pt x="269707" y="1903185"/>
                    <a:pt x="272658" y="1906135"/>
                  </a:cubicBezTo>
                  <a:cubicBezTo>
                    <a:pt x="275608" y="1909086"/>
                    <a:pt x="275608" y="1913887"/>
                    <a:pt x="272658" y="1916838"/>
                  </a:cubicBezTo>
                  <a:lnTo>
                    <a:pt x="272535" y="1916960"/>
                  </a:lnTo>
                  <a:cubicBezTo>
                    <a:pt x="271051" y="1918444"/>
                    <a:pt x="269113" y="1919177"/>
                    <a:pt x="267193" y="1919177"/>
                  </a:cubicBezTo>
                  <a:close/>
                  <a:moveTo>
                    <a:pt x="353721" y="1832632"/>
                  </a:moveTo>
                  <a:cubicBezTo>
                    <a:pt x="351783" y="1832632"/>
                    <a:pt x="349845" y="1831898"/>
                    <a:pt x="348378" y="1830414"/>
                  </a:cubicBezTo>
                  <a:cubicBezTo>
                    <a:pt x="345428" y="1827464"/>
                    <a:pt x="345428" y="1822662"/>
                    <a:pt x="348378" y="1819712"/>
                  </a:cubicBezTo>
                  <a:lnTo>
                    <a:pt x="348500" y="1819589"/>
                  </a:lnTo>
                  <a:cubicBezTo>
                    <a:pt x="351451" y="1816639"/>
                    <a:pt x="356252" y="1816639"/>
                    <a:pt x="359203" y="1819589"/>
                  </a:cubicBezTo>
                  <a:cubicBezTo>
                    <a:pt x="362153" y="1822540"/>
                    <a:pt x="362153" y="1827342"/>
                    <a:pt x="359203" y="1830292"/>
                  </a:cubicBezTo>
                  <a:lnTo>
                    <a:pt x="359081" y="1830414"/>
                  </a:lnTo>
                  <a:cubicBezTo>
                    <a:pt x="357597" y="1831898"/>
                    <a:pt x="355659" y="1832632"/>
                    <a:pt x="353738" y="1832632"/>
                  </a:cubicBezTo>
                  <a:close/>
                  <a:moveTo>
                    <a:pt x="440284" y="1745999"/>
                  </a:moveTo>
                  <a:cubicBezTo>
                    <a:pt x="438346" y="1745999"/>
                    <a:pt x="436425" y="1745283"/>
                    <a:pt x="434959" y="1743816"/>
                  </a:cubicBezTo>
                  <a:cubicBezTo>
                    <a:pt x="432008" y="1740866"/>
                    <a:pt x="431938" y="1736134"/>
                    <a:pt x="434889" y="1733184"/>
                  </a:cubicBezTo>
                  <a:lnTo>
                    <a:pt x="435011" y="1733062"/>
                  </a:lnTo>
                  <a:cubicBezTo>
                    <a:pt x="437962" y="1730111"/>
                    <a:pt x="442763" y="1730111"/>
                    <a:pt x="445714" y="1733062"/>
                  </a:cubicBezTo>
                  <a:cubicBezTo>
                    <a:pt x="448664" y="1736012"/>
                    <a:pt x="448664" y="1740813"/>
                    <a:pt x="445714" y="1743764"/>
                  </a:cubicBezTo>
                  <a:cubicBezTo>
                    <a:pt x="444212" y="1745248"/>
                    <a:pt x="442239" y="1746016"/>
                    <a:pt x="440266" y="1746016"/>
                  </a:cubicBezTo>
                  <a:close/>
                  <a:moveTo>
                    <a:pt x="526829" y="1659471"/>
                  </a:moveTo>
                  <a:cubicBezTo>
                    <a:pt x="524892" y="1659471"/>
                    <a:pt x="522971" y="1658755"/>
                    <a:pt x="521504" y="1657288"/>
                  </a:cubicBezTo>
                  <a:cubicBezTo>
                    <a:pt x="518554" y="1654338"/>
                    <a:pt x="518484" y="1649606"/>
                    <a:pt x="521435" y="1646656"/>
                  </a:cubicBezTo>
                  <a:lnTo>
                    <a:pt x="521557" y="1646533"/>
                  </a:lnTo>
                  <a:cubicBezTo>
                    <a:pt x="524507" y="1643583"/>
                    <a:pt x="529309" y="1643583"/>
                    <a:pt x="532259" y="1646533"/>
                  </a:cubicBezTo>
                  <a:cubicBezTo>
                    <a:pt x="535210" y="1649484"/>
                    <a:pt x="535210" y="1654285"/>
                    <a:pt x="532259" y="1657236"/>
                  </a:cubicBezTo>
                  <a:cubicBezTo>
                    <a:pt x="530758" y="1658720"/>
                    <a:pt x="528785" y="1659488"/>
                    <a:pt x="526812" y="1659488"/>
                  </a:cubicBezTo>
                  <a:close/>
                  <a:moveTo>
                    <a:pt x="613375" y="1572925"/>
                  </a:moveTo>
                  <a:cubicBezTo>
                    <a:pt x="611437" y="1572925"/>
                    <a:pt x="609517" y="1572209"/>
                    <a:pt x="608050" y="1570743"/>
                  </a:cubicBezTo>
                  <a:cubicBezTo>
                    <a:pt x="605099" y="1567792"/>
                    <a:pt x="605029" y="1563061"/>
                    <a:pt x="607980" y="1560110"/>
                  </a:cubicBezTo>
                  <a:lnTo>
                    <a:pt x="608102" y="1559988"/>
                  </a:lnTo>
                  <a:cubicBezTo>
                    <a:pt x="611053" y="1557037"/>
                    <a:pt x="615854" y="1557037"/>
                    <a:pt x="618805" y="1559988"/>
                  </a:cubicBezTo>
                  <a:cubicBezTo>
                    <a:pt x="621755" y="1562938"/>
                    <a:pt x="621755" y="1567739"/>
                    <a:pt x="618805" y="1570690"/>
                  </a:cubicBezTo>
                  <a:cubicBezTo>
                    <a:pt x="617303" y="1572174"/>
                    <a:pt x="615330" y="1572943"/>
                    <a:pt x="613357" y="1572943"/>
                  </a:cubicBezTo>
                  <a:close/>
                  <a:moveTo>
                    <a:pt x="699886" y="1486467"/>
                  </a:moveTo>
                  <a:cubicBezTo>
                    <a:pt x="697930" y="1486467"/>
                    <a:pt x="695975" y="1485716"/>
                    <a:pt x="694508" y="1484215"/>
                  </a:cubicBezTo>
                  <a:cubicBezTo>
                    <a:pt x="691575" y="1481247"/>
                    <a:pt x="691610" y="1476445"/>
                    <a:pt x="694578" y="1473512"/>
                  </a:cubicBezTo>
                  <a:lnTo>
                    <a:pt x="694700" y="1473390"/>
                  </a:lnTo>
                  <a:cubicBezTo>
                    <a:pt x="697668" y="1470457"/>
                    <a:pt x="702470" y="1470491"/>
                    <a:pt x="705403" y="1473459"/>
                  </a:cubicBezTo>
                  <a:cubicBezTo>
                    <a:pt x="708336" y="1476428"/>
                    <a:pt x="708301" y="1481229"/>
                    <a:pt x="705333" y="1484162"/>
                  </a:cubicBezTo>
                  <a:lnTo>
                    <a:pt x="705211" y="1484285"/>
                  </a:lnTo>
                  <a:cubicBezTo>
                    <a:pt x="703744" y="1485733"/>
                    <a:pt x="701823" y="1486467"/>
                    <a:pt x="699903" y="1486467"/>
                  </a:cubicBezTo>
                  <a:close/>
                  <a:moveTo>
                    <a:pt x="786431" y="1399921"/>
                  </a:moveTo>
                  <a:cubicBezTo>
                    <a:pt x="784493" y="1399921"/>
                    <a:pt x="782555" y="1399188"/>
                    <a:pt x="781089" y="1397704"/>
                  </a:cubicBezTo>
                  <a:cubicBezTo>
                    <a:pt x="778138" y="1394753"/>
                    <a:pt x="778138" y="1389952"/>
                    <a:pt x="781089" y="1387002"/>
                  </a:cubicBezTo>
                  <a:lnTo>
                    <a:pt x="781211" y="1386879"/>
                  </a:lnTo>
                  <a:cubicBezTo>
                    <a:pt x="784162" y="1383929"/>
                    <a:pt x="788963" y="1383929"/>
                    <a:pt x="791913" y="1386879"/>
                  </a:cubicBezTo>
                  <a:cubicBezTo>
                    <a:pt x="794864" y="1389830"/>
                    <a:pt x="794864" y="1394631"/>
                    <a:pt x="791913" y="1397582"/>
                  </a:cubicBezTo>
                  <a:lnTo>
                    <a:pt x="791791" y="1397704"/>
                  </a:lnTo>
                  <a:cubicBezTo>
                    <a:pt x="790307" y="1399188"/>
                    <a:pt x="788387" y="1399921"/>
                    <a:pt x="786448" y="1399921"/>
                  </a:cubicBezTo>
                  <a:close/>
                  <a:moveTo>
                    <a:pt x="872977" y="1313393"/>
                  </a:moveTo>
                  <a:cubicBezTo>
                    <a:pt x="871056" y="1313393"/>
                    <a:pt x="869136" y="1312660"/>
                    <a:pt x="867669" y="1311211"/>
                  </a:cubicBezTo>
                  <a:cubicBezTo>
                    <a:pt x="864701" y="1308278"/>
                    <a:pt x="864666" y="1303494"/>
                    <a:pt x="867599" y="1300508"/>
                  </a:cubicBezTo>
                  <a:lnTo>
                    <a:pt x="867721" y="1300386"/>
                  </a:lnTo>
                  <a:cubicBezTo>
                    <a:pt x="870654" y="1297418"/>
                    <a:pt x="875439" y="1297383"/>
                    <a:pt x="878424" y="1300316"/>
                  </a:cubicBezTo>
                  <a:cubicBezTo>
                    <a:pt x="881392" y="1303249"/>
                    <a:pt x="881427" y="1308033"/>
                    <a:pt x="878494" y="1311019"/>
                  </a:cubicBezTo>
                  <a:lnTo>
                    <a:pt x="878372" y="1311141"/>
                  </a:lnTo>
                  <a:cubicBezTo>
                    <a:pt x="876888" y="1312642"/>
                    <a:pt x="874932" y="1313393"/>
                    <a:pt x="872994" y="1313393"/>
                  </a:cubicBezTo>
                  <a:close/>
                  <a:moveTo>
                    <a:pt x="959540" y="1226760"/>
                  </a:moveTo>
                  <a:cubicBezTo>
                    <a:pt x="957602" y="1226760"/>
                    <a:pt x="955681" y="1226027"/>
                    <a:pt x="954215" y="1224578"/>
                  </a:cubicBezTo>
                  <a:cubicBezTo>
                    <a:pt x="951264" y="1221627"/>
                    <a:pt x="951194" y="1216896"/>
                    <a:pt x="954145" y="1213945"/>
                  </a:cubicBezTo>
                  <a:lnTo>
                    <a:pt x="954267" y="1213823"/>
                  </a:lnTo>
                  <a:cubicBezTo>
                    <a:pt x="957218" y="1210872"/>
                    <a:pt x="962019" y="1210872"/>
                    <a:pt x="964969" y="1213823"/>
                  </a:cubicBezTo>
                  <a:cubicBezTo>
                    <a:pt x="967920" y="1216774"/>
                    <a:pt x="967920" y="1221575"/>
                    <a:pt x="964969" y="1224526"/>
                  </a:cubicBezTo>
                  <a:cubicBezTo>
                    <a:pt x="963468" y="1226009"/>
                    <a:pt x="961495" y="1226778"/>
                    <a:pt x="959522" y="1226778"/>
                  </a:cubicBezTo>
                  <a:close/>
                  <a:moveTo>
                    <a:pt x="1046051" y="1140302"/>
                  </a:moveTo>
                  <a:cubicBezTo>
                    <a:pt x="1044095" y="1140302"/>
                    <a:pt x="1042140" y="1139551"/>
                    <a:pt x="1040656" y="1138050"/>
                  </a:cubicBezTo>
                  <a:cubicBezTo>
                    <a:pt x="1037723" y="1135082"/>
                    <a:pt x="1037757" y="1130280"/>
                    <a:pt x="1040725" y="1127347"/>
                  </a:cubicBezTo>
                  <a:lnTo>
                    <a:pt x="1040848" y="1127225"/>
                  </a:lnTo>
                  <a:cubicBezTo>
                    <a:pt x="1043816" y="1124292"/>
                    <a:pt x="1048617" y="1124327"/>
                    <a:pt x="1051550" y="1127295"/>
                  </a:cubicBezTo>
                  <a:cubicBezTo>
                    <a:pt x="1054483" y="1130263"/>
                    <a:pt x="1054448" y="1135064"/>
                    <a:pt x="1051480" y="1137997"/>
                  </a:cubicBezTo>
                  <a:lnTo>
                    <a:pt x="1051358" y="1138120"/>
                  </a:lnTo>
                  <a:cubicBezTo>
                    <a:pt x="1049892" y="1139568"/>
                    <a:pt x="1047971" y="1140302"/>
                    <a:pt x="1046051" y="1140302"/>
                  </a:cubicBezTo>
                  <a:close/>
                  <a:moveTo>
                    <a:pt x="1132596" y="1053756"/>
                  </a:moveTo>
                  <a:cubicBezTo>
                    <a:pt x="1130658" y="1053756"/>
                    <a:pt x="1128720" y="1053023"/>
                    <a:pt x="1127254" y="1051539"/>
                  </a:cubicBezTo>
                  <a:cubicBezTo>
                    <a:pt x="1124303" y="1048588"/>
                    <a:pt x="1124303" y="1043787"/>
                    <a:pt x="1127254" y="1040837"/>
                  </a:cubicBezTo>
                  <a:lnTo>
                    <a:pt x="1127376" y="1040714"/>
                  </a:lnTo>
                  <a:cubicBezTo>
                    <a:pt x="1130327" y="1037764"/>
                    <a:pt x="1135128" y="1037764"/>
                    <a:pt x="1138078" y="1040714"/>
                  </a:cubicBezTo>
                  <a:cubicBezTo>
                    <a:pt x="1141029" y="1043665"/>
                    <a:pt x="1141029" y="1048466"/>
                    <a:pt x="1138078" y="1051417"/>
                  </a:cubicBezTo>
                  <a:lnTo>
                    <a:pt x="1137956" y="1051539"/>
                  </a:lnTo>
                  <a:cubicBezTo>
                    <a:pt x="1136472" y="1053023"/>
                    <a:pt x="1134534" y="1053756"/>
                    <a:pt x="1132613" y="1053756"/>
                  </a:cubicBezTo>
                  <a:close/>
                  <a:moveTo>
                    <a:pt x="1219142" y="967211"/>
                  </a:moveTo>
                  <a:cubicBezTo>
                    <a:pt x="1217221" y="967211"/>
                    <a:pt x="1215301" y="966495"/>
                    <a:pt x="1213834" y="965028"/>
                  </a:cubicBezTo>
                  <a:cubicBezTo>
                    <a:pt x="1210866" y="962095"/>
                    <a:pt x="1210831" y="957311"/>
                    <a:pt x="1213764" y="954326"/>
                  </a:cubicBezTo>
                  <a:lnTo>
                    <a:pt x="1213886" y="954204"/>
                  </a:lnTo>
                  <a:cubicBezTo>
                    <a:pt x="1216819" y="951236"/>
                    <a:pt x="1221603" y="951201"/>
                    <a:pt x="1224589" y="954134"/>
                  </a:cubicBezTo>
                  <a:cubicBezTo>
                    <a:pt x="1227557" y="957067"/>
                    <a:pt x="1227592" y="961851"/>
                    <a:pt x="1224659" y="964836"/>
                  </a:cubicBezTo>
                  <a:lnTo>
                    <a:pt x="1224537" y="964958"/>
                  </a:lnTo>
                  <a:cubicBezTo>
                    <a:pt x="1223053" y="966460"/>
                    <a:pt x="1221097" y="967211"/>
                    <a:pt x="1219142" y="967211"/>
                  </a:cubicBezTo>
                  <a:close/>
                  <a:moveTo>
                    <a:pt x="1305687" y="880665"/>
                  </a:moveTo>
                  <a:cubicBezTo>
                    <a:pt x="1303767" y="880665"/>
                    <a:pt x="1301846" y="879932"/>
                    <a:pt x="1300380" y="878483"/>
                  </a:cubicBezTo>
                  <a:cubicBezTo>
                    <a:pt x="1297412" y="875549"/>
                    <a:pt x="1297377" y="870766"/>
                    <a:pt x="1300310" y="867780"/>
                  </a:cubicBezTo>
                  <a:lnTo>
                    <a:pt x="1300432" y="867658"/>
                  </a:lnTo>
                  <a:cubicBezTo>
                    <a:pt x="1303365" y="864690"/>
                    <a:pt x="1308149" y="864655"/>
                    <a:pt x="1311134" y="867588"/>
                  </a:cubicBezTo>
                  <a:cubicBezTo>
                    <a:pt x="1314103" y="870521"/>
                    <a:pt x="1314137" y="875305"/>
                    <a:pt x="1311204" y="878291"/>
                  </a:cubicBezTo>
                  <a:lnTo>
                    <a:pt x="1311082" y="878413"/>
                  </a:lnTo>
                  <a:cubicBezTo>
                    <a:pt x="1309598" y="879914"/>
                    <a:pt x="1307643" y="880665"/>
                    <a:pt x="1305705" y="880665"/>
                  </a:cubicBezTo>
                  <a:close/>
                  <a:moveTo>
                    <a:pt x="1392250" y="794032"/>
                  </a:moveTo>
                  <a:cubicBezTo>
                    <a:pt x="1390312" y="794032"/>
                    <a:pt x="1388392" y="793317"/>
                    <a:pt x="1386925" y="791850"/>
                  </a:cubicBezTo>
                  <a:cubicBezTo>
                    <a:pt x="1383974" y="788899"/>
                    <a:pt x="1383905" y="784168"/>
                    <a:pt x="1386855" y="781217"/>
                  </a:cubicBezTo>
                  <a:lnTo>
                    <a:pt x="1386978" y="781095"/>
                  </a:lnTo>
                  <a:cubicBezTo>
                    <a:pt x="1389928" y="778144"/>
                    <a:pt x="1394730" y="778144"/>
                    <a:pt x="1397680" y="781095"/>
                  </a:cubicBezTo>
                  <a:cubicBezTo>
                    <a:pt x="1400631" y="784046"/>
                    <a:pt x="1400631" y="788847"/>
                    <a:pt x="1397680" y="791797"/>
                  </a:cubicBezTo>
                  <a:cubicBezTo>
                    <a:pt x="1396178" y="793282"/>
                    <a:pt x="1394206" y="794050"/>
                    <a:pt x="1392233" y="794050"/>
                  </a:cubicBezTo>
                  <a:close/>
                  <a:moveTo>
                    <a:pt x="1478796" y="707504"/>
                  </a:moveTo>
                  <a:cubicBezTo>
                    <a:pt x="1476858" y="707504"/>
                    <a:pt x="1474937" y="706788"/>
                    <a:pt x="1473471" y="705322"/>
                  </a:cubicBezTo>
                  <a:cubicBezTo>
                    <a:pt x="1470520" y="702371"/>
                    <a:pt x="1470450" y="697640"/>
                    <a:pt x="1473401" y="694689"/>
                  </a:cubicBezTo>
                  <a:lnTo>
                    <a:pt x="1473523" y="694567"/>
                  </a:lnTo>
                  <a:cubicBezTo>
                    <a:pt x="1476474" y="691616"/>
                    <a:pt x="1481275" y="691616"/>
                    <a:pt x="1484226" y="694567"/>
                  </a:cubicBezTo>
                  <a:cubicBezTo>
                    <a:pt x="1487176" y="697517"/>
                    <a:pt x="1487176" y="702319"/>
                    <a:pt x="1484226" y="705269"/>
                  </a:cubicBezTo>
                  <a:cubicBezTo>
                    <a:pt x="1482724" y="706753"/>
                    <a:pt x="1480751" y="707521"/>
                    <a:pt x="1478778" y="707521"/>
                  </a:cubicBezTo>
                  <a:close/>
                  <a:moveTo>
                    <a:pt x="1565307" y="621046"/>
                  </a:moveTo>
                  <a:cubicBezTo>
                    <a:pt x="1563351" y="621046"/>
                    <a:pt x="1561396" y="620295"/>
                    <a:pt x="1559912" y="618794"/>
                  </a:cubicBezTo>
                  <a:cubicBezTo>
                    <a:pt x="1556978" y="615825"/>
                    <a:pt x="1557013" y="611024"/>
                    <a:pt x="1559981" y="608091"/>
                  </a:cubicBezTo>
                  <a:lnTo>
                    <a:pt x="1560104" y="607969"/>
                  </a:lnTo>
                  <a:cubicBezTo>
                    <a:pt x="1563072" y="605036"/>
                    <a:pt x="1567873" y="605071"/>
                    <a:pt x="1570806" y="608039"/>
                  </a:cubicBezTo>
                  <a:cubicBezTo>
                    <a:pt x="1573740" y="611007"/>
                    <a:pt x="1573705" y="615808"/>
                    <a:pt x="1570737" y="618741"/>
                  </a:cubicBezTo>
                  <a:lnTo>
                    <a:pt x="1570614" y="618863"/>
                  </a:lnTo>
                  <a:cubicBezTo>
                    <a:pt x="1569148" y="620313"/>
                    <a:pt x="1567227" y="621046"/>
                    <a:pt x="1565307" y="621046"/>
                  </a:cubicBezTo>
                  <a:close/>
                  <a:moveTo>
                    <a:pt x="1651852" y="534500"/>
                  </a:moveTo>
                  <a:cubicBezTo>
                    <a:pt x="1649914" y="534500"/>
                    <a:pt x="1647976" y="533767"/>
                    <a:pt x="1646509" y="532283"/>
                  </a:cubicBezTo>
                  <a:cubicBezTo>
                    <a:pt x="1643559" y="529332"/>
                    <a:pt x="1643559" y="524531"/>
                    <a:pt x="1646509" y="521580"/>
                  </a:cubicBezTo>
                  <a:lnTo>
                    <a:pt x="1646632" y="521458"/>
                  </a:lnTo>
                  <a:cubicBezTo>
                    <a:pt x="1649582" y="518508"/>
                    <a:pt x="1654384" y="518508"/>
                    <a:pt x="1657334" y="521458"/>
                  </a:cubicBezTo>
                  <a:cubicBezTo>
                    <a:pt x="1660285" y="524409"/>
                    <a:pt x="1660285" y="529210"/>
                    <a:pt x="1657334" y="532161"/>
                  </a:cubicBezTo>
                  <a:lnTo>
                    <a:pt x="1657212" y="532283"/>
                  </a:lnTo>
                  <a:cubicBezTo>
                    <a:pt x="1655728" y="533767"/>
                    <a:pt x="1653790" y="534500"/>
                    <a:pt x="1651870" y="534500"/>
                  </a:cubicBezTo>
                  <a:close/>
                  <a:moveTo>
                    <a:pt x="1738398" y="447955"/>
                  </a:moveTo>
                  <a:cubicBezTo>
                    <a:pt x="1736477" y="447955"/>
                    <a:pt x="1734557" y="447239"/>
                    <a:pt x="1733090" y="445772"/>
                  </a:cubicBezTo>
                  <a:cubicBezTo>
                    <a:pt x="1730122" y="442839"/>
                    <a:pt x="1730087" y="438055"/>
                    <a:pt x="1733020" y="435070"/>
                  </a:cubicBezTo>
                  <a:lnTo>
                    <a:pt x="1733142" y="434948"/>
                  </a:lnTo>
                  <a:cubicBezTo>
                    <a:pt x="1736076" y="431979"/>
                    <a:pt x="1740859" y="431944"/>
                    <a:pt x="1743845" y="434878"/>
                  </a:cubicBezTo>
                  <a:cubicBezTo>
                    <a:pt x="1746813" y="437811"/>
                    <a:pt x="1746848" y="442595"/>
                    <a:pt x="1743915" y="445580"/>
                  </a:cubicBezTo>
                  <a:lnTo>
                    <a:pt x="1743793" y="445702"/>
                  </a:lnTo>
                  <a:cubicBezTo>
                    <a:pt x="1742308" y="447204"/>
                    <a:pt x="1740353" y="447955"/>
                    <a:pt x="1738415" y="447955"/>
                  </a:cubicBezTo>
                  <a:close/>
                  <a:moveTo>
                    <a:pt x="1824978" y="361322"/>
                  </a:moveTo>
                  <a:cubicBezTo>
                    <a:pt x="1823040" y="361322"/>
                    <a:pt x="1821120" y="360606"/>
                    <a:pt x="1819653" y="359139"/>
                  </a:cubicBezTo>
                  <a:cubicBezTo>
                    <a:pt x="1816703" y="356189"/>
                    <a:pt x="1816633" y="351457"/>
                    <a:pt x="1819584" y="348507"/>
                  </a:cubicBezTo>
                  <a:lnTo>
                    <a:pt x="1819705" y="348384"/>
                  </a:lnTo>
                  <a:cubicBezTo>
                    <a:pt x="1822656" y="345434"/>
                    <a:pt x="1827457" y="345434"/>
                    <a:pt x="1830408" y="348384"/>
                  </a:cubicBezTo>
                  <a:cubicBezTo>
                    <a:pt x="1833358" y="351335"/>
                    <a:pt x="1833358" y="356136"/>
                    <a:pt x="1830408" y="359087"/>
                  </a:cubicBezTo>
                  <a:cubicBezTo>
                    <a:pt x="1828907" y="360571"/>
                    <a:pt x="1826934" y="361339"/>
                    <a:pt x="1824961" y="361339"/>
                  </a:cubicBezTo>
                  <a:close/>
                  <a:moveTo>
                    <a:pt x="1911472" y="274881"/>
                  </a:moveTo>
                  <a:cubicBezTo>
                    <a:pt x="1909516" y="274881"/>
                    <a:pt x="1907560" y="274130"/>
                    <a:pt x="1906094" y="272629"/>
                  </a:cubicBezTo>
                  <a:cubicBezTo>
                    <a:pt x="1903160" y="269661"/>
                    <a:pt x="1903195" y="264859"/>
                    <a:pt x="1906164" y="261926"/>
                  </a:cubicBezTo>
                  <a:lnTo>
                    <a:pt x="1906286" y="261804"/>
                  </a:lnTo>
                  <a:cubicBezTo>
                    <a:pt x="1909254" y="258871"/>
                    <a:pt x="1914055" y="258906"/>
                    <a:pt x="1916989" y="261874"/>
                  </a:cubicBezTo>
                  <a:cubicBezTo>
                    <a:pt x="1919922" y="264842"/>
                    <a:pt x="1919887" y="269643"/>
                    <a:pt x="1916919" y="272576"/>
                  </a:cubicBezTo>
                  <a:lnTo>
                    <a:pt x="1916796" y="272699"/>
                  </a:lnTo>
                  <a:cubicBezTo>
                    <a:pt x="1915330" y="274148"/>
                    <a:pt x="1913409" y="274881"/>
                    <a:pt x="1911489" y="274881"/>
                  </a:cubicBezTo>
                  <a:close/>
                  <a:moveTo>
                    <a:pt x="1998017" y="188335"/>
                  </a:moveTo>
                  <a:cubicBezTo>
                    <a:pt x="1996062" y="188335"/>
                    <a:pt x="1994106" y="187585"/>
                    <a:pt x="1992622" y="186083"/>
                  </a:cubicBezTo>
                  <a:cubicBezTo>
                    <a:pt x="1989689" y="183115"/>
                    <a:pt x="1989724" y="178314"/>
                    <a:pt x="1992692" y="175381"/>
                  </a:cubicBezTo>
                  <a:lnTo>
                    <a:pt x="1992814" y="175258"/>
                  </a:lnTo>
                  <a:cubicBezTo>
                    <a:pt x="1995782" y="172325"/>
                    <a:pt x="2000584" y="172360"/>
                    <a:pt x="2003517" y="175328"/>
                  </a:cubicBezTo>
                  <a:cubicBezTo>
                    <a:pt x="2006450" y="178296"/>
                    <a:pt x="2006415" y="183098"/>
                    <a:pt x="2003447" y="186031"/>
                  </a:cubicBezTo>
                  <a:lnTo>
                    <a:pt x="2003324" y="186153"/>
                  </a:lnTo>
                  <a:cubicBezTo>
                    <a:pt x="2001858" y="187602"/>
                    <a:pt x="1999937" y="188335"/>
                    <a:pt x="1998017" y="188335"/>
                  </a:cubicBezTo>
                  <a:close/>
                  <a:moveTo>
                    <a:pt x="2084598" y="101702"/>
                  </a:moveTo>
                  <a:cubicBezTo>
                    <a:pt x="2082677" y="101702"/>
                    <a:pt x="2080756" y="100987"/>
                    <a:pt x="2079290" y="99537"/>
                  </a:cubicBezTo>
                  <a:cubicBezTo>
                    <a:pt x="2076322" y="96587"/>
                    <a:pt x="2076252" y="91856"/>
                    <a:pt x="2079185" y="88905"/>
                  </a:cubicBezTo>
                  <a:lnTo>
                    <a:pt x="2079307" y="88783"/>
                  </a:lnTo>
                  <a:cubicBezTo>
                    <a:pt x="2082241" y="85814"/>
                    <a:pt x="2087042" y="85797"/>
                    <a:pt x="2090010" y="88748"/>
                  </a:cubicBezTo>
                  <a:cubicBezTo>
                    <a:pt x="2092978" y="91698"/>
                    <a:pt x="2092996" y="96482"/>
                    <a:pt x="2090045" y="99450"/>
                  </a:cubicBezTo>
                  <a:cubicBezTo>
                    <a:pt x="2088543" y="100952"/>
                    <a:pt x="2086571" y="101720"/>
                    <a:pt x="2084580" y="101720"/>
                  </a:cubicBezTo>
                  <a:close/>
                  <a:moveTo>
                    <a:pt x="2171143" y="15157"/>
                  </a:moveTo>
                  <a:cubicBezTo>
                    <a:pt x="2169223" y="15157"/>
                    <a:pt x="2167302" y="14441"/>
                    <a:pt x="2165836" y="12992"/>
                  </a:cubicBezTo>
                  <a:cubicBezTo>
                    <a:pt x="2162867" y="10041"/>
                    <a:pt x="2162798" y="5310"/>
                    <a:pt x="2165731" y="2359"/>
                  </a:cubicBezTo>
                  <a:lnTo>
                    <a:pt x="2165853" y="2237"/>
                  </a:lnTo>
                  <a:cubicBezTo>
                    <a:pt x="2168804" y="-731"/>
                    <a:pt x="2173587" y="-749"/>
                    <a:pt x="2176556" y="2202"/>
                  </a:cubicBezTo>
                  <a:cubicBezTo>
                    <a:pt x="2179523" y="5153"/>
                    <a:pt x="2179541" y="9937"/>
                    <a:pt x="2176591" y="12905"/>
                  </a:cubicBezTo>
                  <a:cubicBezTo>
                    <a:pt x="2175089" y="14406"/>
                    <a:pt x="2173116" y="15174"/>
                    <a:pt x="2171126" y="15174"/>
                  </a:cubicBezTo>
                  <a:close/>
                </a:path>
              </a:pathLst>
            </a:custGeom>
            <a:grpFill/>
            <a:ln w="0"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26F81E73-1B2B-A575-5F97-16FA0CC425DE}"/>
                </a:ext>
              </a:extLst>
            </p:cNvPr>
            <p:cNvSpPr/>
            <p:nvPr/>
          </p:nvSpPr>
          <p:spPr>
            <a:xfrm>
              <a:off x="6899151" y="3138130"/>
              <a:ext cx="2006862" cy="2006801"/>
            </a:xfrm>
            <a:custGeom>
              <a:avLst/>
              <a:gdLst>
                <a:gd name="connsiteX0" fmla="*/ 8145 w 2006862"/>
                <a:gd name="connsiteY0" fmla="*/ 2006801 h 2006801"/>
                <a:gd name="connsiteX1" fmla="*/ 2418 w 2006862"/>
                <a:gd name="connsiteY1" fmla="*/ 2004444 h 2006801"/>
                <a:gd name="connsiteX2" fmla="*/ 2349 w 2006862"/>
                <a:gd name="connsiteY2" fmla="*/ 1992991 h 2006801"/>
                <a:gd name="connsiteX3" fmla="*/ 2471 w 2006862"/>
                <a:gd name="connsiteY3" fmla="*/ 1992869 h 2006801"/>
                <a:gd name="connsiteX4" fmla="*/ 13994 w 2006862"/>
                <a:gd name="connsiteY4" fmla="*/ 1992869 h 2006801"/>
                <a:gd name="connsiteX5" fmla="*/ 13994 w 2006862"/>
                <a:gd name="connsiteY5" fmla="*/ 2004392 h 2006801"/>
                <a:gd name="connsiteX6" fmla="*/ 8145 w 2006862"/>
                <a:gd name="connsiteY6" fmla="*/ 2006801 h 2006801"/>
                <a:gd name="connsiteX7" fmla="*/ 94691 w 2006862"/>
                <a:gd name="connsiteY7" fmla="*/ 1920255 h 2006801"/>
                <a:gd name="connsiteX8" fmla="*/ 88964 w 2006862"/>
                <a:gd name="connsiteY8" fmla="*/ 1917898 h 2006801"/>
                <a:gd name="connsiteX9" fmla="*/ 88894 w 2006862"/>
                <a:gd name="connsiteY9" fmla="*/ 1906445 h 2006801"/>
                <a:gd name="connsiteX10" fmla="*/ 89016 w 2006862"/>
                <a:gd name="connsiteY10" fmla="*/ 1906323 h 2006801"/>
                <a:gd name="connsiteX11" fmla="*/ 100540 w 2006862"/>
                <a:gd name="connsiteY11" fmla="*/ 1906323 h 2006801"/>
                <a:gd name="connsiteX12" fmla="*/ 100540 w 2006862"/>
                <a:gd name="connsiteY12" fmla="*/ 1917846 h 2006801"/>
                <a:gd name="connsiteX13" fmla="*/ 94691 w 2006862"/>
                <a:gd name="connsiteY13" fmla="*/ 1920255 h 2006801"/>
                <a:gd name="connsiteX14" fmla="*/ 181201 w 2006862"/>
                <a:gd name="connsiteY14" fmla="*/ 1833815 h 2006801"/>
                <a:gd name="connsiteX15" fmla="*/ 175440 w 2006862"/>
                <a:gd name="connsiteY15" fmla="*/ 1831423 h 2006801"/>
                <a:gd name="connsiteX16" fmla="*/ 175440 w 2006862"/>
                <a:gd name="connsiteY16" fmla="*/ 1819900 h 2006801"/>
                <a:gd name="connsiteX17" fmla="*/ 175562 w 2006862"/>
                <a:gd name="connsiteY17" fmla="*/ 1819777 h 2006801"/>
                <a:gd name="connsiteX18" fmla="*/ 187085 w 2006862"/>
                <a:gd name="connsiteY18" fmla="*/ 1819777 h 2006801"/>
                <a:gd name="connsiteX19" fmla="*/ 187085 w 2006862"/>
                <a:gd name="connsiteY19" fmla="*/ 1831301 h 2006801"/>
                <a:gd name="connsiteX20" fmla="*/ 186963 w 2006862"/>
                <a:gd name="connsiteY20" fmla="*/ 1831423 h 2006801"/>
                <a:gd name="connsiteX21" fmla="*/ 181201 w 2006862"/>
                <a:gd name="connsiteY21" fmla="*/ 1833815 h 2006801"/>
                <a:gd name="connsiteX22" fmla="*/ 267747 w 2006862"/>
                <a:gd name="connsiteY22" fmla="*/ 1747269 h 2006801"/>
                <a:gd name="connsiteX23" fmla="*/ 261985 w 2006862"/>
                <a:gd name="connsiteY23" fmla="*/ 1744877 h 2006801"/>
                <a:gd name="connsiteX24" fmla="*/ 261985 w 2006862"/>
                <a:gd name="connsiteY24" fmla="*/ 1733354 h 2006801"/>
                <a:gd name="connsiteX25" fmla="*/ 262107 w 2006862"/>
                <a:gd name="connsiteY25" fmla="*/ 1733232 h 2006801"/>
                <a:gd name="connsiteX26" fmla="*/ 273631 w 2006862"/>
                <a:gd name="connsiteY26" fmla="*/ 1733232 h 2006801"/>
                <a:gd name="connsiteX27" fmla="*/ 273631 w 2006862"/>
                <a:gd name="connsiteY27" fmla="*/ 1744755 h 2006801"/>
                <a:gd name="connsiteX28" fmla="*/ 273508 w 2006862"/>
                <a:gd name="connsiteY28" fmla="*/ 1744877 h 2006801"/>
                <a:gd name="connsiteX29" fmla="*/ 267747 w 2006862"/>
                <a:gd name="connsiteY29" fmla="*/ 1747269 h 2006801"/>
                <a:gd name="connsiteX30" fmla="*/ 354327 w 2006862"/>
                <a:gd name="connsiteY30" fmla="*/ 1660636 h 2006801"/>
                <a:gd name="connsiteX31" fmla="*/ 348601 w 2006862"/>
                <a:gd name="connsiteY31" fmla="*/ 1658279 h 2006801"/>
                <a:gd name="connsiteX32" fmla="*/ 348531 w 2006862"/>
                <a:gd name="connsiteY32" fmla="*/ 1646826 h 2006801"/>
                <a:gd name="connsiteX33" fmla="*/ 348653 w 2006862"/>
                <a:gd name="connsiteY33" fmla="*/ 1646704 h 2006801"/>
                <a:gd name="connsiteX34" fmla="*/ 360176 w 2006862"/>
                <a:gd name="connsiteY34" fmla="*/ 1646704 h 2006801"/>
                <a:gd name="connsiteX35" fmla="*/ 360176 w 2006862"/>
                <a:gd name="connsiteY35" fmla="*/ 1658227 h 2006801"/>
                <a:gd name="connsiteX36" fmla="*/ 354327 w 2006862"/>
                <a:gd name="connsiteY36" fmla="*/ 1660636 h 2006801"/>
                <a:gd name="connsiteX37" fmla="*/ 440855 w 2006862"/>
                <a:gd name="connsiteY37" fmla="*/ 1574091 h 2006801"/>
                <a:gd name="connsiteX38" fmla="*/ 435129 w 2006862"/>
                <a:gd name="connsiteY38" fmla="*/ 1571733 h 2006801"/>
                <a:gd name="connsiteX39" fmla="*/ 435059 w 2006862"/>
                <a:gd name="connsiteY39" fmla="*/ 1560280 h 2006801"/>
                <a:gd name="connsiteX40" fmla="*/ 435181 w 2006862"/>
                <a:gd name="connsiteY40" fmla="*/ 1560158 h 2006801"/>
                <a:gd name="connsiteX41" fmla="*/ 446705 w 2006862"/>
                <a:gd name="connsiteY41" fmla="*/ 1560158 h 2006801"/>
                <a:gd name="connsiteX42" fmla="*/ 446705 w 2006862"/>
                <a:gd name="connsiteY42" fmla="*/ 1571681 h 2006801"/>
                <a:gd name="connsiteX43" fmla="*/ 440855 w 2006862"/>
                <a:gd name="connsiteY43" fmla="*/ 1574091 h 2006801"/>
                <a:gd name="connsiteX44" fmla="*/ 527401 w 2006862"/>
                <a:gd name="connsiteY44" fmla="*/ 1487545 h 2006801"/>
                <a:gd name="connsiteX45" fmla="*/ 521674 w 2006862"/>
                <a:gd name="connsiteY45" fmla="*/ 1485188 h 2006801"/>
                <a:gd name="connsiteX46" fmla="*/ 521605 w 2006862"/>
                <a:gd name="connsiteY46" fmla="*/ 1473735 h 2006801"/>
                <a:gd name="connsiteX47" fmla="*/ 521727 w 2006862"/>
                <a:gd name="connsiteY47" fmla="*/ 1473612 h 2006801"/>
                <a:gd name="connsiteX48" fmla="*/ 533250 w 2006862"/>
                <a:gd name="connsiteY48" fmla="*/ 1473612 h 2006801"/>
                <a:gd name="connsiteX49" fmla="*/ 533250 w 2006862"/>
                <a:gd name="connsiteY49" fmla="*/ 1485136 h 2006801"/>
                <a:gd name="connsiteX50" fmla="*/ 527401 w 2006862"/>
                <a:gd name="connsiteY50" fmla="*/ 1487545 h 2006801"/>
                <a:gd name="connsiteX51" fmla="*/ 613912 w 2006862"/>
                <a:gd name="connsiteY51" fmla="*/ 1401104 h 2006801"/>
                <a:gd name="connsiteX52" fmla="*/ 608115 w 2006862"/>
                <a:gd name="connsiteY52" fmla="*/ 1398677 h 2006801"/>
                <a:gd name="connsiteX53" fmla="*/ 608185 w 2006862"/>
                <a:gd name="connsiteY53" fmla="*/ 1387154 h 2006801"/>
                <a:gd name="connsiteX54" fmla="*/ 608307 w 2006862"/>
                <a:gd name="connsiteY54" fmla="*/ 1387032 h 2006801"/>
                <a:gd name="connsiteX55" fmla="*/ 619830 w 2006862"/>
                <a:gd name="connsiteY55" fmla="*/ 1387102 h 2006801"/>
                <a:gd name="connsiteX56" fmla="*/ 619761 w 2006862"/>
                <a:gd name="connsiteY56" fmla="*/ 1398625 h 2006801"/>
                <a:gd name="connsiteX57" fmla="*/ 619638 w 2006862"/>
                <a:gd name="connsiteY57" fmla="*/ 1398747 h 2006801"/>
                <a:gd name="connsiteX58" fmla="*/ 613912 w 2006862"/>
                <a:gd name="connsiteY58" fmla="*/ 1401086 h 2006801"/>
                <a:gd name="connsiteX59" fmla="*/ 700457 w 2006862"/>
                <a:gd name="connsiteY59" fmla="*/ 1314559 h 2006801"/>
                <a:gd name="connsiteX60" fmla="*/ 694696 w 2006862"/>
                <a:gd name="connsiteY60" fmla="*/ 1312167 h 2006801"/>
                <a:gd name="connsiteX61" fmla="*/ 694696 w 2006862"/>
                <a:gd name="connsiteY61" fmla="*/ 1300644 h 2006801"/>
                <a:gd name="connsiteX62" fmla="*/ 694818 w 2006862"/>
                <a:gd name="connsiteY62" fmla="*/ 1300521 h 2006801"/>
                <a:gd name="connsiteX63" fmla="*/ 706341 w 2006862"/>
                <a:gd name="connsiteY63" fmla="*/ 1300521 h 2006801"/>
                <a:gd name="connsiteX64" fmla="*/ 706341 w 2006862"/>
                <a:gd name="connsiteY64" fmla="*/ 1312044 h 2006801"/>
                <a:gd name="connsiteX65" fmla="*/ 706219 w 2006862"/>
                <a:gd name="connsiteY65" fmla="*/ 1312167 h 2006801"/>
                <a:gd name="connsiteX66" fmla="*/ 700457 w 2006862"/>
                <a:gd name="connsiteY66" fmla="*/ 1314559 h 2006801"/>
                <a:gd name="connsiteX67" fmla="*/ 787003 w 2006862"/>
                <a:gd name="connsiteY67" fmla="*/ 1228013 h 2006801"/>
                <a:gd name="connsiteX68" fmla="*/ 781276 w 2006862"/>
                <a:gd name="connsiteY68" fmla="*/ 1225673 h 2006801"/>
                <a:gd name="connsiteX69" fmla="*/ 781189 w 2006862"/>
                <a:gd name="connsiteY69" fmla="*/ 1214150 h 2006801"/>
                <a:gd name="connsiteX70" fmla="*/ 781311 w 2006862"/>
                <a:gd name="connsiteY70" fmla="*/ 1214028 h 2006801"/>
                <a:gd name="connsiteX71" fmla="*/ 792834 w 2006862"/>
                <a:gd name="connsiteY71" fmla="*/ 1213941 h 2006801"/>
                <a:gd name="connsiteX72" fmla="*/ 792904 w 2006862"/>
                <a:gd name="connsiteY72" fmla="*/ 1225464 h 2006801"/>
                <a:gd name="connsiteX73" fmla="*/ 792782 w 2006862"/>
                <a:gd name="connsiteY73" fmla="*/ 1225586 h 2006801"/>
                <a:gd name="connsiteX74" fmla="*/ 786985 w 2006862"/>
                <a:gd name="connsiteY74" fmla="*/ 1228013 h 2006801"/>
                <a:gd name="connsiteX75" fmla="*/ 873584 w 2006862"/>
                <a:gd name="connsiteY75" fmla="*/ 1141380 h 2006801"/>
                <a:gd name="connsiteX76" fmla="*/ 867857 w 2006862"/>
                <a:gd name="connsiteY76" fmla="*/ 1139023 h 2006801"/>
                <a:gd name="connsiteX77" fmla="*/ 867787 w 2006862"/>
                <a:gd name="connsiteY77" fmla="*/ 1127570 h 2006801"/>
                <a:gd name="connsiteX78" fmla="*/ 867909 w 2006862"/>
                <a:gd name="connsiteY78" fmla="*/ 1127447 h 2006801"/>
                <a:gd name="connsiteX79" fmla="*/ 879432 w 2006862"/>
                <a:gd name="connsiteY79" fmla="*/ 1127447 h 2006801"/>
                <a:gd name="connsiteX80" fmla="*/ 879432 w 2006862"/>
                <a:gd name="connsiteY80" fmla="*/ 1138971 h 2006801"/>
                <a:gd name="connsiteX81" fmla="*/ 873584 w 2006862"/>
                <a:gd name="connsiteY81" fmla="*/ 1141380 h 2006801"/>
                <a:gd name="connsiteX82" fmla="*/ 960076 w 2006862"/>
                <a:gd name="connsiteY82" fmla="*/ 1054939 h 2006801"/>
                <a:gd name="connsiteX83" fmla="*/ 954280 w 2006862"/>
                <a:gd name="connsiteY83" fmla="*/ 1052512 h 2006801"/>
                <a:gd name="connsiteX84" fmla="*/ 954350 w 2006862"/>
                <a:gd name="connsiteY84" fmla="*/ 1040989 h 2006801"/>
                <a:gd name="connsiteX85" fmla="*/ 954472 w 2006862"/>
                <a:gd name="connsiteY85" fmla="*/ 1040867 h 2006801"/>
                <a:gd name="connsiteX86" fmla="*/ 965995 w 2006862"/>
                <a:gd name="connsiteY86" fmla="*/ 1040937 h 2006801"/>
                <a:gd name="connsiteX87" fmla="*/ 965925 w 2006862"/>
                <a:gd name="connsiteY87" fmla="*/ 1052460 h 2006801"/>
                <a:gd name="connsiteX88" fmla="*/ 965803 w 2006862"/>
                <a:gd name="connsiteY88" fmla="*/ 1052582 h 2006801"/>
                <a:gd name="connsiteX89" fmla="*/ 960076 w 2006862"/>
                <a:gd name="connsiteY89" fmla="*/ 1054922 h 2006801"/>
                <a:gd name="connsiteX90" fmla="*/ 1046622 w 2006862"/>
                <a:gd name="connsiteY90" fmla="*/ 968394 h 2006801"/>
                <a:gd name="connsiteX91" fmla="*/ 1040861 w 2006862"/>
                <a:gd name="connsiteY91" fmla="*/ 966002 h 2006801"/>
                <a:gd name="connsiteX92" fmla="*/ 1040861 w 2006862"/>
                <a:gd name="connsiteY92" fmla="*/ 954479 h 2006801"/>
                <a:gd name="connsiteX93" fmla="*/ 1040983 w 2006862"/>
                <a:gd name="connsiteY93" fmla="*/ 954356 h 2006801"/>
                <a:gd name="connsiteX94" fmla="*/ 1052506 w 2006862"/>
                <a:gd name="connsiteY94" fmla="*/ 954356 h 2006801"/>
                <a:gd name="connsiteX95" fmla="*/ 1052506 w 2006862"/>
                <a:gd name="connsiteY95" fmla="*/ 965880 h 2006801"/>
                <a:gd name="connsiteX96" fmla="*/ 1052384 w 2006862"/>
                <a:gd name="connsiteY96" fmla="*/ 966002 h 2006801"/>
                <a:gd name="connsiteX97" fmla="*/ 1046622 w 2006862"/>
                <a:gd name="connsiteY97" fmla="*/ 968394 h 2006801"/>
                <a:gd name="connsiteX98" fmla="*/ 1133168 w 2006862"/>
                <a:gd name="connsiteY98" fmla="*/ 881848 h 2006801"/>
                <a:gd name="connsiteX99" fmla="*/ 1127441 w 2006862"/>
                <a:gd name="connsiteY99" fmla="*/ 879508 h 2006801"/>
                <a:gd name="connsiteX100" fmla="*/ 1127371 w 2006862"/>
                <a:gd name="connsiteY100" fmla="*/ 867985 h 2006801"/>
                <a:gd name="connsiteX101" fmla="*/ 1127494 w 2006862"/>
                <a:gd name="connsiteY101" fmla="*/ 867863 h 2006801"/>
                <a:gd name="connsiteX102" fmla="*/ 1139017 w 2006862"/>
                <a:gd name="connsiteY102" fmla="*/ 867793 h 2006801"/>
                <a:gd name="connsiteX103" fmla="*/ 1139086 w 2006862"/>
                <a:gd name="connsiteY103" fmla="*/ 879317 h 2006801"/>
                <a:gd name="connsiteX104" fmla="*/ 1138964 w 2006862"/>
                <a:gd name="connsiteY104" fmla="*/ 879439 h 2006801"/>
                <a:gd name="connsiteX105" fmla="*/ 1133168 w 2006862"/>
                <a:gd name="connsiteY105" fmla="*/ 881866 h 2006801"/>
                <a:gd name="connsiteX106" fmla="*/ 1219714 w 2006862"/>
                <a:gd name="connsiteY106" fmla="*/ 795302 h 2006801"/>
                <a:gd name="connsiteX107" fmla="*/ 1213987 w 2006862"/>
                <a:gd name="connsiteY107" fmla="*/ 792963 h 2006801"/>
                <a:gd name="connsiteX108" fmla="*/ 1213917 w 2006862"/>
                <a:gd name="connsiteY108" fmla="*/ 781440 h 2006801"/>
                <a:gd name="connsiteX109" fmla="*/ 1214039 w 2006862"/>
                <a:gd name="connsiteY109" fmla="*/ 781317 h 2006801"/>
                <a:gd name="connsiteX110" fmla="*/ 1225562 w 2006862"/>
                <a:gd name="connsiteY110" fmla="*/ 781248 h 2006801"/>
                <a:gd name="connsiteX111" fmla="*/ 1225632 w 2006862"/>
                <a:gd name="connsiteY111" fmla="*/ 792771 h 2006801"/>
                <a:gd name="connsiteX112" fmla="*/ 1225510 w 2006862"/>
                <a:gd name="connsiteY112" fmla="*/ 792893 h 2006801"/>
                <a:gd name="connsiteX113" fmla="*/ 1219714 w 2006862"/>
                <a:gd name="connsiteY113" fmla="*/ 795320 h 2006801"/>
                <a:gd name="connsiteX114" fmla="*/ 1306294 w 2006862"/>
                <a:gd name="connsiteY114" fmla="*/ 708670 h 2006801"/>
                <a:gd name="connsiteX115" fmla="*/ 1300567 w 2006862"/>
                <a:gd name="connsiteY115" fmla="*/ 706313 h 2006801"/>
                <a:gd name="connsiteX116" fmla="*/ 1300497 w 2006862"/>
                <a:gd name="connsiteY116" fmla="*/ 694859 h 2006801"/>
                <a:gd name="connsiteX117" fmla="*/ 1300620 w 2006862"/>
                <a:gd name="connsiteY117" fmla="*/ 694737 h 2006801"/>
                <a:gd name="connsiteX118" fmla="*/ 1312143 w 2006862"/>
                <a:gd name="connsiteY118" fmla="*/ 694737 h 2006801"/>
                <a:gd name="connsiteX119" fmla="*/ 1312143 w 2006862"/>
                <a:gd name="connsiteY119" fmla="*/ 706260 h 2006801"/>
                <a:gd name="connsiteX120" fmla="*/ 1306294 w 2006862"/>
                <a:gd name="connsiteY120" fmla="*/ 708670 h 2006801"/>
                <a:gd name="connsiteX121" fmla="*/ 1392822 w 2006862"/>
                <a:gd name="connsiteY121" fmla="*/ 622124 h 2006801"/>
                <a:gd name="connsiteX122" fmla="*/ 1387095 w 2006862"/>
                <a:gd name="connsiteY122" fmla="*/ 619767 h 2006801"/>
                <a:gd name="connsiteX123" fmla="*/ 1387025 w 2006862"/>
                <a:gd name="connsiteY123" fmla="*/ 608314 h 2006801"/>
                <a:gd name="connsiteX124" fmla="*/ 1387148 w 2006862"/>
                <a:gd name="connsiteY124" fmla="*/ 608192 h 2006801"/>
                <a:gd name="connsiteX125" fmla="*/ 1398671 w 2006862"/>
                <a:gd name="connsiteY125" fmla="*/ 608192 h 2006801"/>
                <a:gd name="connsiteX126" fmla="*/ 1398671 w 2006862"/>
                <a:gd name="connsiteY126" fmla="*/ 619715 h 2006801"/>
                <a:gd name="connsiteX127" fmla="*/ 1392822 w 2006862"/>
                <a:gd name="connsiteY127" fmla="*/ 622124 h 2006801"/>
                <a:gd name="connsiteX128" fmla="*/ 1479332 w 2006862"/>
                <a:gd name="connsiteY128" fmla="*/ 535683 h 2006801"/>
                <a:gd name="connsiteX129" fmla="*/ 1473536 w 2006862"/>
                <a:gd name="connsiteY129" fmla="*/ 533256 h 2006801"/>
                <a:gd name="connsiteX130" fmla="*/ 1473606 w 2006862"/>
                <a:gd name="connsiteY130" fmla="*/ 521733 h 2006801"/>
                <a:gd name="connsiteX131" fmla="*/ 1473728 w 2006862"/>
                <a:gd name="connsiteY131" fmla="*/ 521611 h 2006801"/>
                <a:gd name="connsiteX132" fmla="*/ 1485251 w 2006862"/>
                <a:gd name="connsiteY132" fmla="*/ 521681 h 2006801"/>
                <a:gd name="connsiteX133" fmla="*/ 1485181 w 2006862"/>
                <a:gd name="connsiteY133" fmla="*/ 533204 h 2006801"/>
                <a:gd name="connsiteX134" fmla="*/ 1485060 w 2006862"/>
                <a:gd name="connsiteY134" fmla="*/ 533326 h 2006801"/>
                <a:gd name="connsiteX135" fmla="*/ 1479332 w 2006862"/>
                <a:gd name="connsiteY135" fmla="*/ 535666 h 2006801"/>
                <a:gd name="connsiteX136" fmla="*/ 1565879 w 2006862"/>
                <a:gd name="connsiteY136" fmla="*/ 449137 h 2006801"/>
                <a:gd name="connsiteX137" fmla="*/ 1560116 w 2006862"/>
                <a:gd name="connsiteY137" fmla="*/ 446746 h 2006801"/>
                <a:gd name="connsiteX138" fmla="*/ 1560116 w 2006862"/>
                <a:gd name="connsiteY138" fmla="*/ 435223 h 2006801"/>
                <a:gd name="connsiteX139" fmla="*/ 1560239 w 2006862"/>
                <a:gd name="connsiteY139" fmla="*/ 435100 h 2006801"/>
                <a:gd name="connsiteX140" fmla="*/ 1571762 w 2006862"/>
                <a:gd name="connsiteY140" fmla="*/ 435100 h 2006801"/>
                <a:gd name="connsiteX141" fmla="*/ 1571762 w 2006862"/>
                <a:gd name="connsiteY141" fmla="*/ 446623 h 2006801"/>
                <a:gd name="connsiteX142" fmla="*/ 1571640 w 2006862"/>
                <a:gd name="connsiteY142" fmla="*/ 446746 h 2006801"/>
                <a:gd name="connsiteX143" fmla="*/ 1565879 w 2006862"/>
                <a:gd name="connsiteY143" fmla="*/ 449137 h 2006801"/>
                <a:gd name="connsiteX144" fmla="*/ 1652424 w 2006862"/>
                <a:gd name="connsiteY144" fmla="*/ 362592 h 2006801"/>
                <a:gd name="connsiteX145" fmla="*/ 1646698 w 2006862"/>
                <a:gd name="connsiteY145" fmla="*/ 360252 h 2006801"/>
                <a:gd name="connsiteX146" fmla="*/ 1646628 w 2006862"/>
                <a:gd name="connsiteY146" fmla="*/ 348729 h 2006801"/>
                <a:gd name="connsiteX147" fmla="*/ 1646750 w 2006862"/>
                <a:gd name="connsiteY147" fmla="*/ 348607 h 2006801"/>
                <a:gd name="connsiteX148" fmla="*/ 1658273 w 2006862"/>
                <a:gd name="connsiteY148" fmla="*/ 348537 h 2006801"/>
                <a:gd name="connsiteX149" fmla="*/ 1658343 w 2006862"/>
                <a:gd name="connsiteY149" fmla="*/ 360060 h 2006801"/>
                <a:gd name="connsiteX150" fmla="*/ 1658220 w 2006862"/>
                <a:gd name="connsiteY150" fmla="*/ 360183 h 2006801"/>
                <a:gd name="connsiteX151" fmla="*/ 1652424 w 2006862"/>
                <a:gd name="connsiteY151" fmla="*/ 362609 h 2006801"/>
                <a:gd name="connsiteX152" fmla="*/ 1739004 w 2006862"/>
                <a:gd name="connsiteY152" fmla="*/ 275959 h 2006801"/>
                <a:gd name="connsiteX153" fmla="*/ 1733278 w 2006862"/>
                <a:gd name="connsiteY153" fmla="*/ 273602 h 2006801"/>
                <a:gd name="connsiteX154" fmla="*/ 1733208 w 2006862"/>
                <a:gd name="connsiteY154" fmla="*/ 262149 h 2006801"/>
                <a:gd name="connsiteX155" fmla="*/ 1733330 w 2006862"/>
                <a:gd name="connsiteY155" fmla="*/ 262027 h 2006801"/>
                <a:gd name="connsiteX156" fmla="*/ 1744853 w 2006862"/>
                <a:gd name="connsiteY156" fmla="*/ 262027 h 2006801"/>
                <a:gd name="connsiteX157" fmla="*/ 1744853 w 2006862"/>
                <a:gd name="connsiteY157" fmla="*/ 273550 h 2006801"/>
                <a:gd name="connsiteX158" fmla="*/ 1739004 w 2006862"/>
                <a:gd name="connsiteY158" fmla="*/ 275959 h 2006801"/>
                <a:gd name="connsiteX159" fmla="*/ 1825515 w 2006862"/>
                <a:gd name="connsiteY159" fmla="*/ 189501 h 2006801"/>
                <a:gd name="connsiteX160" fmla="*/ 1819718 w 2006862"/>
                <a:gd name="connsiteY160" fmla="*/ 187074 h 2006801"/>
                <a:gd name="connsiteX161" fmla="*/ 1819788 w 2006862"/>
                <a:gd name="connsiteY161" fmla="*/ 175551 h 2006801"/>
                <a:gd name="connsiteX162" fmla="*/ 1819911 w 2006862"/>
                <a:gd name="connsiteY162" fmla="*/ 175429 h 2006801"/>
                <a:gd name="connsiteX163" fmla="*/ 1831434 w 2006862"/>
                <a:gd name="connsiteY163" fmla="*/ 175499 h 2006801"/>
                <a:gd name="connsiteX164" fmla="*/ 1831364 w 2006862"/>
                <a:gd name="connsiteY164" fmla="*/ 187022 h 2006801"/>
                <a:gd name="connsiteX165" fmla="*/ 1831241 w 2006862"/>
                <a:gd name="connsiteY165" fmla="*/ 187144 h 2006801"/>
                <a:gd name="connsiteX166" fmla="*/ 1825515 w 2006862"/>
                <a:gd name="connsiteY166" fmla="*/ 189483 h 2006801"/>
                <a:gd name="connsiteX167" fmla="*/ 1912043 w 2006862"/>
                <a:gd name="connsiteY167" fmla="*/ 102955 h 2006801"/>
                <a:gd name="connsiteX168" fmla="*/ 1906246 w 2006862"/>
                <a:gd name="connsiteY168" fmla="*/ 100528 h 2006801"/>
                <a:gd name="connsiteX169" fmla="*/ 1906316 w 2006862"/>
                <a:gd name="connsiteY169" fmla="*/ 89005 h 2006801"/>
                <a:gd name="connsiteX170" fmla="*/ 1906439 w 2006862"/>
                <a:gd name="connsiteY170" fmla="*/ 88883 h 2006801"/>
                <a:gd name="connsiteX171" fmla="*/ 1917962 w 2006862"/>
                <a:gd name="connsiteY171" fmla="*/ 88970 h 2006801"/>
                <a:gd name="connsiteX172" fmla="*/ 1917892 w 2006862"/>
                <a:gd name="connsiteY172" fmla="*/ 100493 h 2006801"/>
                <a:gd name="connsiteX173" fmla="*/ 1917770 w 2006862"/>
                <a:gd name="connsiteY173" fmla="*/ 100616 h 2006801"/>
                <a:gd name="connsiteX174" fmla="*/ 1912043 w 2006862"/>
                <a:gd name="connsiteY174" fmla="*/ 102955 h 2006801"/>
                <a:gd name="connsiteX175" fmla="*/ 1998624 w 2006862"/>
                <a:gd name="connsiteY175" fmla="*/ 16322 h 2006801"/>
                <a:gd name="connsiteX176" fmla="*/ 1992914 w 2006862"/>
                <a:gd name="connsiteY176" fmla="*/ 13983 h 2006801"/>
                <a:gd name="connsiteX177" fmla="*/ 1992810 w 2006862"/>
                <a:gd name="connsiteY177" fmla="*/ 2529 h 2006801"/>
                <a:gd name="connsiteX178" fmla="*/ 1992932 w 2006862"/>
                <a:gd name="connsiteY178" fmla="*/ 2407 h 2006801"/>
                <a:gd name="connsiteX179" fmla="*/ 2004455 w 2006862"/>
                <a:gd name="connsiteY179" fmla="*/ 2372 h 2006801"/>
                <a:gd name="connsiteX180" fmla="*/ 2004490 w 2006862"/>
                <a:gd name="connsiteY180" fmla="*/ 13895 h 2006801"/>
                <a:gd name="connsiteX181" fmla="*/ 1998624 w 2006862"/>
                <a:gd name="connsiteY181" fmla="*/ 16340 h 200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2006862" h="2006801">
                  <a:moveTo>
                    <a:pt x="8145" y="2006801"/>
                  </a:moveTo>
                  <a:cubicBezTo>
                    <a:pt x="6067" y="2006801"/>
                    <a:pt x="3990" y="2006016"/>
                    <a:pt x="2418" y="2004444"/>
                  </a:cubicBezTo>
                  <a:cubicBezTo>
                    <a:pt x="-759" y="2001266"/>
                    <a:pt x="-829" y="1996168"/>
                    <a:pt x="2349" y="1992991"/>
                  </a:cubicBezTo>
                  <a:lnTo>
                    <a:pt x="2471" y="1992869"/>
                  </a:lnTo>
                  <a:cubicBezTo>
                    <a:pt x="5648" y="1989691"/>
                    <a:pt x="10816" y="1989691"/>
                    <a:pt x="13994" y="1992869"/>
                  </a:cubicBezTo>
                  <a:cubicBezTo>
                    <a:pt x="17172" y="1996046"/>
                    <a:pt x="17172" y="2001214"/>
                    <a:pt x="13994" y="2004392"/>
                  </a:cubicBezTo>
                  <a:cubicBezTo>
                    <a:pt x="12388" y="2005998"/>
                    <a:pt x="10257" y="2006801"/>
                    <a:pt x="8145" y="2006801"/>
                  </a:cubicBezTo>
                  <a:close/>
                  <a:moveTo>
                    <a:pt x="94691" y="1920255"/>
                  </a:moveTo>
                  <a:cubicBezTo>
                    <a:pt x="92613" y="1920255"/>
                    <a:pt x="90535" y="1919470"/>
                    <a:pt x="88964" y="1917898"/>
                  </a:cubicBezTo>
                  <a:cubicBezTo>
                    <a:pt x="85786" y="1914721"/>
                    <a:pt x="85717" y="1909623"/>
                    <a:pt x="88894" y="1906445"/>
                  </a:cubicBezTo>
                  <a:lnTo>
                    <a:pt x="89016" y="1906323"/>
                  </a:lnTo>
                  <a:cubicBezTo>
                    <a:pt x="92194" y="1903145"/>
                    <a:pt x="97362" y="1903145"/>
                    <a:pt x="100540" y="1906323"/>
                  </a:cubicBezTo>
                  <a:cubicBezTo>
                    <a:pt x="103717" y="1909501"/>
                    <a:pt x="103717" y="1914669"/>
                    <a:pt x="100540" y="1917846"/>
                  </a:cubicBezTo>
                  <a:cubicBezTo>
                    <a:pt x="98933" y="1919452"/>
                    <a:pt x="96803" y="1920255"/>
                    <a:pt x="94691" y="1920255"/>
                  </a:cubicBezTo>
                  <a:close/>
                  <a:moveTo>
                    <a:pt x="181201" y="1833815"/>
                  </a:moveTo>
                  <a:cubicBezTo>
                    <a:pt x="179124" y="1833815"/>
                    <a:pt x="177028" y="1833012"/>
                    <a:pt x="175440" y="1831423"/>
                  </a:cubicBezTo>
                  <a:cubicBezTo>
                    <a:pt x="172262" y="1828245"/>
                    <a:pt x="172262" y="1823077"/>
                    <a:pt x="175440" y="1819900"/>
                  </a:cubicBezTo>
                  <a:lnTo>
                    <a:pt x="175562" y="1819777"/>
                  </a:lnTo>
                  <a:cubicBezTo>
                    <a:pt x="178739" y="1816600"/>
                    <a:pt x="183908" y="1816600"/>
                    <a:pt x="187085" y="1819777"/>
                  </a:cubicBezTo>
                  <a:cubicBezTo>
                    <a:pt x="190263" y="1822955"/>
                    <a:pt x="190263" y="1828123"/>
                    <a:pt x="187085" y="1831301"/>
                  </a:cubicBezTo>
                  <a:lnTo>
                    <a:pt x="186963" y="1831423"/>
                  </a:lnTo>
                  <a:cubicBezTo>
                    <a:pt x="185374" y="1833012"/>
                    <a:pt x="183279" y="1833815"/>
                    <a:pt x="181201" y="1833815"/>
                  </a:cubicBezTo>
                  <a:close/>
                  <a:moveTo>
                    <a:pt x="267747" y="1747269"/>
                  </a:moveTo>
                  <a:cubicBezTo>
                    <a:pt x="265669" y="1747269"/>
                    <a:pt x="263574" y="1746466"/>
                    <a:pt x="261985" y="1744877"/>
                  </a:cubicBezTo>
                  <a:cubicBezTo>
                    <a:pt x="258808" y="1741699"/>
                    <a:pt x="258808" y="1736532"/>
                    <a:pt x="261985" y="1733354"/>
                  </a:cubicBezTo>
                  <a:lnTo>
                    <a:pt x="262107" y="1733232"/>
                  </a:lnTo>
                  <a:cubicBezTo>
                    <a:pt x="265285" y="1730054"/>
                    <a:pt x="270453" y="1730054"/>
                    <a:pt x="273631" y="1733232"/>
                  </a:cubicBezTo>
                  <a:cubicBezTo>
                    <a:pt x="276808" y="1736409"/>
                    <a:pt x="276808" y="1741577"/>
                    <a:pt x="273631" y="1744755"/>
                  </a:cubicBezTo>
                  <a:lnTo>
                    <a:pt x="273508" y="1744877"/>
                  </a:lnTo>
                  <a:cubicBezTo>
                    <a:pt x="271920" y="1746466"/>
                    <a:pt x="269825" y="1747269"/>
                    <a:pt x="267747" y="1747269"/>
                  </a:cubicBezTo>
                  <a:close/>
                  <a:moveTo>
                    <a:pt x="354327" y="1660636"/>
                  </a:moveTo>
                  <a:cubicBezTo>
                    <a:pt x="352250" y="1660636"/>
                    <a:pt x="350172" y="1659851"/>
                    <a:pt x="348601" y="1658279"/>
                  </a:cubicBezTo>
                  <a:cubicBezTo>
                    <a:pt x="345423" y="1655101"/>
                    <a:pt x="345353" y="1650003"/>
                    <a:pt x="348531" y="1646826"/>
                  </a:cubicBezTo>
                  <a:lnTo>
                    <a:pt x="348653" y="1646704"/>
                  </a:lnTo>
                  <a:cubicBezTo>
                    <a:pt x="351831" y="1643526"/>
                    <a:pt x="356999" y="1643526"/>
                    <a:pt x="360176" y="1646704"/>
                  </a:cubicBezTo>
                  <a:cubicBezTo>
                    <a:pt x="363354" y="1649881"/>
                    <a:pt x="363354" y="1655049"/>
                    <a:pt x="360176" y="1658227"/>
                  </a:cubicBezTo>
                  <a:cubicBezTo>
                    <a:pt x="358570" y="1659833"/>
                    <a:pt x="356440" y="1660636"/>
                    <a:pt x="354327" y="1660636"/>
                  </a:cubicBezTo>
                  <a:close/>
                  <a:moveTo>
                    <a:pt x="440855" y="1574091"/>
                  </a:moveTo>
                  <a:cubicBezTo>
                    <a:pt x="438778" y="1574091"/>
                    <a:pt x="436700" y="1573305"/>
                    <a:pt x="435129" y="1571733"/>
                  </a:cubicBezTo>
                  <a:cubicBezTo>
                    <a:pt x="431951" y="1568556"/>
                    <a:pt x="431881" y="1563458"/>
                    <a:pt x="435059" y="1560280"/>
                  </a:cubicBezTo>
                  <a:lnTo>
                    <a:pt x="435181" y="1560158"/>
                  </a:lnTo>
                  <a:cubicBezTo>
                    <a:pt x="438359" y="1556980"/>
                    <a:pt x="443527" y="1556980"/>
                    <a:pt x="446705" y="1560158"/>
                  </a:cubicBezTo>
                  <a:cubicBezTo>
                    <a:pt x="449882" y="1563336"/>
                    <a:pt x="449882" y="1568504"/>
                    <a:pt x="446705" y="1571681"/>
                  </a:cubicBezTo>
                  <a:cubicBezTo>
                    <a:pt x="445098" y="1573287"/>
                    <a:pt x="442968" y="1574091"/>
                    <a:pt x="440855" y="1574091"/>
                  </a:cubicBezTo>
                  <a:close/>
                  <a:moveTo>
                    <a:pt x="527401" y="1487545"/>
                  </a:moveTo>
                  <a:cubicBezTo>
                    <a:pt x="525323" y="1487545"/>
                    <a:pt x="523246" y="1486759"/>
                    <a:pt x="521674" y="1485188"/>
                  </a:cubicBezTo>
                  <a:cubicBezTo>
                    <a:pt x="518497" y="1482010"/>
                    <a:pt x="518427" y="1476912"/>
                    <a:pt x="521605" y="1473735"/>
                  </a:cubicBezTo>
                  <a:lnTo>
                    <a:pt x="521727" y="1473612"/>
                  </a:lnTo>
                  <a:cubicBezTo>
                    <a:pt x="524904" y="1470435"/>
                    <a:pt x="530073" y="1470435"/>
                    <a:pt x="533250" y="1473612"/>
                  </a:cubicBezTo>
                  <a:cubicBezTo>
                    <a:pt x="536428" y="1476790"/>
                    <a:pt x="536428" y="1481958"/>
                    <a:pt x="533250" y="1485136"/>
                  </a:cubicBezTo>
                  <a:cubicBezTo>
                    <a:pt x="531644" y="1486742"/>
                    <a:pt x="529514" y="1487545"/>
                    <a:pt x="527401" y="1487545"/>
                  </a:cubicBezTo>
                  <a:close/>
                  <a:moveTo>
                    <a:pt x="613912" y="1401104"/>
                  </a:moveTo>
                  <a:cubicBezTo>
                    <a:pt x="611799" y="1401104"/>
                    <a:pt x="609704" y="1400301"/>
                    <a:pt x="608115" y="1398677"/>
                  </a:cubicBezTo>
                  <a:cubicBezTo>
                    <a:pt x="604955" y="1395482"/>
                    <a:pt x="604990" y="1390314"/>
                    <a:pt x="608185" y="1387154"/>
                  </a:cubicBezTo>
                  <a:lnTo>
                    <a:pt x="608307" y="1387032"/>
                  </a:lnTo>
                  <a:cubicBezTo>
                    <a:pt x="611502" y="1383872"/>
                    <a:pt x="616670" y="1383907"/>
                    <a:pt x="619830" y="1387102"/>
                  </a:cubicBezTo>
                  <a:cubicBezTo>
                    <a:pt x="622991" y="1390297"/>
                    <a:pt x="622956" y="1395465"/>
                    <a:pt x="619761" y="1398625"/>
                  </a:cubicBezTo>
                  <a:lnTo>
                    <a:pt x="619638" y="1398747"/>
                  </a:lnTo>
                  <a:cubicBezTo>
                    <a:pt x="618050" y="1400318"/>
                    <a:pt x="615990" y="1401086"/>
                    <a:pt x="613912" y="1401086"/>
                  </a:cubicBezTo>
                  <a:close/>
                  <a:moveTo>
                    <a:pt x="700457" y="1314559"/>
                  </a:moveTo>
                  <a:cubicBezTo>
                    <a:pt x="698380" y="1314559"/>
                    <a:pt x="696285" y="1313756"/>
                    <a:pt x="694696" y="1312167"/>
                  </a:cubicBezTo>
                  <a:cubicBezTo>
                    <a:pt x="691518" y="1308989"/>
                    <a:pt x="691518" y="1303821"/>
                    <a:pt x="694696" y="1300644"/>
                  </a:cubicBezTo>
                  <a:lnTo>
                    <a:pt x="694818" y="1300521"/>
                  </a:lnTo>
                  <a:cubicBezTo>
                    <a:pt x="697996" y="1297344"/>
                    <a:pt x="703164" y="1297344"/>
                    <a:pt x="706341" y="1300521"/>
                  </a:cubicBezTo>
                  <a:cubicBezTo>
                    <a:pt x="709518" y="1303699"/>
                    <a:pt x="709518" y="1308867"/>
                    <a:pt x="706341" y="1312044"/>
                  </a:cubicBezTo>
                  <a:lnTo>
                    <a:pt x="706219" y="1312167"/>
                  </a:lnTo>
                  <a:cubicBezTo>
                    <a:pt x="704630" y="1313756"/>
                    <a:pt x="702535" y="1314559"/>
                    <a:pt x="700457" y="1314559"/>
                  </a:cubicBezTo>
                  <a:close/>
                  <a:moveTo>
                    <a:pt x="787003" y="1228013"/>
                  </a:moveTo>
                  <a:cubicBezTo>
                    <a:pt x="784943" y="1228013"/>
                    <a:pt x="782865" y="1227227"/>
                    <a:pt x="781276" y="1225673"/>
                  </a:cubicBezTo>
                  <a:cubicBezTo>
                    <a:pt x="778064" y="1222513"/>
                    <a:pt x="778046" y="1217363"/>
                    <a:pt x="781189" y="1214150"/>
                  </a:cubicBezTo>
                  <a:lnTo>
                    <a:pt x="781311" y="1214028"/>
                  </a:lnTo>
                  <a:cubicBezTo>
                    <a:pt x="784471" y="1210815"/>
                    <a:pt x="789622" y="1210780"/>
                    <a:pt x="792834" y="1213941"/>
                  </a:cubicBezTo>
                  <a:cubicBezTo>
                    <a:pt x="796029" y="1217101"/>
                    <a:pt x="796082" y="1222251"/>
                    <a:pt x="792904" y="1225464"/>
                  </a:cubicBezTo>
                  <a:lnTo>
                    <a:pt x="792782" y="1225586"/>
                  </a:lnTo>
                  <a:cubicBezTo>
                    <a:pt x="791193" y="1227210"/>
                    <a:pt x="789080" y="1228013"/>
                    <a:pt x="786985" y="1228013"/>
                  </a:cubicBezTo>
                  <a:close/>
                  <a:moveTo>
                    <a:pt x="873584" y="1141380"/>
                  </a:moveTo>
                  <a:cubicBezTo>
                    <a:pt x="871506" y="1141380"/>
                    <a:pt x="869428" y="1140594"/>
                    <a:pt x="867857" y="1139023"/>
                  </a:cubicBezTo>
                  <a:cubicBezTo>
                    <a:pt x="864679" y="1135845"/>
                    <a:pt x="864609" y="1130747"/>
                    <a:pt x="867787" y="1127570"/>
                  </a:cubicBezTo>
                  <a:lnTo>
                    <a:pt x="867909" y="1127447"/>
                  </a:lnTo>
                  <a:cubicBezTo>
                    <a:pt x="871087" y="1124270"/>
                    <a:pt x="876254" y="1124270"/>
                    <a:pt x="879432" y="1127447"/>
                  </a:cubicBezTo>
                  <a:cubicBezTo>
                    <a:pt x="882610" y="1130625"/>
                    <a:pt x="882610" y="1135793"/>
                    <a:pt x="879432" y="1138971"/>
                  </a:cubicBezTo>
                  <a:cubicBezTo>
                    <a:pt x="877826" y="1140577"/>
                    <a:pt x="875696" y="1141380"/>
                    <a:pt x="873584" y="1141380"/>
                  </a:cubicBezTo>
                  <a:close/>
                  <a:moveTo>
                    <a:pt x="960076" y="1054939"/>
                  </a:moveTo>
                  <a:cubicBezTo>
                    <a:pt x="957964" y="1054939"/>
                    <a:pt x="955869" y="1054136"/>
                    <a:pt x="954280" y="1052512"/>
                  </a:cubicBezTo>
                  <a:cubicBezTo>
                    <a:pt x="951120" y="1049317"/>
                    <a:pt x="951155" y="1044149"/>
                    <a:pt x="954350" y="1040989"/>
                  </a:cubicBezTo>
                  <a:lnTo>
                    <a:pt x="954472" y="1040867"/>
                  </a:lnTo>
                  <a:cubicBezTo>
                    <a:pt x="957667" y="1037707"/>
                    <a:pt x="962835" y="1037742"/>
                    <a:pt x="965995" y="1040937"/>
                  </a:cubicBezTo>
                  <a:cubicBezTo>
                    <a:pt x="969156" y="1044149"/>
                    <a:pt x="969121" y="1049300"/>
                    <a:pt x="965925" y="1052460"/>
                  </a:cubicBezTo>
                  <a:lnTo>
                    <a:pt x="965803" y="1052582"/>
                  </a:lnTo>
                  <a:cubicBezTo>
                    <a:pt x="964215" y="1054153"/>
                    <a:pt x="962154" y="1054922"/>
                    <a:pt x="960076" y="1054922"/>
                  </a:cubicBezTo>
                  <a:close/>
                  <a:moveTo>
                    <a:pt x="1046622" y="968394"/>
                  </a:moveTo>
                  <a:cubicBezTo>
                    <a:pt x="1044545" y="968394"/>
                    <a:pt x="1042450" y="967591"/>
                    <a:pt x="1040861" y="966002"/>
                  </a:cubicBezTo>
                  <a:cubicBezTo>
                    <a:pt x="1037683" y="962824"/>
                    <a:pt x="1037683" y="957656"/>
                    <a:pt x="1040861" y="954479"/>
                  </a:cubicBezTo>
                  <a:lnTo>
                    <a:pt x="1040983" y="954356"/>
                  </a:lnTo>
                  <a:cubicBezTo>
                    <a:pt x="1044161" y="951179"/>
                    <a:pt x="1049328" y="951179"/>
                    <a:pt x="1052506" y="954356"/>
                  </a:cubicBezTo>
                  <a:cubicBezTo>
                    <a:pt x="1055683" y="957534"/>
                    <a:pt x="1055683" y="962702"/>
                    <a:pt x="1052506" y="965880"/>
                  </a:cubicBezTo>
                  <a:lnTo>
                    <a:pt x="1052384" y="966002"/>
                  </a:lnTo>
                  <a:cubicBezTo>
                    <a:pt x="1050795" y="967591"/>
                    <a:pt x="1048700" y="968394"/>
                    <a:pt x="1046622" y="968394"/>
                  </a:cubicBezTo>
                  <a:close/>
                  <a:moveTo>
                    <a:pt x="1133168" y="881848"/>
                  </a:moveTo>
                  <a:cubicBezTo>
                    <a:pt x="1131108" y="881848"/>
                    <a:pt x="1129030" y="881062"/>
                    <a:pt x="1127441" y="879508"/>
                  </a:cubicBezTo>
                  <a:cubicBezTo>
                    <a:pt x="1124246" y="876349"/>
                    <a:pt x="1124211" y="871198"/>
                    <a:pt x="1127371" y="867985"/>
                  </a:cubicBezTo>
                  <a:lnTo>
                    <a:pt x="1127494" y="867863"/>
                  </a:lnTo>
                  <a:cubicBezTo>
                    <a:pt x="1130654" y="864650"/>
                    <a:pt x="1135804" y="864616"/>
                    <a:pt x="1139017" y="867793"/>
                  </a:cubicBezTo>
                  <a:cubicBezTo>
                    <a:pt x="1142212" y="870953"/>
                    <a:pt x="1142264" y="876104"/>
                    <a:pt x="1139086" y="879317"/>
                  </a:cubicBezTo>
                  <a:lnTo>
                    <a:pt x="1138964" y="879439"/>
                  </a:lnTo>
                  <a:cubicBezTo>
                    <a:pt x="1137375" y="881062"/>
                    <a:pt x="1135263" y="881866"/>
                    <a:pt x="1133168" y="881866"/>
                  </a:cubicBezTo>
                  <a:close/>
                  <a:moveTo>
                    <a:pt x="1219714" y="795302"/>
                  </a:moveTo>
                  <a:cubicBezTo>
                    <a:pt x="1217653" y="795302"/>
                    <a:pt x="1215576" y="794517"/>
                    <a:pt x="1213987" y="792963"/>
                  </a:cubicBezTo>
                  <a:cubicBezTo>
                    <a:pt x="1210774" y="789803"/>
                    <a:pt x="1210739" y="784652"/>
                    <a:pt x="1213917" y="781440"/>
                  </a:cubicBezTo>
                  <a:lnTo>
                    <a:pt x="1214039" y="781317"/>
                  </a:lnTo>
                  <a:cubicBezTo>
                    <a:pt x="1217199" y="778123"/>
                    <a:pt x="1222350" y="778088"/>
                    <a:pt x="1225562" y="781248"/>
                  </a:cubicBezTo>
                  <a:cubicBezTo>
                    <a:pt x="1228757" y="784408"/>
                    <a:pt x="1228792" y="789558"/>
                    <a:pt x="1225632" y="792771"/>
                  </a:cubicBezTo>
                  <a:lnTo>
                    <a:pt x="1225510" y="792893"/>
                  </a:lnTo>
                  <a:cubicBezTo>
                    <a:pt x="1223921" y="794517"/>
                    <a:pt x="1221809" y="795320"/>
                    <a:pt x="1219714" y="795320"/>
                  </a:cubicBezTo>
                  <a:close/>
                  <a:moveTo>
                    <a:pt x="1306294" y="708670"/>
                  </a:moveTo>
                  <a:cubicBezTo>
                    <a:pt x="1304216" y="708670"/>
                    <a:pt x="1302139" y="707884"/>
                    <a:pt x="1300567" y="706313"/>
                  </a:cubicBezTo>
                  <a:cubicBezTo>
                    <a:pt x="1297390" y="703135"/>
                    <a:pt x="1297320" y="698037"/>
                    <a:pt x="1300497" y="694859"/>
                  </a:cubicBezTo>
                  <a:lnTo>
                    <a:pt x="1300620" y="694737"/>
                  </a:lnTo>
                  <a:cubicBezTo>
                    <a:pt x="1303797" y="691560"/>
                    <a:pt x="1308965" y="691560"/>
                    <a:pt x="1312143" y="694737"/>
                  </a:cubicBezTo>
                  <a:cubicBezTo>
                    <a:pt x="1315320" y="697914"/>
                    <a:pt x="1315320" y="703083"/>
                    <a:pt x="1312143" y="706260"/>
                  </a:cubicBezTo>
                  <a:cubicBezTo>
                    <a:pt x="1310536" y="707867"/>
                    <a:pt x="1308406" y="708670"/>
                    <a:pt x="1306294" y="708670"/>
                  </a:cubicBezTo>
                  <a:close/>
                  <a:moveTo>
                    <a:pt x="1392822" y="622124"/>
                  </a:moveTo>
                  <a:cubicBezTo>
                    <a:pt x="1390745" y="622124"/>
                    <a:pt x="1388667" y="621338"/>
                    <a:pt x="1387095" y="619767"/>
                  </a:cubicBezTo>
                  <a:cubicBezTo>
                    <a:pt x="1383918" y="616590"/>
                    <a:pt x="1383848" y="611491"/>
                    <a:pt x="1387025" y="608314"/>
                  </a:cubicBezTo>
                  <a:lnTo>
                    <a:pt x="1387148" y="608192"/>
                  </a:lnTo>
                  <a:cubicBezTo>
                    <a:pt x="1390326" y="605014"/>
                    <a:pt x="1395493" y="605014"/>
                    <a:pt x="1398671" y="608192"/>
                  </a:cubicBezTo>
                  <a:cubicBezTo>
                    <a:pt x="1401848" y="611369"/>
                    <a:pt x="1401848" y="616537"/>
                    <a:pt x="1398671" y="619715"/>
                  </a:cubicBezTo>
                  <a:cubicBezTo>
                    <a:pt x="1397065" y="621321"/>
                    <a:pt x="1394935" y="622124"/>
                    <a:pt x="1392822" y="622124"/>
                  </a:cubicBezTo>
                  <a:close/>
                  <a:moveTo>
                    <a:pt x="1479332" y="535683"/>
                  </a:moveTo>
                  <a:cubicBezTo>
                    <a:pt x="1477238" y="535683"/>
                    <a:pt x="1475125" y="534880"/>
                    <a:pt x="1473536" y="533256"/>
                  </a:cubicBezTo>
                  <a:cubicBezTo>
                    <a:pt x="1470376" y="530061"/>
                    <a:pt x="1470411" y="524893"/>
                    <a:pt x="1473606" y="521733"/>
                  </a:cubicBezTo>
                  <a:lnTo>
                    <a:pt x="1473728" y="521611"/>
                  </a:lnTo>
                  <a:cubicBezTo>
                    <a:pt x="1476923" y="518451"/>
                    <a:pt x="1482091" y="518486"/>
                    <a:pt x="1485251" y="521681"/>
                  </a:cubicBezTo>
                  <a:cubicBezTo>
                    <a:pt x="1488412" y="524893"/>
                    <a:pt x="1488377" y="530044"/>
                    <a:pt x="1485181" y="533204"/>
                  </a:cubicBezTo>
                  <a:lnTo>
                    <a:pt x="1485060" y="533326"/>
                  </a:lnTo>
                  <a:cubicBezTo>
                    <a:pt x="1483470" y="534898"/>
                    <a:pt x="1481410" y="535666"/>
                    <a:pt x="1479332" y="535666"/>
                  </a:cubicBezTo>
                  <a:close/>
                  <a:moveTo>
                    <a:pt x="1565879" y="449137"/>
                  </a:moveTo>
                  <a:cubicBezTo>
                    <a:pt x="1563801" y="449137"/>
                    <a:pt x="1561706" y="448334"/>
                    <a:pt x="1560116" y="446746"/>
                  </a:cubicBezTo>
                  <a:cubicBezTo>
                    <a:pt x="1556939" y="443568"/>
                    <a:pt x="1556939" y="438400"/>
                    <a:pt x="1560116" y="435223"/>
                  </a:cubicBezTo>
                  <a:lnTo>
                    <a:pt x="1560239" y="435100"/>
                  </a:lnTo>
                  <a:cubicBezTo>
                    <a:pt x="1563417" y="431923"/>
                    <a:pt x="1568584" y="431923"/>
                    <a:pt x="1571762" y="435100"/>
                  </a:cubicBezTo>
                  <a:cubicBezTo>
                    <a:pt x="1574940" y="438278"/>
                    <a:pt x="1574940" y="443446"/>
                    <a:pt x="1571762" y="446623"/>
                  </a:cubicBezTo>
                  <a:lnTo>
                    <a:pt x="1571640" y="446746"/>
                  </a:lnTo>
                  <a:cubicBezTo>
                    <a:pt x="1570051" y="448334"/>
                    <a:pt x="1567956" y="449137"/>
                    <a:pt x="1565879" y="449137"/>
                  </a:cubicBezTo>
                  <a:close/>
                  <a:moveTo>
                    <a:pt x="1652424" y="362592"/>
                  </a:moveTo>
                  <a:cubicBezTo>
                    <a:pt x="1650363" y="362592"/>
                    <a:pt x="1648286" y="361806"/>
                    <a:pt x="1646698" y="360252"/>
                  </a:cubicBezTo>
                  <a:cubicBezTo>
                    <a:pt x="1643484" y="357092"/>
                    <a:pt x="1643450" y="351942"/>
                    <a:pt x="1646628" y="348729"/>
                  </a:cubicBezTo>
                  <a:lnTo>
                    <a:pt x="1646750" y="348607"/>
                  </a:lnTo>
                  <a:cubicBezTo>
                    <a:pt x="1649910" y="345395"/>
                    <a:pt x="1655061" y="345360"/>
                    <a:pt x="1658273" y="348537"/>
                  </a:cubicBezTo>
                  <a:cubicBezTo>
                    <a:pt x="1661468" y="351697"/>
                    <a:pt x="1661520" y="356848"/>
                    <a:pt x="1658343" y="360060"/>
                  </a:cubicBezTo>
                  <a:lnTo>
                    <a:pt x="1658220" y="360183"/>
                  </a:lnTo>
                  <a:cubicBezTo>
                    <a:pt x="1656632" y="361806"/>
                    <a:pt x="1654519" y="362609"/>
                    <a:pt x="1652424" y="362609"/>
                  </a:cubicBezTo>
                  <a:close/>
                  <a:moveTo>
                    <a:pt x="1739004" y="275959"/>
                  </a:moveTo>
                  <a:cubicBezTo>
                    <a:pt x="1736926" y="275959"/>
                    <a:pt x="1734849" y="275173"/>
                    <a:pt x="1733278" y="273602"/>
                  </a:cubicBezTo>
                  <a:cubicBezTo>
                    <a:pt x="1730101" y="270425"/>
                    <a:pt x="1730031" y="265326"/>
                    <a:pt x="1733208" y="262149"/>
                  </a:cubicBezTo>
                  <a:lnTo>
                    <a:pt x="1733330" y="262027"/>
                  </a:lnTo>
                  <a:cubicBezTo>
                    <a:pt x="1736508" y="258849"/>
                    <a:pt x="1741676" y="258849"/>
                    <a:pt x="1744853" y="262027"/>
                  </a:cubicBezTo>
                  <a:cubicBezTo>
                    <a:pt x="1748031" y="265204"/>
                    <a:pt x="1748031" y="270372"/>
                    <a:pt x="1744853" y="273550"/>
                  </a:cubicBezTo>
                  <a:cubicBezTo>
                    <a:pt x="1743247" y="275156"/>
                    <a:pt x="1741117" y="275959"/>
                    <a:pt x="1739004" y="275959"/>
                  </a:cubicBezTo>
                  <a:close/>
                  <a:moveTo>
                    <a:pt x="1825515" y="189501"/>
                  </a:moveTo>
                  <a:cubicBezTo>
                    <a:pt x="1823403" y="189501"/>
                    <a:pt x="1821307" y="188698"/>
                    <a:pt x="1819718" y="187074"/>
                  </a:cubicBezTo>
                  <a:cubicBezTo>
                    <a:pt x="1816559" y="183879"/>
                    <a:pt x="1816594" y="178711"/>
                    <a:pt x="1819788" y="175551"/>
                  </a:cubicBezTo>
                  <a:lnTo>
                    <a:pt x="1819911" y="175429"/>
                  </a:lnTo>
                  <a:cubicBezTo>
                    <a:pt x="1823106" y="172268"/>
                    <a:pt x="1828274" y="172303"/>
                    <a:pt x="1831434" y="175499"/>
                  </a:cubicBezTo>
                  <a:cubicBezTo>
                    <a:pt x="1834594" y="178694"/>
                    <a:pt x="1834559" y="183861"/>
                    <a:pt x="1831364" y="187022"/>
                  </a:cubicBezTo>
                  <a:lnTo>
                    <a:pt x="1831241" y="187144"/>
                  </a:lnTo>
                  <a:cubicBezTo>
                    <a:pt x="1829653" y="188715"/>
                    <a:pt x="1827593" y="189483"/>
                    <a:pt x="1825515" y="189483"/>
                  </a:cubicBezTo>
                  <a:close/>
                  <a:moveTo>
                    <a:pt x="1912043" y="102955"/>
                  </a:moveTo>
                  <a:cubicBezTo>
                    <a:pt x="1909931" y="102955"/>
                    <a:pt x="1907835" y="102152"/>
                    <a:pt x="1906246" y="100528"/>
                  </a:cubicBezTo>
                  <a:cubicBezTo>
                    <a:pt x="1903086" y="97333"/>
                    <a:pt x="1903121" y="92165"/>
                    <a:pt x="1906316" y="89005"/>
                  </a:cubicBezTo>
                  <a:lnTo>
                    <a:pt x="1906439" y="88883"/>
                  </a:lnTo>
                  <a:cubicBezTo>
                    <a:pt x="1909651" y="85723"/>
                    <a:pt x="1914802" y="85758"/>
                    <a:pt x="1917962" y="88970"/>
                  </a:cubicBezTo>
                  <a:cubicBezTo>
                    <a:pt x="1921122" y="92183"/>
                    <a:pt x="1921087" y="97333"/>
                    <a:pt x="1917892" y="100493"/>
                  </a:cubicBezTo>
                  <a:lnTo>
                    <a:pt x="1917770" y="100616"/>
                  </a:lnTo>
                  <a:cubicBezTo>
                    <a:pt x="1916181" y="102187"/>
                    <a:pt x="1914121" y="102955"/>
                    <a:pt x="1912043" y="102955"/>
                  </a:cubicBezTo>
                  <a:close/>
                  <a:moveTo>
                    <a:pt x="1998624" y="16322"/>
                  </a:moveTo>
                  <a:cubicBezTo>
                    <a:pt x="1996546" y="16322"/>
                    <a:pt x="1994486" y="15554"/>
                    <a:pt x="1992914" y="13983"/>
                  </a:cubicBezTo>
                  <a:cubicBezTo>
                    <a:pt x="1989719" y="10805"/>
                    <a:pt x="1989649" y="5707"/>
                    <a:pt x="1992810" y="2529"/>
                  </a:cubicBezTo>
                  <a:lnTo>
                    <a:pt x="1992932" y="2407"/>
                  </a:lnTo>
                  <a:cubicBezTo>
                    <a:pt x="1996110" y="-788"/>
                    <a:pt x="2001260" y="-805"/>
                    <a:pt x="2004455" y="2372"/>
                  </a:cubicBezTo>
                  <a:cubicBezTo>
                    <a:pt x="2007650" y="5550"/>
                    <a:pt x="2007668" y="10701"/>
                    <a:pt x="2004490" y="13895"/>
                  </a:cubicBezTo>
                  <a:cubicBezTo>
                    <a:pt x="2002884" y="15519"/>
                    <a:pt x="2000754" y="16340"/>
                    <a:pt x="1998624" y="16340"/>
                  </a:cubicBezTo>
                  <a:close/>
                </a:path>
              </a:pathLst>
            </a:custGeom>
            <a:grpFill/>
            <a:ln w="0"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147CB5DC-F873-63AD-CFEB-0F148A9063DA}"/>
                </a:ext>
              </a:extLst>
            </p:cNvPr>
            <p:cNvSpPr/>
            <p:nvPr/>
          </p:nvSpPr>
          <p:spPr>
            <a:xfrm>
              <a:off x="6961101" y="3284293"/>
              <a:ext cx="1921470" cy="1921431"/>
            </a:xfrm>
            <a:custGeom>
              <a:avLst/>
              <a:gdLst>
                <a:gd name="connsiteX0" fmla="*/ 8734 w 1921470"/>
                <a:gd name="connsiteY0" fmla="*/ 1921431 h 1921431"/>
                <a:gd name="connsiteX1" fmla="*/ 2589 w 1921470"/>
                <a:gd name="connsiteY1" fmla="*/ 1918900 h 1921431"/>
                <a:gd name="connsiteX2" fmla="*/ 2519 w 1921470"/>
                <a:gd name="connsiteY2" fmla="*/ 1906609 h 1921431"/>
                <a:gd name="connsiteX3" fmla="*/ 2641 w 1921470"/>
                <a:gd name="connsiteY3" fmla="*/ 1906487 h 1921431"/>
                <a:gd name="connsiteX4" fmla="*/ 14985 w 1921470"/>
                <a:gd name="connsiteY4" fmla="*/ 1906487 h 1921431"/>
                <a:gd name="connsiteX5" fmla="*/ 14985 w 1921470"/>
                <a:gd name="connsiteY5" fmla="*/ 1918830 h 1921431"/>
                <a:gd name="connsiteX6" fmla="*/ 8717 w 1921470"/>
                <a:gd name="connsiteY6" fmla="*/ 1921414 h 1921431"/>
                <a:gd name="connsiteX7" fmla="*/ 95263 w 1921470"/>
                <a:gd name="connsiteY7" fmla="*/ 1834974 h 1921431"/>
                <a:gd name="connsiteX8" fmla="*/ 89134 w 1921470"/>
                <a:gd name="connsiteY8" fmla="*/ 1832459 h 1921431"/>
                <a:gd name="connsiteX9" fmla="*/ 89047 w 1921470"/>
                <a:gd name="connsiteY9" fmla="*/ 1820116 h 1921431"/>
                <a:gd name="connsiteX10" fmla="*/ 89169 w 1921470"/>
                <a:gd name="connsiteY10" fmla="*/ 1819993 h 1921431"/>
                <a:gd name="connsiteX11" fmla="*/ 101513 w 1921470"/>
                <a:gd name="connsiteY11" fmla="*/ 1819906 h 1921431"/>
                <a:gd name="connsiteX12" fmla="*/ 101600 w 1921470"/>
                <a:gd name="connsiteY12" fmla="*/ 1832250 h 1921431"/>
                <a:gd name="connsiteX13" fmla="*/ 101478 w 1921470"/>
                <a:gd name="connsiteY13" fmla="*/ 1832372 h 1921431"/>
                <a:gd name="connsiteX14" fmla="*/ 95263 w 1921470"/>
                <a:gd name="connsiteY14" fmla="*/ 1834974 h 1921431"/>
                <a:gd name="connsiteX15" fmla="*/ 181791 w 1921470"/>
                <a:gd name="connsiteY15" fmla="*/ 1748428 h 1921431"/>
                <a:gd name="connsiteX16" fmla="*/ 175663 w 1921470"/>
                <a:gd name="connsiteY16" fmla="*/ 1745914 h 1921431"/>
                <a:gd name="connsiteX17" fmla="*/ 175575 w 1921470"/>
                <a:gd name="connsiteY17" fmla="*/ 1733570 h 1921431"/>
                <a:gd name="connsiteX18" fmla="*/ 175697 w 1921470"/>
                <a:gd name="connsiteY18" fmla="*/ 1733448 h 1921431"/>
                <a:gd name="connsiteX19" fmla="*/ 188041 w 1921470"/>
                <a:gd name="connsiteY19" fmla="*/ 1733360 h 1921431"/>
                <a:gd name="connsiteX20" fmla="*/ 188128 w 1921470"/>
                <a:gd name="connsiteY20" fmla="*/ 1745704 h 1921431"/>
                <a:gd name="connsiteX21" fmla="*/ 188006 w 1921470"/>
                <a:gd name="connsiteY21" fmla="*/ 1745826 h 1921431"/>
                <a:gd name="connsiteX22" fmla="*/ 181791 w 1921470"/>
                <a:gd name="connsiteY22" fmla="*/ 1748428 h 1921431"/>
                <a:gd name="connsiteX23" fmla="*/ 268336 w 1921470"/>
                <a:gd name="connsiteY23" fmla="*/ 1661900 h 1921431"/>
                <a:gd name="connsiteX24" fmla="*/ 262120 w 1921470"/>
                <a:gd name="connsiteY24" fmla="*/ 1659298 h 1921431"/>
                <a:gd name="connsiteX25" fmla="*/ 262208 w 1921470"/>
                <a:gd name="connsiteY25" fmla="*/ 1646954 h 1921431"/>
                <a:gd name="connsiteX26" fmla="*/ 262330 w 1921470"/>
                <a:gd name="connsiteY26" fmla="*/ 1646833 h 1921431"/>
                <a:gd name="connsiteX27" fmla="*/ 274674 w 1921470"/>
                <a:gd name="connsiteY27" fmla="*/ 1646919 h 1921431"/>
                <a:gd name="connsiteX28" fmla="*/ 274587 w 1921470"/>
                <a:gd name="connsiteY28" fmla="*/ 1659263 h 1921431"/>
                <a:gd name="connsiteX29" fmla="*/ 274464 w 1921470"/>
                <a:gd name="connsiteY29" fmla="*/ 1659386 h 1921431"/>
                <a:gd name="connsiteX30" fmla="*/ 268336 w 1921470"/>
                <a:gd name="connsiteY30" fmla="*/ 1661900 h 1921431"/>
                <a:gd name="connsiteX31" fmla="*/ 354882 w 1921470"/>
                <a:gd name="connsiteY31" fmla="*/ 1575354 h 1921431"/>
                <a:gd name="connsiteX32" fmla="*/ 348666 w 1921470"/>
                <a:gd name="connsiteY32" fmla="*/ 1572753 h 1921431"/>
                <a:gd name="connsiteX33" fmla="*/ 348754 w 1921470"/>
                <a:gd name="connsiteY33" fmla="*/ 1560409 h 1921431"/>
                <a:gd name="connsiteX34" fmla="*/ 348876 w 1921470"/>
                <a:gd name="connsiteY34" fmla="*/ 1560287 h 1921431"/>
                <a:gd name="connsiteX35" fmla="*/ 361219 w 1921470"/>
                <a:gd name="connsiteY35" fmla="*/ 1560374 h 1921431"/>
                <a:gd name="connsiteX36" fmla="*/ 361132 w 1921470"/>
                <a:gd name="connsiteY36" fmla="*/ 1572718 h 1921431"/>
                <a:gd name="connsiteX37" fmla="*/ 361010 w 1921470"/>
                <a:gd name="connsiteY37" fmla="*/ 1572840 h 1921431"/>
                <a:gd name="connsiteX38" fmla="*/ 354882 w 1921470"/>
                <a:gd name="connsiteY38" fmla="*/ 1575354 h 1921431"/>
                <a:gd name="connsiteX39" fmla="*/ 441462 w 1921470"/>
                <a:gd name="connsiteY39" fmla="*/ 1488721 h 1921431"/>
                <a:gd name="connsiteX40" fmla="*/ 435317 w 1921470"/>
                <a:gd name="connsiteY40" fmla="*/ 1486190 h 1921431"/>
                <a:gd name="connsiteX41" fmla="*/ 435247 w 1921470"/>
                <a:gd name="connsiteY41" fmla="*/ 1473898 h 1921431"/>
                <a:gd name="connsiteX42" fmla="*/ 435369 w 1921470"/>
                <a:gd name="connsiteY42" fmla="*/ 1473776 h 1921431"/>
                <a:gd name="connsiteX43" fmla="*/ 447713 w 1921470"/>
                <a:gd name="connsiteY43" fmla="*/ 1473776 h 1921431"/>
                <a:gd name="connsiteX44" fmla="*/ 447713 w 1921470"/>
                <a:gd name="connsiteY44" fmla="*/ 1486120 h 1921431"/>
                <a:gd name="connsiteX45" fmla="*/ 441445 w 1921470"/>
                <a:gd name="connsiteY45" fmla="*/ 1488704 h 1921431"/>
                <a:gd name="connsiteX46" fmla="*/ 527973 w 1921470"/>
                <a:gd name="connsiteY46" fmla="*/ 1402263 h 1921431"/>
                <a:gd name="connsiteX47" fmla="*/ 521845 w 1921470"/>
                <a:gd name="connsiteY47" fmla="*/ 1399749 h 1921431"/>
                <a:gd name="connsiteX48" fmla="*/ 521758 w 1921470"/>
                <a:gd name="connsiteY48" fmla="*/ 1387405 h 1921431"/>
                <a:gd name="connsiteX49" fmla="*/ 521879 w 1921470"/>
                <a:gd name="connsiteY49" fmla="*/ 1387283 h 1921431"/>
                <a:gd name="connsiteX50" fmla="*/ 534223 w 1921470"/>
                <a:gd name="connsiteY50" fmla="*/ 1387195 h 1921431"/>
                <a:gd name="connsiteX51" fmla="*/ 534311 w 1921470"/>
                <a:gd name="connsiteY51" fmla="*/ 1399539 h 1921431"/>
                <a:gd name="connsiteX52" fmla="*/ 534188 w 1921470"/>
                <a:gd name="connsiteY52" fmla="*/ 1399662 h 1921431"/>
                <a:gd name="connsiteX53" fmla="*/ 527973 w 1921470"/>
                <a:gd name="connsiteY53" fmla="*/ 1402263 h 1921431"/>
                <a:gd name="connsiteX54" fmla="*/ 614501 w 1921470"/>
                <a:gd name="connsiteY54" fmla="*/ 1315717 h 1921431"/>
                <a:gd name="connsiteX55" fmla="*/ 608373 w 1921470"/>
                <a:gd name="connsiteY55" fmla="*/ 1313203 h 1921431"/>
                <a:gd name="connsiteX56" fmla="*/ 608285 w 1921470"/>
                <a:gd name="connsiteY56" fmla="*/ 1300859 h 1921431"/>
                <a:gd name="connsiteX57" fmla="*/ 608408 w 1921470"/>
                <a:gd name="connsiteY57" fmla="*/ 1300737 h 1921431"/>
                <a:gd name="connsiteX58" fmla="*/ 620752 w 1921470"/>
                <a:gd name="connsiteY58" fmla="*/ 1300650 h 1921431"/>
                <a:gd name="connsiteX59" fmla="*/ 620839 w 1921470"/>
                <a:gd name="connsiteY59" fmla="*/ 1312994 h 1921431"/>
                <a:gd name="connsiteX60" fmla="*/ 620717 w 1921470"/>
                <a:gd name="connsiteY60" fmla="*/ 1313116 h 1921431"/>
                <a:gd name="connsiteX61" fmla="*/ 614501 w 1921470"/>
                <a:gd name="connsiteY61" fmla="*/ 1315717 h 1921431"/>
                <a:gd name="connsiteX62" fmla="*/ 701047 w 1921470"/>
                <a:gd name="connsiteY62" fmla="*/ 1229189 h 1921431"/>
                <a:gd name="connsiteX63" fmla="*/ 694831 w 1921470"/>
                <a:gd name="connsiteY63" fmla="*/ 1226588 h 1921431"/>
                <a:gd name="connsiteX64" fmla="*/ 694918 w 1921470"/>
                <a:gd name="connsiteY64" fmla="*/ 1214244 h 1921431"/>
                <a:gd name="connsiteX65" fmla="*/ 695041 w 1921470"/>
                <a:gd name="connsiteY65" fmla="*/ 1214122 h 1921431"/>
                <a:gd name="connsiteX66" fmla="*/ 707384 w 1921470"/>
                <a:gd name="connsiteY66" fmla="*/ 1214209 h 1921431"/>
                <a:gd name="connsiteX67" fmla="*/ 707297 w 1921470"/>
                <a:gd name="connsiteY67" fmla="*/ 1226553 h 1921431"/>
                <a:gd name="connsiteX68" fmla="*/ 707175 w 1921470"/>
                <a:gd name="connsiteY68" fmla="*/ 1226675 h 1921431"/>
                <a:gd name="connsiteX69" fmla="*/ 701047 w 1921470"/>
                <a:gd name="connsiteY69" fmla="*/ 1229189 h 1921431"/>
                <a:gd name="connsiteX70" fmla="*/ 787592 w 1921470"/>
                <a:gd name="connsiteY70" fmla="*/ 1142644 h 1921431"/>
                <a:gd name="connsiteX71" fmla="*/ 781377 w 1921470"/>
                <a:gd name="connsiteY71" fmla="*/ 1140042 h 1921431"/>
                <a:gd name="connsiteX72" fmla="*/ 781464 w 1921470"/>
                <a:gd name="connsiteY72" fmla="*/ 1127699 h 1921431"/>
                <a:gd name="connsiteX73" fmla="*/ 781586 w 1921470"/>
                <a:gd name="connsiteY73" fmla="*/ 1127576 h 1921431"/>
                <a:gd name="connsiteX74" fmla="*/ 793930 w 1921470"/>
                <a:gd name="connsiteY74" fmla="*/ 1127664 h 1921431"/>
                <a:gd name="connsiteX75" fmla="*/ 793843 w 1921470"/>
                <a:gd name="connsiteY75" fmla="*/ 1140007 h 1921431"/>
                <a:gd name="connsiteX76" fmla="*/ 793721 w 1921470"/>
                <a:gd name="connsiteY76" fmla="*/ 1140129 h 1921431"/>
                <a:gd name="connsiteX77" fmla="*/ 787592 w 1921470"/>
                <a:gd name="connsiteY77" fmla="*/ 1142644 h 1921431"/>
                <a:gd name="connsiteX78" fmla="*/ 874173 w 1921470"/>
                <a:gd name="connsiteY78" fmla="*/ 1056011 h 1921431"/>
                <a:gd name="connsiteX79" fmla="*/ 868027 w 1921470"/>
                <a:gd name="connsiteY79" fmla="*/ 1053479 h 1921431"/>
                <a:gd name="connsiteX80" fmla="*/ 867957 w 1921470"/>
                <a:gd name="connsiteY80" fmla="*/ 1041188 h 1921431"/>
                <a:gd name="connsiteX81" fmla="*/ 868079 w 1921470"/>
                <a:gd name="connsiteY81" fmla="*/ 1041065 h 1921431"/>
                <a:gd name="connsiteX82" fmla="*/ 880423 w 1921470"/>
                <a:gd name="connsiteY82" fmla="*/ 1041065 h 1921431"/>
                <a:gd name="connsiteX83" fmla="*/ 880423 w 1921470"/>
                <a:gd name="connsiteY83" fmla="*/ 1053409 h 1921431"/>
                <a:gd name="connsiteX84" fmla="*/ 874155 w 1921470"/>
                <a:gd name="connsiteY84" fmla="*/ 1055993 h 1921431"/>
                <a:gd name="connsiteX85" fmla="*/ 960683 w 1921470"/>
                <a:gd name="connsiteY85" fmla="*/ 969552 h 1921431"/>
                <a:gd name="connsiteX86" fmla="*/ 954555 w 1921470"/>
                <a:gd name="connsiteY86" fmla="*/ 967038 h 1921431"/>
                <a:gd name="connsiteX87" fmla="*/ 954468 w 1921470"/>
                <a:gd name="connsiteY87" fmla="*/ 954694 h 1921431"/>
                <a:gd name="connsiteX88" fmla="*/ 954590 w 1921470"/>
                <a:gd name="connsiteY88" fmla="*/ 954573 h 1921431"/>
                <a:gd name="connsiteX89" fmla="*/ 966934 w 1921470"/>
                <a:gd name="connsiteY89" fmla="*/ 954485 h 1921431"/>
                <a:gd name="connsiteX90" fmla="*/ 967021 w 1921470"/>
                <a:gd name="connsiteY90" fmla="*/ 966829 h 1921431"/>
                <a:gd name="connsiteX91" fmla="*/ 966899 w 1921470"/>
                <a:gd name="connsiteY91" fmla="*/ 966951 h 1921431"/>
                <a:gd name="connsiteX92" fmla="*/ 960683 w 1921470"/>
                <a:gd name="connsiteY92" fmla="*/ 969552 h 1921431"/>
                <a:gd name="connsiteX93" fmla="*/ 1047229 w 1921470"/>
                <a:gd name="connsiteY93" fmla="*/ 883007 h 1921431"/>
                <a:gd name="connsiteX94" fmla="*/ 1041101 w 1921470"/>
                <a:gd name="connsiteY94" fmla="*/ 880493 h 1921431"/>
                <a:gd name="connsiteX95" fmla="*/ 1041013 w 1921470"/>
                <a:gd name="connsiteY95" fmla="*/ 868149 h 1921431"/>
                <a:gd name="connsiteX96" fmla="*/ 1041136 w 1921470"/>
                <a:gd name="connsiteY96" fmla="*/ 868027 h 1921431"/>
                <a:gd name="connsiteX97" fmla="*/ 1053479 w 1921470"/>
                <a:gd name="connsiteY97" fmla="*/ 867939 h 1921431"/>
                <a:gd name="connsiteX98" fmla="*/ 1053567 w 1921470"/>
                <a:gd name="connsiteY98" fmla="*/ 880283 h 1921431"/>
                <a:gd name="connsiteX99" fmla="*/ 1053445 w 1921470"/>
                <a:gd name="connsiteY99" fmla="*/ 880405 h 1921431"/>
                <a:gd name="connsiteX100" fmla="*/ 1047229 w 1921470"/>
                <a:gd name="connsiteY100" fmla="*/ 883007 h 1921431"/>
                <a:gd name="connsiteX101" fmla="*/ 1133792 w 1921470"/>
                <a:gd name="connsiteY101" fmla="*/ 796374 h 1921431"/>
                <a:gd name="connsiteX102" fmla="*/ 1127647 w 1921470"/>
                <a:gd name="connsiteY102" fmla="*/ 793842 h 1921431"/>
                <a:gd name="connsiteX103" fmla="*/ 1127577 w 1921470"/>
                <a:gd name="connsiteY103" fmla="*/ 781551 h 1921431"/>
                <a:gd name="connsiteX104" fmla="*/ 1127699 w 1921470"/>
                <a:gd name="connsiteY104" fmla="*/ 781429 h 1921431"/>
                <a:gd name="connsiteX105" fmla="*/ 1140042 w 1921470"/>
                <a:gd name="connsiteY105" fmla="*/ 781429 h 1921431"/>
                <a:gd name="connsiteX106" fmla="*/ 1140042 w 1921470"/>
                <a:gd name="connsiteY106" fmla="*/ 793773 h 1921431"/>
                <a:gd name="connsiteX107" fmla="*/ 1133774 w 1921470"/>
                <a:gd name="connsiteY107" fmla="*/ 796356 h 1921431"/>
                <a:gd name="connsiteX108" fmla="*/ 1220303 w 1921470"/>
                <a:gd name="connsiteY108" fmla="*/ 709933 h 1921431"/>
                <a:gd name="connsiteX109" fmla="*/ 1214087 w 1921470"/>
                <a:gd name="connsiteY109" fmla="*/ 707332 h 1921431"/>
                <a:gd name="connsiteX110" fmla="*/ 1214174 w 1921470"/>
                <a:gd name="connsiteY110" fmla="*/ 694988 h 1921431"/>
                <a:gd name="connsiteX111" fmla="*/ 1214297 w 1921470"/>
                <a:gd name="connsiteY111" fmla="*/ 694866 h 1921431"/>
                <a:gd name="connsiteX112" fmla="*/ 1226641 w 1921470"/>
                <a:gd name="connsiteY112" fmla="*/ 694953 h 1921431"/>
                <a:gd name="connsiteX113" fmla="*/ 1226553 w 1921470"/>
                <a:gd name="connsiteY113" fmla="*/ 707297 h 1921431"/>
                <a:gd name="connsiteX114" fmla="*/ 1226431 w 1921470"/>
                <a:gd name="connsiteY114" fmla="*/ 707419 h 1921431"/>
                <a:gd name="connsiteX115" fmla="*/ 1220303 w 1921470"/>
                <a:gd name="connsiteY115" fmla="*/ 709933 h 1921431"/>
                <a:gd name="connsiteX116" fmla="*/ 1306848 w 1921470"/>
                <a:gd name="connsiteY116" fmla="*/ 623387 h 1921431"/>
                <a:gd name="connsiteX117" fmla="*/ 1300633 w 1921470"/>
                <a:gd name="connsiteY117" fmla="*/ 620786 h 1921431"/>
                <a:gd name="connsiteX118" fmla="*/ 1300720 w 1921470"/>
                <a:gd name="connsiteY118" fmla="*/ 608443 h 1921431"/>
                <a:gd name="connsiteX119" fmla="*/ 1300842 w 1921470"/>
                <a:gd name="connsiteY119" fmla="*/ 608320 h 1921431"/>
                <a:gd name="connsiteX120" fmla="*/ 1313186 w 1921470"/>
                <a:gd name="connsiteY120" fmla="*/ 608408 h 1921431"/>
                <a:gd name="connsiteX121" fmla="*/ 1313099 w 1921470"/>
                <a:gd name="connsiteY121" fmla="*/ 620751 h 1921431"/>
                <a:gd name="connsiteX122" fmla="*/ 1312977 w 1921470"/>
                <a:gd name="connsiteY122" fmla="*/ 620873 h 1921431"/>
                <a:gd name="connsiteX123" fmla="*/ 1306848 w 1921470"/>
                <a:gd name="connsiteY123" fmla="*/ 623387 h 1921431"/>
                <a:gd name="connsiteX124" fmla="*/ 1393394 w 1921470"/>
                <a:gd name="connsiteY124" fmla="*/ 536842 h 1921431"/>
                <a:gd name="connsiteX125" fmla="*/ 1387266 w 1921470"/>
                <a:gd name="connsiteY125" fmla="*/ 534328 h 1921431"/>
                <a:gd name="connsiteX126" fmla="*/ 1387178 w 1921470"/>
                <a:gd name="connsiteY126" fmla="*/ 521984 h 1921431"/>
                <a:gd name="connsiteX127" fmla="*/ 1387301 w 1921470"/>
                <a:gd name="connsiteY127" fmla="*/ 521862 h 1921431"/>
                <a:gd name="connsiteX128" fmla="*/ 1399644 w 1921470"/>
                <a:gd name="connsiteY128" fmla="*/ 521775 h 1921431"/>
                <a:gd name="connsiteX129" fmla="*/ 1399732 w 1921470"/>
                <a:gd name="connsiteY129" fmla="*/ 534118 h 1921431"/>
                <a:gd name="connsiteX130" fmla="*/ 1399609 w 1921470"/>
                <a:gd name="connsiteY130" fmla="*/ 534241 h 1921431"/>
                <a:gd name="connsiteX131" fmla="*/ 1393394 w 1921470"/>
                <a:gd name="connsiteY131" fmla="*/ 536842 h 1921431"/>
                <a:gd name="connsiteX132" fmla="*/ 1479939 w 1921470"/>
                <a:gd name="connsiteY132" fmla="*/ 450296 h 1921431"/>
                <a:gd name="connsiteX133" fmla="*/ 1473812 w 1921470"/>
                <a:gd name="connsiteY133" fmla="*/ 447782 h 1921431"/>
                <a:gd name="connsiteX134" fmla="*/ 1473724 w 1921470"/>
                <a:gd name="connsiteY134" fmla="*/ 435439 h 1921431"/>
                <a:gd name="connsiteX135" fmla="*/ 1473846 w 1921470"/>
                <a:gd name="connsiteY135" fmla="*/ 435316 h 1921431"/>
                <a:gd name="connsiteX136" fmla="*/ 1486190 w 1921470"/>
                <a:gd name="connsiteY136" fmla="*/ 435229 h 1921431"/>
                <a:gd name="connsiteX137" fmla="*/ 1486277 w 1921470"/>
                <a:gd name="connsiteY137" fmla="*/ 447573 h 1921431"/>
                <a:gd name="connsiteX138" fmla="*/ 1486155 w 1921470"/>
                <a:gd name="connsiteY138" fmla="*/ 447695 h 1921431"/>
                <a:gd name="connsiteX139" fmla="*/ 1479939 w 1921470"/>
                <a:gd name="connsiteY139" fmla="*/ 450296 h 1921431"/>
                <a:gd name="connsiteX140" fmla="*/ 1566502 w 1921470"/>
                <a:gd name="connsiteY140" fmla="*/ 363663 h 1921431"/>
                <a:gd name="connsiteX141" fmla="*/ 1560357 w 1921470"/>
                <a:gd name="connsiteY141" fmla="*/ 361132 h 1921431"/>
                <a:gd name="connsiteX142" fmla="*/ 1560287 w 1921470"/>
                <a:gd name="connsiteY142" fmla="*/ 348840 h 1921431"/>
                <a:gd name="connsiteX143" fmla="*/ 1560410 w 1921470"/>
                <a:gd name="connsiteY143" fmla="*/ 348718 h 1921431"/>
                <a:gd name="connsiteX144" fmla="*/ 1572753 w 1921470"/>
                <a:gd name="connsiteY144" fmla="*/ 348718 h 1921431"/>
                <a:gd name="connsiteX145" fmla="*/ 1572753 w 1921470"/>
                <a:gd name="connsiteY145" fmla="*/ 361062 h 1921431"/>
                <a:gd name="connsiteX146" fmla="*/ 1566485 w 1921470"/>
                <a:gd name="connsiteY146" fmla="*/ 363646 h 1921431"/>
                <a:gd name="connsiteX147" fmla="*/ 1653013 w 1921470"/>
                <a:gd name="connsiteY147" fmla="*/ 277223 h 1921431"/>
                <a:gd name="connsiteX148" fmla="*/ 1646798 w 1921470"/>
                <a:gd name="connsiteY148" fmla="*/ 274621 h 1921431"/>
                <a:gd name="connsiteX149" fmla="*/ 1646885 w 1921470"/>
                <a:gd name="connsiteY149" fmla="*/ 262277 h 1921431"/>
                <a:gd name="connsiteX150" fmla="*/ 1647007 w 1921470"/>
                <a:gd name="connsiteY150" fmla="*/ 262155 h 1921431"/>
                <a:gd name="connsiteX151" fmla="*/ 1659351 w 1921470"/>
                <a:gd name="connsiteY151" fmla="*/ 262242 h 1921431"/>
                <a:gd name="connsiteX152" fmla="*/ 1659263 w 1921470"/>
                <a:gd name="connsiteY152" fmla="*/ 274586 h 1921431"/>
                <a:gd name="connsiteX153" fmla="*/ 1659141 w 1921470"/>
                <a:gd name="connsiteY153" fmla="*/ 274708 h 1921431"/>
                <a:gd name="connsiteX154" fmla="*/ 1653013 w 1921470"/>
                <a:gd name="connsiteY154" fmla="*/ 277223 h 1921431"/>
                <a:gd name="connsiteX155" fmla="*/ 1739559 w 1921470"/>
                <a:gd name="connsiteY155" fmla="*/ 190677 h 1921431"/>
                <a:gd name="connsiteX156" fmla="*/ 1733378 w 1921470"/>
                <a:gd name="connsiteY156" fmla="*/ 188128 h 1921431"/>
                <a:gd name="connsiteX157" fmla="*/ 1733378 w 1921470"/>
                <a:gd name="connsiteY157" fmla="*/ 175784 h 1921431"/>
                <a:gd name="connsiteX158" fmla="*/ 1733500 w 1921470"/>
                <a:gd name="connsiteY158" fmla="*/ 175662 h 1921431"/>
                <a:gd name="connsiteX159" fmla="*/ 1745844 w 1921470"/>
                <a:gd name="connsiteY159" fmla="*/ 175662 h 1921431"/>
                <a:gd name="connsiteX160" fmla="*/ 1745844 w 1921470"/>
                <a:gd name="connsiteY160" fmla="*/ 188006 h 1921431"/>
                <a:gd name="connsiteX161" fmla="*/ 1745722 w 1921470"/>
                <a:gd name="connsiteY161" fmla="*/ 188128 h 1921431"/>
                <a:gd name="connsiteX162" fmla="*/ 1739541 w 1921470"/>
                <a:gd name="connsiteY162" fmla="*/ 190677 h 1921431"/>
                <a:gd name="connsiteX163" fmla="*/ 1826104 w 1921470"/>
                <a:gd name="connsiteY163" fmla="*/ 104131 h 1921431"/>
                <a:gd name="connsiteX164" fmla="*/ 1819976 w 1921470"/>
                <a:gd name="connsiteY164" fmla="*/ 101617 h 1921431"/>
                <a:gd name="connsiteX165" fmla="*/ 1819889 w 1921470"/>
                <a:gd name="connsiteY165" fmla="*/ 89274 h 1921431"/>
                <a:gd name="connsiteX166" fmla="*/ 1820011 w 1921470"/>
                <a:gd name="connsiteY166" fmla="*/ 89151 h 1921431"/>
                <a:gd name="connsiteX167" fmla="*/ 1832355 w 1921470"/>
                <a:gd name="connsiteY167" fmla="*/ 89064 h 1921431"/>
                <a:gd name="connsiteX168" fmla="*/ 1832442 w 1921470"/>
                <a:gd name="connsiteY168" fmla="*/ 101408 h 1921431"/>
                <a:gd name="connsiteX169" fmla="*/ 1832320 w 1921470"/>
                <a:gd name="connsiteY169" fmla="*/ 101530 h 1921431"/>
                <a:gd name="connsiteX170" fmla="*/ 1826104 w 1921470"/>
                <a:gd name="connsiteY170" fmla="*/ 104131 h 1921431"/>
                <a:gd name="connsiteX171" fmla="*/ 1912667 w 1921470"/>
                <a:gd name="connsiteY171" fmla="*/ 17499 h 1921431"/>
                <a:gd name="connsiteX172" fmla="*/ 1906522 w 1921470"/>
                <a:gd name="connsiteY172" fmla="*/ 14967 h 1921431"/>
                <a:gd name="connsiteX173" fmla="*/ 1906452 w 1921470"/>
                <a:gd name="connsiteY173" fmla="*/ 2676 h 1921431"/>
                <a:gd name="connsiteX174" fmla="*/ 1906574 w 1921470"/>
                <a:gd name="connsiteY174" fmla="*/ 2553 h 1921431"/>
                <a:gd name="connsiteX175" fmla="*/ 1918918 w 1921470"/>
                <a:gd name="connsiteY175" fmla="*/ 2553 h 1921431"/>
                <a:gd name="connsiteX176" fmla="*/ 1918918 w 1921470"/>
                <a:gd name="connsiteY176" fmla="*/ 14897 h 1921431"/>
                <a:gd name="connsiteX177" fmla="*/ 1912650 w 1921470"/>
                <a:gd name="connsiteY177" fmla="*/ 17481 h 192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921470" h="1921431">
                  <a:moveTo>
                    <a:pt x="8734" y="1921431"/>
                  </a:moveTo>
                  <a:cubicBezTo>
                    <a:pt x="6499" y="1921431"/>
                    <a:pt x="4282" y="1920593"/>
                    <a:pt x="2589" y="1918900"/>
                  </a:cubicBezTo>
                  <a:cubicBezTo>
                    <a:pt x="-816" y="1915496"/>
                    <a:pt x="-886" y="1910031"/>
                    <a:pt x="2519" y="1906609"/>
                  </a:cubicBezTo>
                  <a:lnTo>
                    <a:pt x="2641" y="1906487"/>
                  </a:lnTo>
                  <a:cubicBezTo>
                    <a:pt x="6045" y="1903082"/>
                    <a:pt x="11580" y="1903082"/>
                    <a:pt x="14985" y="1906487"/>
                  </a:cubicBezTo>
                  <a:cubicBezTo>
                    <a:pt x="18389" y="1909891"/>
                    <a:pt x="18389" y="1915426"/>
                    <a:pt x="14985" y="1918830"/>
                  </a:cubicBezTo>
                  <a:cubicBezTo>
                    <a:pt x="13274" y="1920559"/>
                    <a:pt x="10987" y="1921414"/>
                    <a:pt x="8717" y="1921414"/>
                  </a:cubicBezTo>
                  <a:close/>
                  <a:moveTo>
                    <a:pt x="95263" y="1834974"/>
                  </a:moveTo>
                  <a:cubicBezTo>
                    <a:pt x="93045" y="1834974"/>
                    <a:pt x="90828" y="1834135"/>
                    <a:pt x="89134" y="1832459"/>
                  </a:cubicBezTo>
                  <a:cubicBezTo>
                    <a:pt x="85695" y="1829072"/>
                    <a:pt x="85660" y="1823555"/>
                    <a:pt x="89047" y="1820116"/>
                  </a:cubicBezTo>
                  <a:lnTo>
                    <a:pt x="89169" y="1819993"/>
                  </a:lnTo>
                  <a:cubicBezTo>
                    <a:pt x="92556" y="1816554"/>
                    <a:pt x="98091" y="1816519"/>
                    <a:pt x="101513" y="1819906"/>
                  </a:cubicBezTo>
                  <a:cubicBezTo>
                    <a:pt x="104952" y="1823293"/>
                    <a:pt x="104987" y="1828810"/>
                    <a:pt x="101600" y="1832250"/>
                  </a:cubicBezTo>
                  <a:lnTo>
                    <a:pt x="101478" y="1832372"/>
                  </a:lnTo>
                  <a:cubicBezTo>
                    <a:pt x="99767" y="1834101"/>
                    <a:pt x="97515" y="1834974"/>
                    <a:pt x="95263" y="1834974"/>
                  </a:cubicBezTo>
                  <a:close/>
                  <a:moveTo>
                    <a:pt x="181791" y="1748428"/>
                  </a:moveTo>
                  <a:cubicBezTo>
                    <a:pt x="179573" y="1748428"/>
                    <a:pt x="177356" y="1747590"/>
                    <a:pt x="175663" y="1745914"/>
                  </a:cubicBezTo>
                  <a:cubicBezTo>
                    <a:pt x="172223" y="1742526"/>
                    <a:pt x="172188" y="1737009"/>
                    <a:pt x="175575" y="1733570"/>
                  </a:cubicBezTo>
                  <a:lnTo>
                    <a:pt x="175697" y="1733448"/>
                  </a:lnTo>
                  <a:cubicBezTo>
                    <a:pt x="179084" y="1730008"/>
                    <a:pt x="184619" y="1729973"/>
                    <a:pt x="188041" y="1733360"/>
                  </a:cubicBezTo>
                  <a:cubicBezTo>
                    <a:pt x="191480" y="1736748"/>
                    <a:pt x="191515" y="1742265"/>
                    <a:pt x="188128" y="1745704"/>
                  </a:cubicBezTo>
                  <a:lnTo>
                    <a:pt x="188006" y="1745826"/>
                  </a:lnTo>
                  <a:cubicBezTo>
                    <a:pt x="186295" y="1747555"/>
                    <a:pt x="184043" y="1748428"/>
                    <a:pt x="181791" y="1748428"/>
                  </a:cubicBezTo>
                  <a:close/>
                  <a:moveTo>
                    <a:pt x="268336" y="1661900"/>
                  </a:moveTo>
                  <a:cubicBezTo>
                    <a:pt x="266084" y="1661900"/>
                    <a:pt x="263832" y="1661027"/>
                    <a:pt x="262120" y="1659298"/>
                  </a:cubicBezTo>
                  <a:cubicBezTo>
                    <a:pt x="258733" y="1655859"/>
                    <a:pt x="258768" y="1650342"/>
                    <a:pt x="262208" y="1646954"/>
                  </a:cubicBezTo>
                  <a:lnTo>
                    <a:pt x="262330" y="1646833"/>
                  </a:lnTo>
                  <a:cubicBezTo>
                    <a:pt x="265752" y="1643445"/>
                    <a:pt x="271287" y="1643480"/>
                    <a:pt x="274674" y="1646919"/>
                  </a:cubicBezTo>
                  <a:cubicBezTo>
                    <a:pt x="278061" y="1650359"/>
                    <a:pt x="278026" y="1655876"/>
                    <a:pt x="274587" y="1659263"/>
                  </a:cubicBezTo>
                  <a:lnTo>
                    <a:pt x="274464" y="1659386"/>
                  </a:lnTo>
                  <a:cubicBezTo>
                    <a:pt x="272771" y="1661062"/>
                    <a:pt x="270553" y="1661900"/>
                    <a:pt x="268336" y="1661900"/>
                  </a:cubicBezTo>
                  <a:close/>
                  <a:moveTo>
                    <a:pt x="354882" y="1575354"/>
                  </a:moveTo>
                  <a:cubicBezTo>
                    <a:pt x="352629" y="1575354"/>
                    <a:pt x="350377" y="1574481"/>
                    <a:pt x="348666" y="1572753"/>
                  </a:cubicBezTo>
                  <a:cubicBezTo>
                    <a:pt x="345279" y="1569313"/>
                    <a:pt x="345314" y="1563796"/>
                    <a:pt x="348754" y="1560409"/>
                  </a:cubicBezTo>
                  <a:lnTo>
                    <a:pt x="348876" y="1560287"/>
                  </a:lnTo>
                  <a:cubicBezTo>
                    <a:pt x="352298" y="1556900"/>
                    <a:pt x="357832" y="1556935"/>
                    <a:pt x="361219" y="1560374"/>
                  </a:cubicBezTo>
                  <a:cubicBezTo>
                    <a:pt x="364607" y="1563814"/>
                    <a:pt x="364572" y="1569331"/>
                    <a:pt x="361132" y="1572718"/>
                  </a:cubicBezTo>
                  <a:lnTo>
                    <a:pt x="361010" y="1572840"/>
                  </a:lnTo>
                  <a:cubicBezTo>
                    <a:pt x="359316" y="1574516"/>
                    <a:pt x="357099" y="1575354"/>
                    <a:pt x="354882" y="1575354"/>
                  </a:cubicBezTo>
                  <a:close/>
                  <a:moveTo>
                    <a:pt x="441462" y="1488721"/>
                  </a:moveTo>
                  <a:cubicBezTo>
                    <a:pt x="439228" y="1488721"/>
                    <a:pt x="437010" y="1487883"/>
                    <a:pt x="435317" y="1486190"/>
                  </a:cubicBezTo>
                  <a:cubicBezTo>
                    <a:pt x="431912" y="1482785"/>
                    <a:pt x="431842" y="1477320"/>
                    <a:pt x="435247" y="1473898"/>
                  </a:cubicBezTo>
                  <a:lnTo>
                    <a:pt x="435369" y="1473776"/>
                  </a:lnTo>
                  <a:cubicBezTo>
                    <a:pt x="438774" y="1470372"/>
                    <a:pt x="444308" y="1470372"/>
                    <a:pt x="447713" y="1473776"/>
                  </a:cubicBezTo>
                  <a:cubicBezTo>
                    <a:pt x="451117" y="1477181"/>
                    <a:pt x="451117" y="1482715"/>
                    <a:pt x="447713" y="1486120"/>
                  </a:cubicBezTo>
                  <a:cubicBezTo>
                    <a:pt x="446002" y="1487848"/>
                    <a:pt x="443714" y="1488704"/>
                    <a:pt x="441445" y="1488704"/>
                  </a:cubicBezTo>
                  <a:close/>
                  <a:moveTo>
                    <a:pt x="527973" y="1402263"/>
                  </a:moveTo>
                  <a:cubicBezTo>
                    <a:pt x="525755" y="1402263"/>
                    <a:pt x="523538" y="1401425"/>
                    <a:pt x="521845" y="1399749"/>
                  </a:cubicBezTo>
                  <a:cubicBezTo>
                    <a:pt x="518405" y="1396362"/>
                    <a:pt x="518370" y="1390845"/>
                    <a:pt x="521758" y="1387405"/>
                  </a:cubicBezTo>
                  <a:lnTo>
                    <a:pt x="521879" y="1387283"/>
                  </a:lnTo>
                  <a:cubicBezTo>
                    <a:pt x="525267" y="1383843"/>
                    <a:pt x="530801" y="1383808"/>
                    <a:pt x="534223" y="1387195"/>
                  </a:cubicBezTo>
                  <a:cubicBezTo>
                    <a:pt x="537663" y="1390583"/>
                    <a:pt x="537698" y="1396100"/>
                    <a:pt x="534311" y="1399539"/>
                  </a:cubicBezTo>
                  <a:lnTo>
                    <a:pt x="534188" y="1399662"/>
                  </a:lnTo>
                  <a:cubicBezTo>
                    <a:pt x="532477" y="1401390"/>
                    <a:pt x="530225" y="1402263"/>
                    <a:pt x="527973" y="1402263"/>
                  </a:cubicBezTo>
                  <a:close/>
                  <a:moveTo>
                    <a:pt x="614501" y="1315717"/>
                  </a:moveTo>
                  <a:cubicBezTo>
                    <a:pt x="612284" y="1315717"/>
                    <a:pt x="610066" y="1314879"/>
                    <a:pt x="608373" y="1313203"/>
                  </a:cubicBezTo>
                  <a:cubicBezTo>
                    <a:pt x="604933" y="1309816"/>
                    <a:pt x="604898" y="1304299"/>
                    <a:pt x="608285" y="1300859"/>
                  </a:cubicBezTo>
                  <a:lnTo>
                    <a:pt x="608408" y="1300737"/>
                  </a:lnTo>
                  <a:cubicBezTo>
                    <a:pt x="611795" y="1297298"/>
                    <a:pt x="617330" y="1297263"/>
                    <a:pt x="620752" y="1300650"/>
                  </a:cubicBezTo>
                  <a:cubicBezTo>
                    <a:pt x="624191" y="1304037"/>
                    <a:pt x="624226" y="1309554"/>
                    <a:pt x="620839" y="1312994"/>
                  </a:cubicBezTo>
                  <a:lnTo>
                    <a:pt x="620717" y="1313116"/>
                  </a:lnTo>
                  <a:cubicBezTo>
                    <a:pt x="619006" y="1314844"/>
                    <a:pt x="616753" y="1315717"/>
                    <a:pt x="614501" y="1315717"/>
                  </a:cubicBezTo>
                  <a:close/>
                  <a:moveTo>
                    <a:pt x="701047" y="1229189"/>
                  </a:moveTo>
                  <a:cubicBezTo>
                    <a:pt x="698794" y="1229189"/>
                    <a:pt x="696542" y="1228316"/>
                    <a:pt x="694831" y="1226588"/>
                  </a:cubicBezTo>
                  <a:cubicBezTo>
                    <a:pt x="691444" y="1223148"/>
                    <a:pt x="691479" y="1217631"/>
                    <a:pt x="694918" y="1214244"/>
                  </a:cubicBezTo>
                  <a:lnTo>
                    <a:pt x="695041" y="1214122"/>
                  </a:lnTo>
                  <a:cubicBezTo>
                    <a:pt x="698463" y="1210735"/>
                    <a:pt x="703997" y="1210770"/>
                    <a:pt x="707384" y="1214209"/>
                  </a:cubicBezTo>
                  <a:cubicBezTo>
                    <a:pt x="710772" y="1217649"/>
                    <a:pt x="710737" y="1223166"/>
                    <a:pt x="707297" y="1226553"/>
                  </a:cubicBezTo>
                  <a:lnTo>
                    <a:pt x="707175" y="1226675"/>
                  </a:lnTo>
                  <a:cubicBezTo>
                    <a:pt x="705481" y="1228351"/>
                    <a:pt x="703264" y="1229189"/>
                    <a:pt x="701047" y="1229189"/>
                  </a:cubicBezTo>
                  <a:close/>
                  <a:moveTo>
                    <a:pt x="787592" y="1142644"/>
                  </a:moveTo>
                  <a:cubicBezTo>
                    <a:pt x="785340" y="1142644"/>
                    <a:pt x="783088" y="1141771"/>
                    <a:pt x="781377" y="1140042"/>
                  </a:cubicBezTo>
                  <a:cubicBezTo>
                    <a:pt x="777990" y="1136603"/>
                    <a:pt x="778025" y="1131086"/>
                    <a:pt x="781464" y="1127699"/>
                  </a:cubicBezTo>
                  <a:lnTo>
                    <a:pt x="781586" y="1127576"/>
                  </a:lnTo>
                  <a:cubicBezTo>
                    <a:pt x="785008" y="1124189"/>
                    <a:pt x="790543" y="1124224"/>
                    <a:pt x="793930" y="1127664"/>
                  </a:cubicBezTo>
                  <a:cubicBezTo>
                    <a:pt x="797317" y="1131103"/>
                    <a:pt x="797282" y="1136620"/>
                    <a:pt x="793843" y="1140007"/>
                  </a:cubicBezTo>
                  <a:lnTo>
                    <a:pt x="793721" y="1140129"/>
                  </a:lnTo>
                  <a:cubicBezTo>
                    <a:pt x="792027" y="1141806"/>
                    <a:pt x="789810" y="1142644"/>
                    <a:pt x="787592" y="1142644"/>
                  </a:cubicBezTo>
                  <a:close/>
                  <a:moveTo>
                    <a:pt x="874173" y="1056011"/>
                  </a:moveTo>
                  <a:cubicBezTo>
                    <a:pt x="871938" y="1056011"/>
                    <a:pt x="869720" y="1055173"/>
                    <a:pt x="868027" y="1053479"/>
                  </a:cubicBezTo>
                  <a:cubicBezTo>
                    <a:pt x="864622" y="1050075"/>
                    <a:pt x="864553" y="1044610"/>
                    <a:pt x="867957" y="1041188"/>
                  </a:cubicBezTo>
                  <a:lnTo>
                    <a:pt x="868079" y="1041065"/>
                  </a:lnTo>
                  <a:cubicBezTo>
                    <a:pt x="871484" y="1037661"/>
                    <a:pt x="877019" y="1037661"/>
                    <a:pt x="880423" y="1041065"/>
                  </a:cubicBezTo>
                  <a:cubicBezTo>
                    <a:pt x="883828" y="1044470"/>
                    <a:pt x="883828" y="1050005"/>
                    <a:pt x="880423" y="1053409"/>
                  </a:cubicBezTo>
                  <a:cubicBezTo>
                    <a:pt x="878712" y="1055138"/>
                    <a:pt x="876425" y="1055993"/>
                    <a:pt x="874155" y="1055993"/>
                  </a:cubicBezTo>
                  <a:close/>
                  <a:moveTo>
                    <a:pt x="960683" y="969552"/>
                  </a:moveTo>
                  <a:cubicBezTo>
                    <a:pt x="958466" y="969552"/>
                    <a:pt x="956249" y="968714"/>
                    <a:pt x="954555" y="967038"/>
                  </a:cubicBezTo>
                  <a:cubicBezTo>
                    <a:pt x="951116" y="963651"/>
                    <a:pt x="951081" y="958134"/>
                    <a:pt x="954468" y="954694"/>
                  </a:cubicBezTo>
                  <a:lnTo>
                    <a:pt x="954590" y="954573"/>
                  </a:lnTo>
                  <a:cubicBezTo>
                    <a:pt x="957977" y="951133"/>
                    <a:pt x="963512" y="951098"/>
                    <a:pt x="966934" y="954485"/>
                  </a:cubicBezTo>
                  <a:cubicBezTo>
                    <a:pt x="970373" y="957872"/>
                    <a:pt x="970408" y="963389"/>
                    <a:pt x="967021" y="966829"/>
                  </a:cubicBezTo>
                  <a:lnTo>
                    <a:pt x="966899" y="966951"/>
                  </a:lnTo>
                  <a:cubicBezTo>
                    <a:pt x="965188" y="968679"/>
                    <a:pt x="962936" y="969552"/>
                    <a:pt x="960683" y="969552"/>
                  </a:cubicBezTo>
                  <a:close/>
                  <a:moveTo>
                    <a:pt x="1047229" y="883007"/>
                  </a:moveTo>
                  <a:cubicBezTo>
                    <a:pt x="1045012" y="883007"/>
                    <a:pt x="1042794" y="882169"/>
                    <a:pt x="1041101" y="880493"/>
                  </a:cubicBezTo>
                  <a:cubicBezTo>
                    <a:pt x="1037661" y="877106"/>
                    <a:pt x="1037626" y="871589"/>
                    <a:pt x="1041013" y="868149"/>
                  </a:cubicBezTo>
                  <a:lnTo>
                    <a:pt x="1041136" y="868027"/>
                  </a:lnTo>
                  <a:cubicBezTo>
                    <a:pt x="1044523" y="864587"/>
                    <a:pt x="1050040" y="864552"/>
                    <a:pt x="1053479" y="867939"/>
                  </a:cubicBezTo>
                  <a:cubicBezTo>
                    <a:pt x="1056919" y="871326"/>
                    <a:pt x="1056954" y="876844"/>
                    <a:pt x="1053567" y="880283"/>
                  </a:cubicBezTo>
                  <a:lnTo>
                    <a:pt x="1053445" y="880405"/>
                  </a:lnTo>
                  <a:cubicBezTo>
                    <a:pt x="1051733" y="882134"/>
                    <a:pt x="1049481" y="883007"/>
                    <a:pt x="1047229" y="883007"/>
                  </a:cubicBezTo>
                  <a:close/>
                  <a:moveTo>
                    <a:pt x="1133792" y="796374"/>
                  </a:moveTo>
                  <a:cubicBezTo>
                    <a:pt x="1131557" y="796374"/>
                    <a:pt x="1129340" y="795536"/>
                    <a:pt x="1127647" y="793842"/>
                  </a:cubicBezTo>
                  <a:cubicBezTo>
                    <a:pt x="1124242" y="790438"/>
                    <a:pt x="1124172" y="784973"/>
                    <a:pt x="1127577" y="781551"/>
                  </a:cubicBezTo>
                  <a:lnTo>
                    <a:pt x="1127699" y="781429"/>
                  </a:lnTo>
                  <a:cubicBezTo>
                    <a:pt x="1131103" y="778024"/>
                    <a:pt x="1136638" y="778024"/>
                    <a:pt x="1140042" y="781429"/>
                  </a:cubicBezTo>
                  <a:cubicBezTo>
                    <a:pt x="1143447" y="784833"/>
                    <a:pt x="1143447" y="790368"/>
                    <a:pt x="1140042" y="793773"/>
                  </a:cubicBezTo>
                  <a:cubicBezTo>
                    <a:pt x="1138331" y="795501"/>
                    <a:pt x="1136044" y="796356"/>
                    <a:pt x="1133774" y="796356"/>
                  </a:cubicBezTo>
                  <a:close/>
                  <a:moveTo>
                    <a:pt x="1220303" y="709933"/>
                  </a:moveTo>
                  <a:cubicBezTo>
                    <a:pt x="1218050" y="709933"/>
                    <a:pt x="1215798" y="709060"/>
                    <a:pt x="1214087" y="707332"/>
                  </a:cubicBezTo>
                  <a:cubicBezTo>
                    <a:pt x="1210700" y="703892"/>
                    <a:pt x="1210735" y="698375"/>
                    <a:pt x="1214174" y="694988"/>
                  </a:cubicBezTo>
                  <a:lnTo>
                    <a:pt x="1214297" y="694866"/>
                  </a:lnTo>
                  <a:cubicBezTo>
                    <a:pt x="1217719" y="691479"/>
                    <a:pt x="1223253" y="691513"/>
                    <a:pt x="1226641" y="694953"/>
                  </a:cubicBezTo>
                  <a:cubicBezTo>
                    <a:pt x="1230028" y="698392"/>
                    <a:pt x="1229993" y="703910"/>
                    <a:pt x="1226553" y="707297"/>
                  </a:cubicBezTo>
                  <a:lnTo>
                    <a:pt x="1226431" y="707419"/>
                  </a:lnTo>
                  <a:cubicBezTo>
                    <a:pt x="1224737" y="709095"/>
                    <a:pt x="1222520" y="709933"/>
                    <a:pt x="1220303" y="709933"/>
                  </a:cubicBezTo>
                  <a:close/>
                  <a:moveTo>
                    <a:pt x="1306848" y="623387"/>
                  </a:moveTo>
                  <a:cubicBezTo>
                    <a:pt x="1304596" y="623387"/>
                    <a:pt x="1302344" y="622514"/>
                    <a:pt x="1300633" y="620786"/>
                  </a:cubicBezTo>
                  <a:cubicBezTo>
                    <a:pt x="1297246" y="617347"/>
                    <a:pt x="1297281" y="611830"/>
                    <a:pt x="1300720" y="608443"/>
                  </a:cubicBezTo>
                  <a:lnTo>
                    <a:pt x="1300842" y="608320"/>
                  </a:lnTo>
                  <a:cubicBezTo>
                    <a:pt x="1304264" y="604933"/>
                    <a:pt x="1309799" y="604968"/>
                    <a:pt x="1313186" y="608408"/>
                  </a:cubicBezTo>
                  <a:cubicBezTo>
                    <a:pt x="1316573" y="611847"/>
                    <a:pt x="1316538" y="617364"/>
                    <a:pt x="1313099" y="620751"/>
                  </a:cubicBezTo>
                  <a:lnTo>
                    <a:pt x="1312977" y="620873"/>
                  </a:lnTo>
                  <a:cubicBezTo>
                    <a:pt x="1311283" y="622549"/>
                    <a:pt x="1309066" y="623387"/>
                    <a:pt x="1306848" y="623387"/>
                  </a:cubicBezTo>
                  <a:close/>
                  <a:moveTo>
                    <a:pt x="1393394" y="536842"/>
                  </a:moveTo>
                  <a:cubicBezTo>
                    <a:pt x="1391177" y="536842"/>
                    <a:pt x="1388959" y="536004"/>
                    <a:pt x="1387266" y="534328"/>
                  </a:cubicBezTo>
                  <a:cubicBezTo>
                    <a:pt x="1383826" y="530941"/>
                    <a:pt x="1383791" y="525424"/>
                    <a:pt x="1387178" y="521984"/>
                  </a:cubicBezTo>
                  <a:lnTo>
                    <a:pt x="1387301" y="521862"/>
                  </a:lnTo>
                  <a:cubicBezTo>
                    <a:pt x="1390688" y="518422"/>
                    <a:pt x="1396222" y="518388"/>
                    <a:pt x="1399644" y="521775"/>
                  </a:cubicBezTo>
                  <a:cubicBezTo>
                    <a:pt x="1403084" y="525162"/>
                    <a:pt x="1403119" y="530679"/>
                    <a:pt x="1399732" y="534118"/>
                  </a:cubicBezTo>
                  <a:lnTo>
                    <a:pt x="1399609" y="534241"/>
                  </a:lnTo>
                  <a:cubicBezTo>
                    <a:pt x="1397898" y="535969"/>
                    <a:pt x="1395646" y="536842"/>
                    <a:pt x="1393394" y="536842"/>
                  </a:cubicBezTo>
                  <a:close/>
                  <a:moveTo>
                    <a:pt x="1479939" y="450296"/>
                  </a:moveTo>
                  <a:cubicBezTo>
                    <a:pt x="1477722" y="450296"/>
                    <a:pt x="1475505" y="449458"/>
                    <a:pt x="1473812" y="447782"/>
                  </a:cubicBezTo>
                  <a:cubicBezTo>
                    <a:pt x="1470372" y="444395"/>
                    <a:pt x="1470337" y="438878"/>
                    <a:pt x="1473724" y="435439"/>
                  </a:cubicBezTo>
                  <a:lnTo>
                    <a:pt x="1473846" y="435316"/>
                  </a:lnTo>
                  <a:cubicBezTo>
                    <a:pt x="1477233" y="431877"/>
                    <a:pt x="1482750" y="431842"/>
                    <a:pt x="1486190" y="435229"/>
                  </a:cubicBezTo>
                  <a:cubicBezTo>
                    <a:pt x="1489630" y="438616"/>
                    <a:pt x="1489665" y="444133"/>
                    <a:pt x="1486277" y="447573"/>
                  </a:cubicBezTo>
                  <a:lnTo>
                    <a:pt x="1486155" y="447695"/>
                  </a:lnTo>
                  <a:cubicBezTo>
                    <a:pt x="1484444" y="449423"/>
                    <a:pt x="1482192" y="450296"/>
                    <a:pt x="1479939" y="450296"/>
                  </a:cubicBezTo>
                  <a:close/>
                  <a:moveTo>
                    <a:pt x="1566502" y="363663"/>
                  </a:moveTo>
                  <a:cubicBezTo>
                    <a:pt x="1564268" y="363663"/>
                    <a:pt x="1562051" y="362825"/>
                    <a:pt x="1560357" y="361132"/>
                  </a:cubicBezTo>
                  <a:cubicBezTo>
                    <a:pt x="1556952" y="357727"/>
                    <a:pt x="1556883" y="352262"/>
                    <a:pt x="1560287" y="348840"/>
                  </a:cubicBezTo>
                  <a:lnTo>
                    <a:pt x="1560410" y="348718"/>
                  </a:lnTo>
                  <a:cubicBezTo>
                    <a:pt x="1563814" y="345314"/>
                    <a:pt x="1569348" y="345314"/>
                    <a:pt x="1572753" y="348718"/>
                  </a:cubicBezTo>
                  <a:cubicBezTo>
                    <a:pt x="1576157" y="352123"/>
                    <a:pt x="1576157" y="357657"/>
                    <a:pt x="1572753" y="361062"/>
                  </a:cubicBezTo>
                  <a:cubicBezTo>
                    <a:pt x="1571042" y="362790"/>
                    <a:pt x="1568755" y="363646"/>
                    <a:pt x="1566485" y="363646"/>
                  </a:cubicBezTo>
                  <a:close/>
                  <a:moveTo>
                    <a:pt x="1653013" y="277223"/>
                  </a:moveTo>
                  <a:cubicBezTo>
                    <a:pt x="1650761" y="277223"/>
                    <a:pt x="1648509" y="276350"/>
                    <a:pt x="1646798" y="274621"/>
                  </a:cubicBezTo>
                  <a:cubicBezTo>
                    <a:pt x="1643410" y="271182"/>
                    <a:pt x="1643445" y="265665"/>
                    <a:pt x="1646885" y="262277"/>
                  </a:cubicBezTo>
                  <a:lnTo>
                    <a:pt x="1647007" y="262155"/>
                  </a:lnTo>
                  <a:cubicBezTo>
                    <a:pt x="1650429" y="258768"/>
                    <a:pt x="1655964" y="258803"/>
                    <a:pt x="1659351" y="262242"/>
                  </a:cubicBezTo>
                  <a:cubicBezTo>
                    <a:pt x="1662738" y="265682"/>
                    <a:pt x="1662703" y="271199"/>
                    <a:pt x="1659263" y="274586"/>
                  </a:cubicBezTo>
                  <a:lnTo>
                    <a:pt x="1659141" y="274708"/>
                  </a:lnTo>
                  <a:cubicBezTo>
                    <a:pt x="1657448" y="276385"/>
                    <a:pt x="1655230" y="277223"/>
                    <a:pt x="1653013" y="277223"/>
                  </a:cubicBezTo>
                  <a:close/>
                  <a:moveTo>
                    <a:pt x="1739559" y="190677"/>
                  </a:moveTo>
                  <a:cubicBezTo>
                    <a:pt x="1737324" y="190677"/>
                    <a:pt x="1735089" y="189821"/>
                    <a:pt x="1733378" y="188128"/>
                  </a:cubicBezTo>
                  <a:cubicBezTo>
                    <a:pt x="1729973" y="184724"/>
                    <a:pt x="1729973" y="179189"/>
                    <a:pt x="1733378" y="175784"/>
                  </a:cubicBezTo>
                  <a:lnTo>
                    <a:pt x="1733500" y="175662"/>
                  </a:lnTo>
                  <a:cubicBezTo>
                    <a:pt x="1736905" y="172258"/>
                    <a:pt x="1742440" y="172258"/>
                    <a:pt x="1745844" y="175662"/>
                  </a:cubicBezTo>
                  <a:cubicBezTo>
                    <a:pt x="1749249" y="179067"/>
                    <a:pt x="1749249" y="184601"/>
                    <a:pt x="1745844" y="188006"/>
                  </a:cubicBezTo>
                  <a:lnTo>
                    <a:pt x="1745722" y="188128"/>
                  </a:lnTo>
                  <a:cubicBezTo>
                    <a:pt x="1744011" y="189839"/>
                    <a:pt x="1741776" y="190677"/>
                    <a:pt x="1739541" y="190677"/>
                  </a:cubicBezTo>
                  <a:close/>
                  <a:moveTo>
                    <a:pt x="1826104" y="104131"/>
                  </a:moveTo>
                  <a:cubicBezTo>
                    <a:pt x="1823887" y="104131"/>
                    <a:pt x="1821670" y="103293"/>
                    <a:pt x="1819976" y="101617"/>
                  </a:cubicBezTo>
                  <a:cubicBezTo>
                    <a:pt x="1816537" y="98230"/>
                    <a:pt x="1816502" y="92713"/>
                    <a:pt x="1819889" y="89274"/>
                  </a:cubicBezTo>
                  <a:lnTo>
                    <a:pt x="1820011" y="89151"/>
                  </a:lnTo>
                  <a:cubicBezTo>
                    <a:pt x="1823398" y="85712"/>
                    <a:pt x="1828933" y="85677"/>
                    <a:pt x="1832355" y="89064"/>
                  </a:cubicBezTo>
                  <a:cubicBezTo>
                    <a:pt x="1835795" y="92451"/>
                    <a:pt x="1835830" y="97968"/>
                    <a:pt x="1832442" y="101408"/>
                  </a:cubicBezTo>
                  <a:lnTo>
                    <a:pt x="1832320" y="101530"/>
                  </a:lnTo>
                  <a:cubicBezTo>
                    <a:pt x="1830609" y="103259"/>
                    <a:pt x="1828357" y="104131"/>
                    <a:pt x="1826104" y="104131"/>
                  </a:cubicBezTo>
                  <a:close/>
                  <a:moveTo>
                    <a:pt x="1912667" y="17499"/>
                  </a:moveTo>
                  <a:cubicBezTo>
                    <a:pt x="1910433" y="17499"/>
                    <a:pt x="1908216" y="16661"/>
                    <a:pt x="1906522" y="14967"/>
                  </a:cubicBezTo>
                  <a:cubicBezTo>
                    <a:pt x="1903117" y="11562"/>
                    <a:pt x="1903048" y="6098"/>
                    <a:pt x="1906452" y="2676"/>
                  </a:cubicBezTo>
                  <a:lnTo>
                    <a:pt x="1906574" y="2553"/>
                  </a:lnTo>
                  <a:cubicBezTo>
                    <a:pt x="1909979" y="-851"/>
                    <a:pt x="1915513" y="-851"/>
                    <a:pt x="1918918" y="2553"/>
                  </a:cubicBezTo>
                  <a:cubicBezTo>
                    <a:pt x="1922322" y="5958"/>
                    <a:pt x="1922322" y="11492"/>
                    <a:pt x="1918918" y="14897"/>
                  </a:cubicBezTo>
                  <a:cubicBezTo>
                    <a:pt x="1917207" y="16626"/>
                    <a:pt x="1914920" y="17481"/>
                    <a:pt x="1912650" y="17481"/>
                  </a:cubicBezTo>
                  <a:close/>
                </a:path>
              </a:pathLst>
            </a:custGeom>
            <a:grpFill/>
            <a:ln w="0"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1BD793B-E66D-A746-14F3-728EBEBE47EE}"/>
                </a:ext>
              </a:extLst>
            </p:cNvPr>
            <p:cNvSpPr/>
            <p:nvPr/>
          </p:nvSpPr>
          <p:spPr>
            <a:xfrm>
              <a:off x="7109631" y="3343920"/>
              <a:ext cx="1836086" cy="1836051"/>
            </a:xfrm>
            <a:custGeom>
              <a:avLst/>
              <a:gdLst>
                <a:gd name="connsiteX0" fmla="*/ 9306 w 1836086"/>
                <a:gd name="connsiteY0" fmla="*/ 1836051 h 1836051"/>
                <a:gd name="connsiteX1" fmla="*/ 2759 w 1836086"/>
                <a:gd name="connsiteY1" fmla="*/ 1833363 h 1836051"/>
                <a:gd name="connsiteX2" fmla="*/ 2689 w 1836086"/>
                <a:gd name="connsiteY2" fmla="*/ 1820251 h 1836051"/>
                <a:gd name="connsiteX3" fmla="*/ 2811 w 1836086"/>
                <a:gd name="connsiteY3" fmla="*/ 1820129 h 1836051"/>
                <a:gd name="connsiteX4" fmla="*/ 15975 w 1836086"/>
                <a:gd name="connsiteY4" fmla="*/ 1820129 h 1836051"/>
                <a:gd name="connsiteX5" fmla="*/ 15975 w 1836086"/>
                <a:gd name="connsiteY5" fmla="*/ 1833293 h 1836051"/>
                <a:gd name="connsiteX6" fmla="*/ 9306 w 1836086"/>
                <a:gd name="connsiteY6" fmla="*/ 1836051 h 1836051"/>
                <a:gd name="connsiteX7" fmla="*/ 95817 w 1836086"/>
                <a:gd name="connsiteY7" fmla="*/ 1749593 h 1836051"/>
                <a:gd name="connsiteX8" fmla="*/ 89234 w 1836086"/>
                <a:gd name="connsiteY8" fmla="*/ 1746870 h 1836051"/>
                <a:gd name="connsiteX9" fmla="*/ 89234 w 1836086"/>
                <a:gd name="connsiteY9" fmla="*/ 1733705 h 1836051"/>
                <a:gd name="connsiteX10" fmla="*/ 89357 w 1836086"/>
                <a:gd name="connsiteY10" fmla="*/ 1733583 h 1836051"/>
                <a:gd name="connsiteX11" fmla="*/ 102521 w 1836086"/>
                <a:gd name="connsiteY11" fmla="*/ 1733583 h 1836051"/>
                <a:gd name="connsiteX12" fmla="*/ 102521 w 1836086"/>
                <a:gd name="connsiteY12" fmla="*/ 1746747 h 1836051"/>
                <a:gd name="connsiteX13" fmla="*/ 102399 w 1836086"/>
                <a:gd name="connsiteY13" fmla="*/ 1746870 h 1836051"/>
                <a:gd name="connsiteX14" fmla="*/ 95817 w 1836086"/>
                <a:gd name="connsiteY14" fmla="*/ 1749593 h 1836051"/>
                <a:gd name="connsiteX15" fmla="*/ 182345 w 1836086"/>
                <a:gd name="connsiteY15" fmla="*/ 1663048 h 1836051"/>
                <a:gd name="connsiteX16" fmla="*/ 175763 w 1836086"/>
                <a:gd name="connsiteY16" fmla="*/ 1660324 h 1836051"/>
                <a:gd name="connsiteX17" fmla="*/ 175763 w 1836086"/>
                <a:gd name="connsiteY17" fmla="*/ 1647160 h 1836051"/>
                <a:gd name="connsiteX18" fmla="*/ 175885 w 1836086"/>
                <a:gd name="connsiteY18" fmla="*/ 1647037 h 1836051"/>
                <a:gd name="connsiteX19" fmla="*/ 189049 w 1836086"/>
                <a:gd name="connsiteY19" fmla="*/ 1647037 h 1836051"/>
                <a:gd name="connsiteX20" fmla="*/ 189049 w 1836086"/>
                <a:gd name="connsiteY20" fmla="*/ 1660202 h 1836051"/>
                <a:gd name="connsiteX21" fmla="*/ 188927 w 1836086"/>
                <a:gd name="connsiteY21" fmla="*/ 1660324 h 1836051"/>
                <a:gd name="connsiteX22" fmla="*/ 182345 w 1836086"/>
                <a:gd name="connsiteY22" fmla="*/ 1663048 h 1836051"/>
                <a:gd name="connsiteX23" fmla="*/ 268925 w 1836086"/>
                <a:gd name="connsiteY23" fmla="*/ 1576415 h 1836051"/>
                <a:gd name="connsiteX24" fmla="*/ 262378 w 1836086"/>
                <a:gd name="connsiteY24" fmla="*/ 1573726 h 1836051"/>
                <a:gd name="connsiteX25" fmla="*/ 262308 w 1836086"/>
                <a:gd name="connsiteY25" fmla="*/ 1560614 h 1836051"/>
                <a:gd name="connsiteX26" fmla="*/ 262430 w 1836086"/>
                <a:gd name="connsiteY26" fmla="*/ 1560492 h 1836051"/>
                <a:gd name="connsiteX27" fmla="*/ 275595 w 1836086"/>
                <a:gd name="connsiteY27" fmla="*/ 1560492 h 1836051"/>
                <a:gd name="connsiteX28" fmla="*/ 275595 w 1836086"/>
                <a:gd name="connsiteY28" fmla="*/ 1573656 h 1836051"/>
                <a:gd name="connsiteX29" fmla="*/ 268925 w 1836086"/>
                <a:gd name="connsiteY29" fmla="*/ 1576415 h 1836051"/>
                <a:gd name="connsiteX30" fmla="*/ 355471 w 1836086"/>
                <a:gd name="connsiteY30" fmla="*/ 1489869 h 1836051"/>
                <a:gd name="connsiteX31" fmla="*/ 348924 w 1836086"/>
                <a:gd name="connsiteY31" fmla="*/ 1487181 h 1836051"/>
                <a:gd name="connsiteX32" fmla="*/ 348854 w 1836086"/>
                <a:gd name="connsiteY32" fmla="*/ 1474069 h 1836051"/>
                <a:gd name="connsiteX33" fmla="*/ 348976 w 1836086"/>
                <a:gd name="connsiteY33" fmla="*/ 1473946 h 1836051"/>
                <a:gd name="connsiteX34" fmla="*/ 362140 w 1836086"/>
                <a:gd name="connsiteY34" fmla="*/ 1473946 h 1836051"/>
                <a:gd name="connsiteX35" fmla="*/ 362140 w 1836086"/>
                <a:gd name="connsiteY35" fmla="*/ 1487111 h 1836051"/>
                <a:gd name="connsiteX36" fmla="*/ 355471 w 1836086"/>
                <a:gd name="connsiteY36" fmla="*/ 1489869 h 1836051"/>
                <a:gd name="connsiteX37" fmla="*/ 442016 w 1836086"/>
                <a:gd name="connsiteY37" fmla="*/ 1403341 h 1836051"/>
                <a:gd name="connsiteX38" fmla="*/ 435469 w 1836086"/>
                <a:gd name="connsiteY38" fmla="*/ 1400652 h 1836051"/>
                <a:gd name="connsiteX39" fmla="*/ 435399 w 1836086"/>
                <a:gd name="connsiteY39" fmla="*/ 1387540 h 1836051"/>
                <a:gd name="connsiteX40" fmla="*/ 435522 w 1836086"/>
                <a:gd name="connsiteY40" fmla="*/ 1387418 h 1836051"/>
                <a:gd name="connsiteX41" fmla="*/ 448686 w 1836086"/>
                <a:gd name="connsiteY41" fmla="*/ 1387418 h 1836051"/>
                <a:gd name="connsiteX42" fmla="*/ 448686 w 1836086"/>
                <a:gd name="connsiteY42" fmla="*/ 1400582 h 1836051"/>
                <a:gd name="connsiteX43" fmla="*/ 442016 w 1836086"/>
                <a:gd name="connsiteY43" fmla="*/ 1403341 h 1836051"/>
                <a:gd name="connsiteX44" fmla="*/ 528527 w 1836086"/>
                <a:gd name="connsiteY44" fmla="*/ 1316883 h 1836051"/>
                <a:gd name="connsiteX45" fmla="*/ 521945 w 1836086"/>
                <a:gd name="connsiteY45" fmla="*/ 1314159 h 1836051"/>
                <a:gd name="connsiteX46" fmla="*/ 521945 w 1836086"/>
                <a:gd name="connsiteY46" fmla="*/ 1300995 h 1836051"/>
                <a:gd name="connsiteX47" fmla="*/ 522067 w 1836086"/>
                <a:gd name="connsiteY47" fmla="*/ 1300873 h 1836051"/>
                <a:gd name="connsiteX48" fmla="*/ 535231 w 1836086"/>
                <a:gd name="connsiteY48" fmla="*/ 1300873 h 1836051"/>
                <a:gd name="connsiteX49" fmla="*/ 535231 w 1836086"/>
                <a:gd name="connsiteY49" fmla="*/ 1314037 h 1836051"/>
                <a:gd name="connsiteX50" fmla="*/ 535109 w 1836086"/>
                <a:gd name="connsiteY50" fmla="*/ 1314159 h 1836051"/>
                <a:gd name="connsiteX51" fmla="*/ 528527 w 1836086"/>
                <a:gd name="connsiteY51" fmla="*/ 1316883 h 1836051"/>
                <a:gd name="connsiteX52" fmla="*/ 615055 w 1836086"/>
                <a:gd name="connsiteY52" fmla="*/ 1230337 h 1836051"/>
                <a:gd name="connsiteX53" fmla="*/ 608473 w 1836086"/>
                <a:gd name="connsiteY53" fmla="*/ 1227613 h 1836051"/>
                <a:gd name="connsiteX54" fmla="*/ 608473 w 1836086"/>
                <a:gd name="connsiteY54" fmla="*/ 1214449 h 1836051"/>
                <a:gd name="connsiteX55" fmla="*/ 608595 w 1836086"/>
                <a:gd name="connsiteY55" fmla="*/ 1214327 h 1836051"/>
                <a:gd name="connsiteX56" fmla="*/ 621760 w 1836086"/>
                <a:gd name="connsiteY56" fmla="*/ 1214327 h 1836051"/>
                <a:gd name="connsiteX57" fmla="*/ 621760 w 1836086"/>
                <a:gd name="connsiteY57" fmla="*/ 1227491 h 1836051"/>
                <a:gd name="connsiteX58" fmla="*/ 621638 w 1836086"/>
                <a:gd name="connsiteY58" fmla="*/ 1227613 h 1836051"/>
                <a:gd name="connsiteX59" fmla="*/ 615055 w 1836086"/>
                <a:gd name="connsiteY59" fmla="*/ 1230337 h 1836051"/>
                <a:gd name="connsiteX60" fmla="*/ 701636 w 1836086"/>
                <a:gd name="connsiteY60" fmla="*/ 1143704 h 1836051"/>
                <a:gd name="connsiteX61" fmla="*/ 695088 w 1836086"/>
                <a:gd name="connsiteY61" fmla="*/ 1141016 h 1836051"/>
                <a:gd name="connsiteX62" fmla="*/ 695019 w 1836086"/>
                <a:gd name="connsiteY62" fmla="*/ 1127904 h 1836051"/>
                <a:gd name="connsiteX63" fmla="*/ 695141 w 1836086"/>
                <a:gd name="connsiteY63" fmla="*/ 1127781 h 1836051"/>
                <a:gd name="connsiteX64" fmla="*/ 708305 w 1836086"/>
                <a:gd name="connsiteY64" fmla="*/ 1127781 h 1836051"/>
                <a:gd name="connsiteX65" fmla="*/ 708305 w 1836086"/>
                <a:gd name="connsiteY65" fmla="*/ 1140946 h 1836051"/>
                <a:gd name="connsiteX66" fmla="*/ 701636 w 1836086"/>
                <a:gd name="connsiteY66" fmla="*/ 1143704 h 1836051"/>
                <a:gd name="connsiteX67" fmla="*/ 788181 w 1836086"/>
                <a:gd name="connsiteY67" fmla="*/ 1057159 h 1836051"/>
                <a:gd name="connsiteX68" fmla="*/ 781634 w 1836086"/>
                <a:gd name="connsiteY68" fmla="*/ 1054470 h 1836051"/>
                <a:gd name="connsiteX69" fmla="*/ 781564 w 1836086"/>
                <a:gd name="connsiteY69" fmla="*/ 1041358 h 1836051"/>
                <a:gd name="connsiteX70" fmla="*/ 781687 w 1836086"/>
                <a:gd name="connsiteY70" fmla="*/ 1041236 h 1836051"/>
                <a:gd name="connsiteX71" fmla="*/ 794851 w 1836086"/>
                <a:gd name="connsiteY71" fmla="*/ 1041236 h 1836051"/>
                <a:gd name="connsiteX72" fmla="*/ 794851 w 1836086"/>
                <a:gd name="connsiteY72" fmla="*/ 1054400 h 1836051"/>
                <a:gd name="connsiteX73" fmla="*/ 788181 w 1836086"/>
                <a:gd name="connsiteY73" fmla="*/ 1057159 h 1836051"/>
                <a:gd name="connsiteX74" fmla="*/ 874727 w 1836086"/>
                <a:gd name="connsiteY74" fmla="*/ 970613 h 1836051"/>
                <a:gd name="connsiteX75" fmla="*/ 868180 w 1836086"/>
                <a:gd name="connsiteY75" fmla="*/ 967924 h 1836051"/>
                <a:gd name="connsiteX76" fmla="*/ 868110 w 1836086"/>
                <a:gd name="connsiteY76" fmla="*/ 954812 h 1836051"/>
                <a:gd name="connsiteX77" fmla="*/ 868232 w 1836086"/>
                <a:gd name="connsiteY77" fmla="*/ 954690 h 1836051"/>
                <a:gd name="connsiteX78" fmla="*/ 881396 w 1836086"/>
                <a:gd name="connsiteY78" fmla="*/ 954690 h 1836051"/>
                <a:gd name="connsiteX79" fmla="*/ 881396 w 1836086"/>
                <a:gd name="connsiteY79" fmla="*/ 967855 h 1836051"/>
                <a:gd name="connsiteX80" fmla="*/ 874727 w 1836086"/>
                <a:gd name="connsiteY80" fmla="*/ 970613 h 1836051"/>
                <a:gd name="connsiteX81" fmla="*/ 961237 w 1836086"/>
                <a:gd name="connsiteY81" fmla="*/ 884172 h 1836051"/>
                <a:gd name="connsiteX82" fmla="*/ 954656 w 1836086"/>
                <a:gd name="connsiteY82" fmla="*/ 881448 h 1836051"/>
                <a:gd name="connsiteX83" fmla="*/ 954656 w 1836086"/>
                <a:gd name="connsiteY83" fmla="*/ 868284 h 1836051"/>
                <a:gd name="connsiteX84" fmla="*/ 954778 w 1836086"/>
                <a:gd name="connsiteY84" fmla="*/ 868162 h 1836051"/>
                <a:gd name="connsiteX85" fmla="*/ 967942 w 1836086"/>
                <a:gd name="connsiteY85" fmla="*/ 868162 h 1836051"/>
                <a:gd name="connsiteX86" fmla="*/ 967942 w 1836086"/>
                <a:gd name="connsiteY86" fmla="*/ 881326 h 1836051"/>
                <a:gd name="connsiteX87" fmla="*/ 967820 w 1836086"/>
                <a:gd name="connsiteY87" fmla="*/ 881448 h 1836051"/>
                <a:gd name="connsiteX88" fmla="*/ 961237 w 1836086"/>
                <a:gd name="connsiteY88" fmla="*/ 884172 h 1836051"/>
                <a:gd name="connsiteX89" fmla="*/ 1047783 w 1836086"/>
                <a:gd name="connsiteY89" fmla="*/ 797627 h 1836051"/>
                <a:gd name="connsiteX90" fmla="*/ 1041201 w 1836086"/>
                <a:gd name="connsiteY90" fmla="*/ 794903 h 1836051"/>
                <a:gd name="connsiteX91" fmla="*/ 1041201 w 1836086"/>
                <a:gd name="connsiteY91" fmla="*/ 781739 h 1836051"/>
                <a:gd name="connsiteX92" fmla="*/ 1041323 w 1836086"/>
                <a:gd name="connsiteY92" fmla="*/ 781616 h 1836051"/>
                <a:gd name="connsiteX93" fmla="*/ 1054488 w 1836086"/>
                <a:gd name="connsiteY93" fmla="*/ 781616 h 1836051"/>
                <a:gd name="connsiteX94" fmla="*/ 1054488 w 1836086"/>
                <a:gd name="connsiteY94" fmla="*/ 794781 h 1836051"/>
                <a:gd name="connsiteX95" fmla="*/ 1054365 w 1836086"/>
                <a:gd name="connsiteY95" fmla="*/ 794903 h 1836051"/>
                <a:gd name="connsiteX96" fmla="*/ 1047783 w 1836086"/>
                <a:gd name="connsiteY96" fmla="*/ 797627 h 1836051"/>
                <a:gd name="connsiteX97" fmla="*/ 1134311 w 1836086"/>
                <a:gd name="connsiteY97" fmla="*/ 711081 h 1836051"/>
                <a:gd name="connsiteX98" fmla="*/ 1127729 w 1836086"/>
                <a:gd name="connsiteY98" fmla="*/ 708357 h 1836051"/>
                <a:gd name="connsiteX99" fmla="*/ 1127729 w 1836086"/>
                <a:gd name="connsiteY99" fmla="*/ 695193 h 1836051"/>
                <a:gd name="connsiteX100" fmla="*/ 1127852 w 1836086"/>
                <a:gd name="connsiteY100" fmla="*/ 695071 h 1836051"/>
                <a:gd name="connsiteX101" fmla="*/ 1141016 w 1836086"/>
                <a:gd name="connsiteY101" fmla="*/ 695071 h 1836051"/>
                <a:gd name="connsiteX102" fmla="*/ 1141016 w 1836086"/>
                <a:gd name="connsiteY102" fmla="*/ 708235 h 1836051"/>
                <a:gd name="connsiteX103" fmla="*/ 1140894 w 1836086"/>
                <a:gd name="connsiteY103" fmla="*/ 708357 h 1836051"/>
                <a:gd name="connsiteX104" fmla="*/ 1134311 w 1836086"/>
                <a:gd name="connsiteY104" fmla="*/ 711081 h 1836051"/>
                <a:gd name="connsiteX105" fmla="*/ 1220892 w 1836086"/>
                <a:gd name="connsiteY105" fmla="*/ 624448 h 1836051"/>
                <a:gd name="connsiteX106" fmla="*/ 1214345 w 1836086"/>
                <a:gd name="connsiteY106" fmla="*/ 621759 h 1836051"/>
                <a:gd name="connsiteX107" fmla="*/ 1214275 w 1836086"/>
                <a:gd name="connsiteY107" fmla="*/ 608647 h 1836051"/>
                <a:gd name="connsiteX108" fmla="*/ 1214397 w 1836086"/>
                <a:gd name="connsiteY108" fmla="*/ 608525 h 1836051"/>
                <a:gd name="connsiteX109" fmla="*/ 1227561 w 1836086"/>
                <a:gd name="connsiteY109" fmla="*/ 608525 h 1836051"/>
                <a:gd name="connsiteX110" fmla="*/ 1227561 w 1836086"/>
                <a:gd name="connsiteY110" fmla="*/ 621690 h 1836051"/>
                <a:gd name="connsiteX111" fmla="*/ 1220892 w 1836086"/>
                <a:gd name="connsiteY111" fmla="*/ 624448 h 1836051"/>
                <a:gd name="connsiteX112" fmla="*/ 1307437 w 1836086"/>
                <a:gd name="connsiteY112" fmla="*/ 537903 h 1836051"/>
                <a:gd name="connsiteX113" fmla="*/ 1300890 w 1836086"/>
                <a:gd name="connsiteY113" fmla="*/ 535214 h 1836051"/>
                <a:gd name="connsiteX114" fmla="*/ 1300820 w 1836086"/>
                <a:gd name="connsiteY114" fmla="*/ 522102 h 1836051"/>
                <a:gd name="connsiteX115" fmla="*/ 1300943 w 1836086"/>
                <a:gd name="connsiteY115" fmla="*/ 521980 h 1836051"/>
                <a:gd name="connsiteX116" fmla="*/ 1314107 w 1836086"/>
                <a:gd name="connsiteY116" fmla="*/ 521980 h 1836051"/>
                <a:gd name="connsiteX117" fmla="*/ 1314107 w 1836086"/>
                <a:gd name="connsiteY117" fmla="*/ 535144 h 1836051"/>
                <a:gd name="connsiteX118" fmla="*/ 1307437 w 1836086"/>
                <a:gd name="connsiteY118" fmla="*/ 537903 h 1836051"/>
                <a:gd name="connsiteX119" fmla="*/ 1393949 w 1836086"/>
                <a:gd name="connsiteY119" fmla="*/ 451462 h 1836051"/>
                <a:gd name="connsiteX120" fmla="*/ 1387366 w 1836086"/>
                <a:gd name="connsiteY120" fmla="*/ 448738 h 1836051"/>
                <a:gd name="connsiteX121" fmla="*/ 1387366 w 1836086"/>
                <a:gd name="connsiteY121" fmla="*/ 435574 h 1836051"/>
                <a:gd name="connsiteX122" fmla="*/ 1387488 w 1836086"/>
                <a:gd name="connsiteY122" fmla="*/ 435451 h 1836051"/>
                <a:gd name="connsiteX123" fmla="*/ 1400653 w 1836086"/>
                <a:gd name="connsiteY123" fmla="*/ 435451 h 1836051"/>
                <a:gd name="connsiteX124" fmla="*/ 1400653 w 1836086"/>
                <a:gd name="connsiteY124" fmla="*/ 448616 h 1836051"/>
                <a:gd name="connsiteX125" fmla="*/ 1400531 w 1836086"/>
                <a:gd name="connsiteY125" fmla="*/ 448738 h 1836051"/>
                <a:gd name="connsiteX126" fmla="*/ 1393949 w 1836086"/>
                <a:gd name="connsiteY126" fmla="*/ 451462 h 1836051"/>
                <a:gd name="connsiteX127" fmla="*/ 1480494 w 1836086"/>
                <a:gd name="connsiteY127" fmla="*/ 364916 h 1836051"/>
                <a:gd name="connsiteX128" fmla="*/ 1473912 w 1836086"/>
                <a:gd name="connsiteY128" fmla="*/ 362192 h 1836051"/>
                <a:gd name="connsiteX129" fmla="*/ 1473912 w 1836086"/>
                <a:gd name="connsiteY129" fmla="*/ 349028 h 1836051"/>
                <a:gd name="connsiteX130" fmla="*/ 1474034 w 1836086"/>
                <a:gd name="connsiteY130" fmla="*/ 348906 h 1836051"/>
                <a:gd name="connsiteX131" fmla="*/ 1487198 w 1836086"/>
                <a:gd name="connsiteY131" fmla="*/ 348906 h 1836051"/>
                <a:gd name="connsiteX132" fmla="*/ 1487198 w 1836086"/>
                <a:gd name="connsiteY132" fmla="*/ 362070 h 1836051"/>
                <a:gd name="connsiteX133" fmla="*/ 1487076 w 1836086"/>
                <a:gd name="connsiteY133" fmla="*/ 362192 h 1836051"/>
                <a:gd name="connsiteX134" fmla="*/ 1480494 w 1836086"/>
                <a:gd name="connsiteY134" fmla="*/ 364916 h 1836051"/>
                <a:gd name="connsiteX135" fmla="*/ 1567057 w 1836086"/>
                <a:gd name="connsiteY135" fmla="*/ 278283 h 1836051"/>
                <a:gd name="connsiteX136" fmla="*/ 1560510 w 1836086"/>
                <a:gd name="connsiteY136" fmla="*/ 275595 h 1836051"/>
                <a:gd name="connsiteX137" fmla="*/ 1560440 w 1836086"/>
                <a:gd name="connsiteY137" fmla="*/ 262483 h 1836051"/>
                <a:gd name="connsiteX138" fmla="*/ 1560562 w 1836086"/>
                <a:gd name="connsiteY138" fmla="*/ 262361 h 1836051"/>
                <a:gd name="connsiteX139" fmla="*/ 1573726 w 1836086"/>
                <a:gd name="connsiteY139" fmla="*/ 262361 h 1836051"/>
                <a:gd name="connsiteX140" fmla="*/ 1573726 w 1836086"/>
                <a:gd name="connsiteY140" fmla="*/ 275525 h 1836051"/>
                <a:gd name="connsiteX141" fmla="*/ 1567057 w 1836086"/>
                <a:gd name="connsiteY141" fmla="*/ 278283 h 1836051"/>
                <a:gd name="connsiteX142" fmla="*/ 1653602 w 1836086"/>
                <a:gd name="connsiteY142" fmla="*/ 191738 h 1836051"/>
                <a:gd name="connsiteX143" fmla="*/ 1647055 w 1836086"/>
                <a:gd name="connsiteY143" fmla="*/ 189049 h 1836051"/>
                <a:gd name="connsiteX144" fmla="*/ 1646985 w 1836086"/>
                <a:gd name="connsiteY144" fmla="*/ 175937 h 1836051"/>
                <a:gd name="connsiteX145" fmla="*/ 1647108 w 1836086"/>
                <a:gd name="connsiteY145" fmla="*/ 175815 h 1836051"/>
                <a:gd name="connsiteX146" fmla="*/ 1660271 w 1836086"/>
                <a:gd name="connsiteY146" fmla="*/ 175815 h 1836051"/>
                <a:gd name="connsiteX147" fmla="*/ 1660271 w 1836086"/>
                <a:gd name="connsiteY147" fmla="*/ 188979 h 1836051"/>
                <a:gd name="connsiteX148" fmla="*/ 1653602 w 1836086"/>
                <a:gd name="connsiteY148" fmla="*/ 191738 h 1836051"/>
                <a:gd name="connsiteX149" fmla="*/ 1740148 w 1836086"/>
                <a:gd name="connsiteY149" fmla="*/ 105192 h 1836051"/>
                <a:gd name="connsiteX150" fmla="*/ 1733600 w 1836086"/>
                <a:gd name="connsiteY150" fmla="*/ 102503 h 1836051"/>
                <a:gd name="connsiteX151" fmla="*/ 1733531 w 1836086"/>
                <a:gd name="connsiteY151" fmla="*/ 89391 h 1836051"/>
                <a:gd name="connsiteX152" fmla="*/ 1733653 w 1836086"/>
                <a:gd name="connsiteY152" fmla="*/ 89269 h 1836051"/>
                <a:gd name="connsiteX153" fmla="*/ 1746818 w 1836086"/>
                <a:gd name="connsiteY153" fmla="*/ 89269 h 1836051"/>
                <a:gd name="connsiteX154" fmla="*/ 1746818 w 1836086"/>
                <a:gd name="connsiteY154" fmla="*/ 102433 h 1836051"/>
                <a:gd name="connsiteX155" fmla="*/ 1740148 w 1836086"/>
                <a:gd name="connsiteY155" fmla="*/ 105192 h 1836051"/>
                <a:gd name="connsiteX156" fmla="*/ 1826694 w 1836086"/>
                <a:gd name="connsiteY156" fmla="*/ 18646 h 1836051"/>
                <a:gd name="connsiteX157" fmla="*/ 1820146 w 1836086"/>
                <a:gd name="connsiteY157" fmla="*/ 15958 h 1836051"/>
                <a:gd name="connsiteX158" fmla="*/ 1820077 w 1836086"/>
                <a:gd name="connsiteY158" fmla="*/ 2846 h 1836051"/>
                <a:gd name="connsiteX159" fmla="*/ 1820198 w 1836086"/>
                <a:gd name="connsiteY159" fmla="*/ 2724 h 1836051"/>
                <a:gd name="connsiteX160" fmla="*/ 1833363 w 1836086"/>
                <a:gd name="connsiteY160" fmla="*/ 2724 h 1836051"/>
                <a:gd name="connsiteX161" fmla="*/ 1833363 w 1836086"/>
                <a:gd name="connsiteY161" fmla="*/ 15888 h 1836051"/>
                <a:gd name="connsiteX162" fmla="*/ 1826694 w 1836086"/>
                <a:gd name="connsiteY162" fmla="*/ 18646 h 18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836086" h="1836051">
                  <a:moveTo>
                    <a:pt x="9306" y="1836051"/>
                  </a:moveTo>
                  <a:cubicBezTo>
                    <a:pt x="6932" y="1836051"/>
                    <a:pt x="4557" y="1835161"/>
                    <a:pt x="2759" y="1833363"/>
                  </a:cubicBezTo>
                  <a:cubicBezTo>
                    <a:pt x="-873" y="1829731"/>
                    <a:pt x="-943" y="1823900"/>
                    <a:pt x="2689" y="1820251"/>
                  </a:cubicBezTo>
                  <a:lnTo>
                    <a:pt x="2811" y="1820129"/>
                  </a:lnTo>
                  <a:cubicBezTo>
                    <a:pt x="6443" y="1816497"/>
                    <a:pt x="12344" y="1816497"/>
                    <a:pt x="15975" y="1820129"/>
                  </a:cubicBezTo>
                  <a:cubicBezTo>
                    <a:pt x="19607" y="1823760"/>
                    <a:pt x="19607" y="1829661"/>
                    <a:pt x="15975" y="1833293"/>
                  </a:cubicBezTo>
                  <a:cubicBezTo>
                    <a:pt x="14142" y="1835126"/>
                    <a:pt x="11715" y="1836051"/>
                    <a:pt x="9306" y="1836051"/>
                  </a:cubicBezTo>
                  <a:close/>
                  <a:moveTo>
                    <a:pt x="95817" y="1749593"/>
                  </a:moveTo>
                  <a:cubicBezTo>
                    <a:pt x="93425" y="1749593"/>
                    <a:pt x="91050" y="1748685"/>
                    <a:pt x="89234" y="1746870"/>
                  </a:cubicBezTo>
                  <a:cubicBezTo>
                    <a:pt x="85603" y="1743238"/>
                    <a:pt x="85603" y="1737337"/>
                    <a:pt x="89234" y="1733705"/>
                  </a:cubicBezTo>
                  <a:lnTo>
                    <a:pt x="89357" y="1733583"/>
                  </a:lnTo>
                  <a:cubicBezTo>
                    <a:pt x="92988" y="1729952"/>
                    <a:pt x="98889" y="1729952"/>
                    <a:pt x="102521" y="1733583"/>
                  </a:cubicBezTo>
                  <a:cubicBezTo>
                    <a:pt x="106153" y="1737215"/>
                    <a:pt x="106153" y="1743116"/>
                    <a:pt x="102521" y="1746747"/>
                  </a:cubicBezTo>
                  <a:lnTo>
                    <a:pt x="102399" y="1746870"/>
                  </a:lnTo>
                  <a:cubicBezTo>
                    <a:pt x="100583" y="1748685"/>
                    <a:pt x="98191" y="1749593"/>
                    <a:pt x="95817" y="1749593"/>
                  </a:cubicBezTo>
                  <a:close/>
                  <a:moveTo>
                    <a:pt x="182345" y="1663048"/>
                  </a:moveTo>
                  <a:cubicBezTo>
                    <a:pt x="179953" y="1663048"/>
                    <a:pt x="177578" y="1662140"/>
                    <a:pt x="175763" y="1660324"/>
                  </a:cubicBezTo>
                  <a:cubicBezTo>
                    <a:pt x="172131" y="1656692"/>
                    <a:pt x="172131" y="1650791"/>
                    <a:pt x="175763" y="1647160"/>
                  </a:cubicBezTo>
                  <a:lnTo>
                    <a:pt x="175885" y="1647037"/>
                  </a:lnTo>
                  <a:cubicBezTo>
                    <a:pt x="179516" y="1643406"/>
                    <a:pt x="185418" y="1643406"/>
                    <a:pt x="189049" y="1647037"/>
                  </a:cubicBezTo>
                  <a:cubicBezTo>
                    <a:pt x="192681" y="1650669"/>
                    <a:pt x="192681" y="1656570"/>
                    <a:pt x="189049" y="1660202"/>
                  </a:cubicBezTo>
                  <a:lnTo>
                    <a:pt x="188927" y="1660324"/>
                  </a:lnTo>
                  <a:cubicBezTo>
                    <a:pt x="187111" y="1662140"/>
                    <a:pt x="184719" y="1663048"/>
                    <a:pt x="182345" y="1663048"/>
                  </a:cubicBezTo>
                  <a:close/>
                  <a:moveTo>
                    <a:pt x="268925" y="1576415"/>
                  </a:moveTo>
                  <a:cubicBezTo>
                    <a:pt x="266551" y="1576415"/>
                    <a:pt x="264176" y="1575524"/>
                    <a:pt x="262378" y="1573726"/>
                  </a:cubicBezTo>
                  <a:cubicBezTo>
                    <a:pt x="258747" y="1570095"/>
                    <a:pt x="258677" y="1564263"/>
                    <a:pt x="262308" y="1560614"/>
                  </a:cubicBezTo>
                  <a:lnTo>
                    <a:pt x="262430" y="1560492"/>
                  </a:lnTo>
                  <a:cubicBezTo>
                    <a:pt x="266062" y="1556860"/>
                    <a:pt x="271963" y="1556860"/>
                    <a:pt x="275595" y="1560492"/>
                  </a:cubicBezTo>
                  <a:cubicBezTo>
                    <a:pt x="279226" y="1564123"/>
                    <a:pt x="279226" y="1570025"/>
                    <a:pt x="275595" y="1573656"/>
                  </a:cubicBezTo>
                  <a:cubicBezTo>
                    <a:pt x="273762" y="1575489"/>
                    <a:pt x="271335" y="1576415"/>
                    <a:pt x="268925" y="1576415"/>
                  </a:cubicBezTo>
                  <a:close/>
                  <a:moveTo>
                    <a:pt x="355471" y="1489869"/>
                  </a:moveTo>
                  <a:cubicBezTo>
                    <a:pt x="353097" y="1489869"/>
                    <a:pt x="350722" y="1488979"/>
                    <a:pt x="348924" y="1487181"/>
                  </a:cubicBezTo>
                  <a:cubicBezTo>
                    <a:pt x="345292" y="1483549"/>
                    <a:pt x="345222" y="1477717"/>
                    <a:pt x="348854" y="1474069"/>
                  </a:cubicBezTo>
                  <a:lnTo>
                    <a:pt x="348976" y="1473946"/>
                  </a:lnTo>
                  <a:cubicBezTo>
                    <a:pt x="352608" y="1470315"/>
                    <a:pt x="358509" y="1470315"/>
                    <a:pt x="362140" y="1473946"/>
                  </a:cubicBezTo>
                  <a:cubicBezTo>
                    <a:pt x="365772" y="1477578"/>
                    <a:pt x="365772" y="1483479"/>
                    <a:pt x="362140" y="1487111"/>
                  </a:cubicBezTo>
                  <a:cubicBezTo>
                    <a:pt x="360307" y="1488944"/>
                    <a:pt x="357880" y="1489869"/>
                    <a:pt x="355471" y="1489869"/>
                  </a:cubicBezTo>
                  <a:close/>
                  <a:moveTo>
                    <a:pt x="442016" y="1403341"/>
                  </a:moveTo>
                  <a:cubicBezTo>
                    <a:pt x="439642" y="1403341"/>
                    <a:pt x="437268" y="1402451"/>
                    <a:pt x="435469" y="1400652"/>
                  </a:cubicBezTo>
                  <a:cubicBezTo>
                    <a:pt x="431838" y="1397021"/>
                    <a:pt x="431768" y="1391190"/>
                    <a:pt x="435399" y="1387540"/>
                  </a:cubicBezTo>
                  <a:lnTo>
                    <a:pt x="435522" y="1387418"/>
                  </a:lnTo>
                  <a:cubicBezTo>
                    <a:pt x="439153" y="1383787"/>
                    <a:pt x="445054" y="1383787"/>
                    <a:pt x="448686" y="1387418"/>
                  </a:cubicBezTo>
                  <a:cubicBezTo>
                    <a:pt x="452317" y="1391050"/>
                    <a:pt x="452317" y="1396951"/>
                    <a:pt x="448686" y="1400582"/>
                  </a:cubicBezTo>
                  <a:cubicBezTo>
                    <a:pt x="446853" y="1402416"/>
                    <a:pt x="444426" y="1403341"/>
                    <a:pt x="442016" y="1403341"/>
                  </a:cubicBezTo>
                  <a:close/>
                  <a:moveTo>
                    <a:pt x="528527" y="1316883"/>
                  </a:moveTo>
                  <a:cubicBezTo>
                    <a:pt x="526135" y="1316883"/>
                    <a:pt x="523761" y="1315975"/>
                    <a:pt x="521945" y="1314159"/>
                  </a:cubicBezTo>
                  <a:cubicBezTo>
                    <a:pt x="518313" y="1310527"/>
                    <a:pt x="518313" y="1304626"/>
                    <a:pt x="521945" y="1300995"/>
                  </a:cubicBezTo>
                  <a:lnTo>
                    <a:pt x="522067" y="1300873"/>
                  </a:lnTo>
                  <a:cubicBezTo>
                    <a:pt x="525699" y="1297241"/>
                    <a:pt x="531600" y="1297241"/>
                    <a:pt x="535231" y="1300873"/>
                  </a:cubicBezTo>
                  <a:cubicBezTo>
                    <a:pt x="538863" y="1304504"/>
                    <a:pt x="538863" y="1310405"/>
                    <a:pt x="535231" y="1314037"/>
                  </a:cubicBezTo>
                  <a:lnTo>
                    <a:pt x="535109" y="1314159"/>
                  </a:lnTo>
                  <a:cubicBezTo>
                    <a:pt x="533294" y="1315975"/>
                    <a:pt x="530901" y="1316883"/>
                    <a:pt x="528527" y="1316883"/>
                  </a:cubicBezTo>
                  <a:close/>
                  <a:moveTo>
                    <a:pt x="615055" y="1230337"/>
                  </a:moveTo>
                  <a:cubicBezTo>
                    <a:pt x="612663" y="1230337"/>
                    <a:pt x="610289" y="1229429"/>
                    <a:pt x="608473" y="1227613"/>
                  </a:cubicBezTo>
                  <a:cubicBezTo>
                    <a:pt x="604842" y="1223982"/>
                    <a:pt x="604842" y="1218081"/>
                    <a:pt x="608473" y="1214449"/>
                  </a:cubicBezTo>
                  <a:lnTo>
                    <a:pt x="608595" y="1214327"/>
                  </a:lnTo>
                  <a:cubicBezTo>
                    <a:pt x="612227" y="1210695"/>
                    <a:pt x="618128" y="1210695"/>
                    <a:pt x="621760" y="1214327"/>
                  </a:cubicBezTo>
                  <a:cubicBezTo>
                    <a:pt x="625391" y="1217959"/>
                    <a:pt x="625391" y="1223860"/>
                    <a:pt x="621760" y="1227491"/>
                  </a:cubicBezTo>
                  <a:lnTo>
                    <a:pt x="621638" y="1227613"/>
                  </a:lnTo>
                  <a:cubicBezTo>
                    <a:pt x="619822" y="1229429"/>
                    <a:pt x="617430" y="1230337"/>
                    <a:pt x="615055" y="1230337"/>
                  </a:cubicBezTo>
                  <a:close/>
                  <a:moveTo>
                    <a:pt x="701636" y="1143704"/>
                  </a:moveTo>
                  <a:cubicBezTo>
                    <a:pt x="699261" y="1143704"/>
                    <a:pt x="696887" y="1142814"/>
                    <a:pt x="695088" y="1141016"/>
                  </a:cubicBezTo>
                  <a:cubicBezTo>
                    <a:pt x="691457" y="1137384"/>
                    <a:pt x="691387" y="1131552"/>
                    <a:pt x="695019" y="1127904"/>
                  </a:cubicBezTo>
                  <a:lnTo>
                    <a:pt x="695141" y="1127781"/>
                  </a:lnTo>
                  <a:cubicBezTo>
                    <a:pt x="698773" y="1124150"/>
                    <a:pt x="704674" y="1124150"/>
                    <a:pt x="708305" y="1127781"/>
                  </a:cubicBezTo>
                  <a:cubicBezTo>
                    <a:pt x="711937" y="1131413"/>
                    <a:pt x="711937" y="1137314"/>
                    <a:pt x="708305" y="1140946"/>
                  </a:cubicBezTo>
                  <a:cubicBezTo>
                    <a:pt x="706472" y="1142779"/>
                    <a:pt x="704045" y="1143704"/>
                    <a:pt x="701636" y="1143704"/>
                  </a:cubicBezTo>
                  <a:close/>
                  <a:moveTo>
                    <a:pt x="788181" y="1057159"/>
                  </a:moveTo>
                  <a:cubicBezTo>
                    <a:pt x="785807" y="1057159"/>
                    <a:pt x="783433" y="1056268"/>
                    <a:pt x="781634" y="1054470"/>
                  </a:cubicBezTo>
                  <a:cubicBezTo>
                    <a:pt x="778003" y="1050838"/>
                    <a:pt x="777933" y="1045007"/>
                    <a:pt x="781564" y="1041358"/>
                  </a:cubicBezTo>
                  <a:lnTo>
                    <a:pt x="781687" y="1041236"/>
                  </a:lnTo>
                  <a:cubicBezTo>
                    <a:pt x="785318" y="1037604"/>
                    <a:pt x="791219" y="1037604"/>
                    <a:pt x="794851" y="1041236"/>
                  </a:cubicBezTo>
                  <a:cubicBezTo>
                    <a:pt x="798482" y="1044867"/>
                    <a:pt x="798482" y="1050769"/>
                    <a:pt x="794851" y="1054400"/>
                  </a:cubicBezTo>
                  <a:cubicBezTo>
                    <a:pt x="793018" y="1056233"/>
                    <a:pt x="790591" y="1057159"/>
                    <a:pt x="788181" y="1057159"/>
                  </a:cubicBezTo>
                  <a:close/>
                  <a:moveTo>
                    <a:pt x="874727" y="970613"/>
                  </a:moveTo>
                  <a:cubicBezTo>
                    <a:pt x="872352" y="970613"/>
                    <a:pt x="869978" y="969723"/>
                    <a:pt x="868180" y="967924"/>
                  </a:cubicBezTo>
                  <a:cubicBezTo>
                    <a:pt x="864548" y="964293"/>
                    <a:pt x="864478" y="958461"/>
                    <a:pt x="868110" y="954812"/>
                  </a:cubicBezTo>
                  <a:lnTo>
                    <a:pt x="868232" y="954690"/>
                  </a:lnTo>
                  <a:cubicBezTo>
                    <a:pt x="871864" y="951059"/>
                    <a:pt x="877765" y="951059"/>
                    <a:pt x="881396" y="954690"/>
                  </a:cubicBezTo>
                  <a:cubicBezTo>
                    <a:pt x="885028" y="958322"/>
                    <a:pt x="885028" y="964223"/>
                    <a:pt x="881396" y="967855"/>
                  </a:cubicBezTo>
                  <a:cubicBezTo>
                    <a:pt x="879563" y="969688"/>
                    <a:pt x="877136" y="970613"/>
                    <a:pt x="874727" y="970613"/>
                  </a:cubicBezTo>
                  <a:close/>
                  <a:moveTo>
                    <a:pt x="961237" y="884172"/>
                  </a:moveTo>
                  <a:cubicBezTo>
                    <a:pt x="958846" y="884172"/>
                    <a:pt x="956471" y="883264"/>
                    <a:pt x="954656" y="881448"/>
                  </a:cubicBezTo>
                  <a:cubicBezTo>
                    <a:pt x="951024" y="877817"/>
                    <a:pt x="951024" y="871916"/>
                    <a:pt x="954656" y="868284"/>
                  </a:cubicBezTo>
                  <a:lnTo>
                    <a:pt x="954778" y="868162"/>
                  </a:lnTo>
                  <a:cubicBezTo>
                    <a:pt x="958409" y="864530"/>
                    <a:pt x="964310" y="864530"/>
                    <a:pt x="967942" y="868162"/>
                  </a:cubicBezTo>
                  <a:cubicBezTo>
                    <a:pt x="971574" y="871794"/>
                    <a:pt x="971574" y="877695"/>
                    <a:pt x="967942" y="881326"/>
                  </a:cubicBezTo>
                  <a:lnTo>
                    <a:pt x="967820" y="881448"/>
                  </a:lnTo>
                  <a:cubicBezTo>
                    <a:pt x="966004" y="883264"/>
                    <a:pt x="963612" y="884172"/>
                    <a:pt x="961237" y="884172"/>
                  </a:cubicBezTo>
                  <a:close/>
                  <a:moveTo>
                    <a:pt x="1047783" y="797627"/>
                  </a:moveTo>
                  <a:cubicBezTo>
                    <a:pt x="1045391" y="797627"/>
                    <a:pt x="1043017" y="796719"/>
                    <a:pt x="1041201" y="794903"/>
                  </a:cubicBezTo>
                  <a:cubicBezTo>
                    <a:pt x="1037570" y="791271"/>
                    <a:pt x="1037570" y="785370"/>
                    <a:pt x="1041201" y="781739"/>
                  </a:cubicBezTo>
                  <a:lnTo>
                    <a:pt x="1041323" y="781616"/>
                  </a:lnTo>
                  <a:cubicBezTo>
                    <a:pt x="1044955" y="777985"/>
                    <a:pt x="1050856" y="777985"/>
                    <a:pt x="1054488" y="781616"/>
                  </a:cubicBezTo>
                  <a:cubicBezTo>
                    <a:pt x="1058119" y="785248"/>
                    <a:pt x="1058119" y="791149"/>
                    <a:pt x="1054488" y="794781"/>
                  </a:cubicBezTo>
                  <a:lnTo>
                    <a:pt x="1054365" y="794903"/>
                  </a:lnTo>
                  <a:cubicBezTo>
                    <a:pt x="1052550" y="796719"/>
                    <a:pt x="1050158" y="797627"/>
                    <a:pt x="1047783" y="797627"/>
                  </a:cubicBezTo>
                  <a:close/>
                  <a:moveTo>
                    <a:pt x="1134311" y="711081"/>
                  </a:moveTo>
                  <a:cubicBezTo>
                    <a:pt x="1131919" y="711081"/>
                    <a:pt x="1129545" y="710173"/>
                    <a:pt x="1127729" y="708357"/>
                  </a:cubicBezTo>
                  <a:cubicBezTo>
                    <a:pt x="1124098" y="704726"/>
                    <a:pt x="1124098" y="698825"/>
                    <a:pt x="1127729" y="695193"/>
                  </a:cubicBezTo>
                  <a:lnTo>
                    <a:pt x="1127852" y="695071"/>
                  </a:lnTo>
                  <a:cubicBezTo>
                    <a:pt x="1131483" y="691439"/>
                    <a:pt x="1137384" y="691439"/>
                    <a:pt x="1141016" y="695071"/>
                  </a:cubicBezTo>
                  <a:cubicBezTo>
                    <a:pt x="1144647" y="698702"/>
                    <a:pt x="1144647" y="704604"/>
                    <a:pt x="1141016" y="708235"/>
                  </a:cubicBezTo>
                  <a:lnTo>
                    <a:pt x="1140894" y="708357"/>
                  </a:lnTo>
                  <a:cubicBezTo>
                    <a:pt x="1139078" y="710173"/>
                    <a:pt x="1136686" y="711081"/>
                    <a:pt x="1134311" y="711081"/>
                  </a:cubicBezTo>
                  <a:close/>
                  <a:moveTo>
                    <a:pt x="1220892" y="624448"/>
                  </a:moveTo>
                  <a:cubicBezTo>
                    <a:pt x="1218517" y="624448"/>
                    <a:pt x="1216143" y="623558"/>
                    <a:pt x="1214345" y="621759"/>
                  </a:cubicBezTo>
                  <a:cubicBezTo>
                    <a:pt x="1210713" y="618128"/>
                    <a:pt x="1210643" y="612296"/>
                    <a:pt x="1214275" y="608647"/>
                  </a:cubicBezTo>
                  <a:lnTo>
                    <a:pt x="1214397" y="608525"/>
                  </a:lnTo>
                  <a:cubicBezTo>
                    <a:pt x="1218028" y="604894"/>
                    <a:pt x="1223930" y="604894"/>
                    <a:pt x="1227561" y="608525"/>
                  </a:cubicBezTo>
                  <a:cubicBezTo>
                    <a:pt x="1231193" y="612157"/>
                    <a:pt x="1231193" y="618058"/>
                    <a:pt x="1227561" y="621690"/>
                  </a:cubicBezTo>
                  <a:cubicBezTo>
                    <a:pt x="1225728" y="623523"/>
                    <a:pt x="1223301" y="624448"/>
                    <a:pt x="1220892" y="624448"/>
                  </a:cubicBezTo>
                  <a:close/>
                  <a:moveTo>
                    <a:pt x="1307437" y="537903"/>
                  </a:moveTo>
                  <a:cubicBezTo>
                    <a:pt x="1305063" y="537903"/>
                    <a:pt x="1302689" y="537012"/>
                    <a:pt x="1300890" y="535214"/>
                  </a:cubicBezTo>
                  <a:cubicBezTo>
                    <a:pt x="1297258" y="531582"/>
                    <a:pt x="1297189" y="525751"/>
                    <a:pt x="1300820" y="522102"/>
                  </a:cubicBezTo>
                  <a:lnTo>
                    <a:pt x="1300943" y="521980"/>
                  </a:lnTo>
                  <a:cubicBezTo>
                    <a:pt x="1304574" y="518348"/>
                    <a:pt x="1310476" y="518348"/>
                    <a:pt x="1314107" y="521980"/>
                  </a:cubicBezTo>
                  <a:cubicBezTo>
                    <a:pt x="1317738" y="525611"/>
                    <a:pt x="1317738" y="531512"/>
                    <a:pt x="1314107" y="535144"/>
                  </a:cubicBezTo>
                  <a:cubicBezTo>
                    <a:pt x="1312274" y="536977"/>
                    <a:pt x="1309847" y="537903"/>
                    <a:pt x="1307437" y="537903"/>
                  </a:cubicBezTo>
                  <a:close/>
                  <a:moveTo>
                    <a:pt x="1393949" y="451462"/>
                  </a:moveTo>
                  <a:cubicBezTo>
                    <a:pt x="1391556" y="451462"/>
                    <a:pt x="1389182" y="450554"/>
                    <a:pt x="1387366" y="448738"/>
                  </a:cubicBezTo>
                  <a:cubicBezTo>
                    <a:pt x="1383735" y="445107"/>
                    <a:pt x="1383735" y="439205"/>
                    <a:pt x="1387366" y="435574"/>
                  </a:cubicBezTo>
                  <a:lnTo>
                    <a:pt x="1387488" y="435451"/>
                  </a:lnTo>
                  <a:cubicBezTo>
                    <a:pt x="1391120" y="431820"/>
                    <a:pt x="1397021" y="431820"/>
                    <a:pt x="1400653" y="435451"/>
                  </a:cubicBezTo>
                  <a:cubicBezTo>
                    <a:pt x="1404284" y="439083"/>
                    <a:pt x="1404284" y="444984"/>
                    <a:pt x="1400653" y="448616"/>
                  </a:cubicBezTo>
                  <a:lnTo>
                    <a:pt x="1400531" y="448738"/>
                  </a:lnTo>
                  <a:cubicBezTo>
                    <a:pt x="1398715" y="450554"/>
                    <a:pt x="1396323" y="451462"/>
                    <a:pt x="1393949" y="451462"/>
                  </a:cubicBezTo>
                  <a:close/>
                  <a:moveTo>
                    <a:pt x="1480494" y="364916"/>
                  </a:moveTo>
                  <a:cubicBezTo>
                    <a:pt x="1478102" y="364916"/>
                    <a:pt x="1475727" y="364008"/>
                    <a:pt x="1473912" y="362192"/>
                  </a:cubicBezTo>
                  <a:cubicBezTo>
                    <a:pt x="1470280" y="358561"/>
                    <a:pt x="1470280" y="352660"/>
                    <a:pt x="1473912" y="349028"/>
                  </a:cubicBezTo>
                  <a:lnTo>
                    <a:pt x="1474034" y="348906"/>
                  </a:lnTo>
                  <a:cubicBezTo>
                    <a:pt x="1477665" y="345275"/>
                    <a:pt x="1483566" y="345275"/>
                    <a:pt x="1487198" y="348906"/>
                  </a:cubicBezTo>
                  <a:cubicBezTo>
                    <a:pt x="1490830" y="352537"/>
                    <a:pt x="1490830" y="358439"/>
                    <a:pt x="1487198" y="362070"/>
                  </a:cubicBezTo>
                  <a:lnTo>
                    <a:pt x="1487076" y="362192"/>
                  </a:lnTo>
                  <a:cubicBezTo>
                    <a:pt x="1485260" y="364008"/>
                    <a:pt x="1482868" y="364916"/>
                    <a:pt x="1480494" y="364916"/>
                  </a:cubicBezTo>
                  <a:close/>
                  <a:moveTo>
                    <a:pt x="1567057" y="278283"/>
                  </a:moveTo>
                  <a:cubicBezTo>
                    <a:pt x="1564682" y="278283"/>
                    <a:pt x="1562308" y="277393"/>
                    <a:pt x="1560510" y="275595"/>
                  </a:cubicBezTo>
                  <a:cubicBezTo>
                    <a:pt x="1556878" y="271963"/>
                    <a:pt x="1556808" y="266132"/>
                    <a:pt x="1560440" y="262483"/>
                  </a:cubicBezTo>
                  <a:lnTo>
                    <a:pt x="1560562" y="262361"/>
                  </a:lnTo>
                  <a:cubicBezTo>
                    <a:pt x="1564193" y="258729"/>
                    <a:pt x="1570094" y="258729"/>
                    <a:pt x="1573726" y="262361"/>
                  </a:cubicBezTo>
                  <a:cubicBezTo>
                    <a:pt x="1577358" y="265992"/>
                    <a:pt x="1577358" y="271893"/>
                    <a:pt x="1573726" y="275525"/>
                  </a:cubicBezTo>
                  <a:cubicBezTo>
                    <a:pt x="1571893" y="277358"/>
                    <a:pt x="1569466" y="278283"/>
                    <a:pt x="1567057" y="278283"/>
                  </a:cubicBezTo>
                  <a:close/>
                  <a:moveTo>
                    <a:pt x="1653602" y="191738"/>
                  </a:moveTo>
                  <a:cubicBezTo>
                    <a:pt x="1651228" y="191738"/>
                    <a:pt x="1648854" y="190847"/>
                    <a:pt x="1647055" y="189049"/>
                  </a:cubicBezTo>
                  <a:cubicBezTo>
                    <a:pt x="1643423" y="185417"/>
                    <a:pt x="1643353" y="179586"/>
                    <a:pt x="1646985" y="175937"/>
                  </a:cubicBezTo>
                  <a:lnTo>
                    <a:pt x="1647108" y="175815"/>
                  </a:lnTo>
                  <a:cubicBezTo>
                    <a:pt x="1650739" y="172183"/>
                    <a:pt x="1656641" y="172183"/>
                    <a:pt x="1660271" y="175815"/>
                  </a:cubicBezTo>
                  <a:cubicBezTo>
                    <a:pt x="1663903" y="179446"/>
                    <a:pt x="1663903" y="185348"/>
                    <a:pt x="1660271" y="188979"/>
                  </a:cubicBezTo>
                  <a:cubicBezTo>
                    <a:pt x="1658439" y="190812"/>
                    <a:pt x="1656011" y="191738"/>
                    <a:pt x="1653602" y="191738"/>
                  </a:cubicBezTo>
                  <a:close/>
                  <a:moveTo>
                    <a:pt x="1740148" y="105192"/>
                  </a:moveTo>
                  <a:cubicBezTo>
                    <a:pt x="1737773" y="105192"/>
                    <a:pt x="1735399" y="104302"/>
                    <a:pt x="1733600" y="102503"/>
                  </a:cubicBezTo>
                  <a:cubicBezTo>
                    <a:pt x="1729969" y="98872"/>
                    <a:pt x="1729900" y="93041"/>
                    <a:pt x="1733531" y="89391"/>
                  </a:cubicBezTo>
                  <a:lnTo>
                    <a:pt x="1733653" y="89269"/>
                  </a:lnTo>
                  <a:cubicBezTo>
                    <a:pt x="1737285" y="85638"/>
                    <a:pt x="1743186" y="85638"/>
                    <a:pt x="1746818" y="89269"/>
                  </a:cubicBezTo>
                  <a:cubicBezTo>
                    <a:pt x="1750449" y="92901"/>
                    <a:pt x="1750449" y="98802"/>
                    <a:pt x="1746818" y="102433"/>
                  </a:cubicBezTo>
                  <a:cubicBezTo>
                    <a:pt x="1744984" y="104267"/>
                    <a:pt x="1742558" y="105192"/>
                    <a:pt x="1740148" y="105192"/>
                  </a:cubicBezTo>
                  <a:close/>
                  <a:moveTo>
                    <a:pt x="1826694" y="18646"/>
                  </a:moveTo>
                  <a:cubicBezTo>
                    <a:pt x="1824319" y="18646"/>
                    <a:pt x="1821944" y="17756"/>
                    <a:pt x="1820146" y="15958"/>
                  </a:cubicBezTo>
                  <a:cubicBezTo>
                    <a:pt x="1816515" y="12326"/>
                    <a:pt x="1816445" y="6495"/>
                    <a:pt x="1820077" y="2846"/>
                  </a:cubicBezTo>
                  <a:lnTo>
                    <a:pt x="1820198" y="2724"/>
                  </a:lnTo>
                  <a:cubicBezTo>
                    <a:pt x="1823830" y="-908"/>
                    <a:pt x="1829731" y="-908"/>
                    <a:pt x="1833363" y="2724"/>
                  </a:cubicBezTo>
                  <a:cubicBezTo>
                    <a:pt x="1836994" y="6355"/>
                    <a:pt x="1836994" y="12256"/>
                    <a:pt x="1833363" y="15888"/>
                  </a:cubicBezTo>
                  <a:cubicBezTo>
                    <a:pt x="1831530" y="17721"/>
                    <a:pt x="1829103" y="18646"/>
                    <a:pt x="1826694" y="18646"/>
                  </a:cubicBezTo>
                  <a:close/>
                </a:path>
              </a:pathLst>
            </a:custGeom>
            <a:grpFill/>
            <a:ln w="0"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6350808D-1DC9-7129-A52C-3345BACC037F}"/>
                </a:ext>
              </a:extLst>
            </p:cNvPr>
            <p:cNvSpPr/>
            <p:nvPr/>
          </p:nvSpPr>
          <p:spPr>
            <a:xfrm>
              <a:off x="7258094" y="3490094"/>
              <a:ext cx="1664188" cy="1664230"/>
            </a:xfrm>
            <a:custGeom>
              <a:avLst/>
              <a:gdLst>
                <a:gd name="connsiteX0" fmla="*/ 9893 w 1664188"/>
                <a:gd name="connsiteY0" fmla="*/ 1664213 h 1664230"/>
                <a:gd name="connsiteX1" fmla="*/ 2944 w 1664188"/>
                <a:gd name="connsiteY1" fmla="*/ 1661367 h 1664230"/>
                <a:gd name="connsiteX2" fmla="*/ 2857 w 1664188"/>
                <a:gd name="connsiteY2" fmla="*/ 1647382 h 1664230"/>
                <a:gd name="connsiteX3" fmla="*/ 2979 w 1664188"/>
                <a:gd name="connsiteY3" fmla="*/ 1647260 h 1664230"/>
                <a:gd name="connsiteX4" fmla="*/ 16964 w 1664188"/>
                <a:gd name="connsiteY4" fmla="*/ 1647173 h 1664230"/>
                <a:gd name="connsiteX5" fmla="*/ 17051 w 1664188"/>
                <a:gd name="connsiteY5" fmla="*/ 1661158 h 1664230"/>
                <a:gd name="connsiteX6" fmla="*/ 16929 w 1664188"/>
                <a:gd name="connsiteY6" fmla="*/ 1661280 h 1664230"/>
                <a:gd name="connsiteX7" fmla="*/ 9893 w 1664188"/>
                <a:gd name="connsiteY7" fmla="*/ 1664230 h 1664230"/>
                <a:gd name="connsiteX8" fmla="*/ 96439 w 1664188"/>
                <a:gd name="connsiteY8" fmla="*/ 1577668 h 1664230"/>
                <a:gd name="connsiteX9" fmla="*/ 89438 w 1664188"/>
                <a:gd name="connsiteY9" fmla="*/ 1574769 h 1664230"/>
                <a:gd name="connsiteX10" fmla="*/ 89438 w 1664188"/>
                <a:gd name="connsiteY10" fmla="*/ 1560784 h 1664230"/>
                <a:gd name="connsiteX11" fmla="*/ 89559 w 1664188"/>
                <a:gd name="connsiteY11" fmla="*/ 1560662 h 1664230"/>
                <a:gd name="connsiteX12" fmla="*/ 103544 w 1664188"/>
                <a:gd name="connsiteY12" fmla="*/ 1560662 h 1664230"/>
                <a:gd name="connsiteX13" fmla="*/ 103544 w 1664188"/>
                <a:gd name="connsiteY13" fmla="*/ 1574647 h 1664230"/>
                <a:gd name="connsiteX14" fmla="*/ 103422 w 1664188"/>
                <a:gd name="connsiteY14" fmla="*/ 1574769 h 1664230"/>
                <a:gd name="connsiteX15" fmla="*/ 96421 w 1664188"/>
                <a:gd name="connsiteY15" fmla="*/ 1577668 h 1664230"/>
                <a:gd name="connsiteX16" fmla="*/ 182967 w 1664188"/>
                <a:gd name="connsiteY16" fmla="*/ 1491122 h 1664230"/>
                <a:gd name="connsiteX17" fmla="*/ 175931 w 1664188"/>
                <a:gd name="connsiteY17" fmla="*/ 1488171 h 1664230"/>
                <a:gd name="connsiteX18" fmla="*/ 176018 w 1664188"/>
                <a:gd name="connsiteY18" fmla="*/ 1474187 h 1664230"/>
                <a:gd name="connsiteX19" fmla="*/ 176140 w 1664188"/>
                <a:gd name="connsiteY19" fmla="*/ 1474064 h 1664230"/>
                <a:gd name="connsiteX20" fmla="*/ 190125 w 1664188"/>
                <a:gd name="connsiteY20" fmla="*/ 1474152 h 1664230"/>
                <a:gd name="connsiteX21" fmla="*/ 190038 w 1664188"/>
                <a:gd name="connsiteY21" fmla="*/ 1488137 h 1664230"/>
                <a:gd name="connsiteX22" fmla="*/ 189915 w 1664188"/>
                <a:gd name="connsiteY22" fmla="*/ 1488258 h 1664230"/>
                <a:gd name="connsiteX23" fmla="*/ 182967 w 1664188"/>
                <a:gd name="connsiteY23" fmla="*/ 1491105 h 1664230"/>
                <a:gd name="connsiteX24" fmla="*/ 269547 w 1664188"/>
                <a:gd name="connsiteY24" fmla="*/ 1404489 h 1664230"/>
                <a:gd name="connsiteX25" fmla="*/ 262581 w 1664188"/>
                <a:gd name="connsiteY25" fmla="*/ 1401626 h 1664230"/>
                <a:gd name="connsiteX26" fmla="*/ 262511 w 1664188"/>
                <a:gd name="connsiteY26" fmla="*/ 1387693 h 1664230"/>
                <a:gd name="connsiteX27" fmla="*/ 262633 w 1664188"/>
                <a:gd name="connsiteY27" fmla="*/ 1387571 h 1664230"/>
                <a:gd name="connsiteX28" fmla="*/ 276618 w 1664188"/>
                <a:gd name="connsiteY28" fmla="*/ 1387571 h 1664230"/>
                <a:gd name="connsiteX29" fmla="*/ 276618 w 1664188"/>
                <a:gd name="connsiteY29" fmla="*/ 1401556 h 1664230"/>
                <a:gd name="connsiteX30" fmla="*/ 269530 w 1664188"/>
                <a:gd name="connsiteY30" fmla="*/ 1404489 h 1664230"/>
                <a:gd name="connsiteX31" fmla="*/ 356093 w 1664188"/>
                <a:gd name="connsiteY31" fmla="*/ 1317944 h 1664230"/>
                <a:gd name="connsiteX32" fmla="*/ 349127 w 1664188"/>
                <a:gd name="connsiteY32" fmla="*/ 1315080 h 1664230"/>
                <a:gd name="connsiteX33" fmla="*/ 349057 w 1664188"/>
                <a:gd name="connsiteY33" fmla="*/ 1301148 h 1664230"/>
                <a:gd name="connsiteX34" fmla="*/ 349179 w 1664188"/>
                <a:gd name="connsiteY34" fmla="*/ 1301025 h 1664230"/>
                <a:gd name="connsiteX35" fmla="*/ 363164 w 1664188"/>
                <a:gd name="connsiteY35" fmla="*/ 1301025 h 1664230"/>
                <a:gd name="connsiteX36" fmla="*/ 363164 w 1664188"/>
                <a:gd name="connsiteY36" fmla="*/ 1315010 h 1664230"/>
                <a:gd name="connsiteX37" fmla="*/ 356075 w 1664188"/>
                <a:gd name="connsiteY37" fmla="*/ 1317944 h 1664230"/>
                <a:gd name="connsiteX38" fmla="*/ 442604 w 1664188"/>
                <a:gd name="connsiteY38" fmla="*/ 1231503 h 1664230"/>
                <a:gd name="connsiteX39" fmla="*/ 435654 w 1664188"/>
                <a:gd name="connsiteY39" fmla="*/ 1228657 h 1664230"/>
                <a:gd name="connsiteX40" fmla="*/ 435568 w 1664188"/>
                <a:gd name="connsiteY40" fmla="*/ 1214672 h 1664230"/>
                <a:gd name="connsiteX41" fmla="*/ 435689 w 1664188"/>
                <a:gd name="connsiteY41" fmla="*/ 1214549 h 1664230"/>
                <a:gd name="connsiteX42" fmla="*/ 449674 w 1664188"/>
                <a:gd name="connsiteY42" fmla="*/ 1214463 h 1664230"/>
                <a:gd name="connsiteX43" fmla="*/ 449762 w 1664188"/>
                <a:gd name="connsiteY43" fmla="*/ 1228447 h 1664230"/>
                <a:gd name="connsiteX44" fmla="*/ 449639 w 1664188"/>
                <a:gd name="connsiteY44" fmla="*/ 1228569 h 1664230"/>
                <a:gd name="connsiteX45" fmla="*/ 442604 w 1664188"/>
                <a:gd name="connsiteY45" fmla="*/ 1231520 h 1664230"/>
                <a:gd name="connsiteX46" fmla="*/ 529149 w 1664188"/>
                <a:gd name="connsiteY46" fmla="*/ 1144957 h 1664230"/>
                <a:gd name="connsiteX47" fmla="*/ 522148 w 1664188"/>
                <a:gd name="connsiteY47" fmla="*/ 1142059 h 1664230"/>
                <a:gd name="connsiteX48" fmla="*/ 522148 w 1664188"/>
                <a:gd name="connsiteY48" fmla="*/ 1128074 h 1664230"/>
                <a:gd name="connsiteX49" fmla="*/ 522270 w 1664188"/>
                <a:gd name="connsiteY49" fmla="*/ 1127952 h 1664230"/>
                <a:gd name="connsiteX50" fmla="*/ 536255 w 1664188"/>
                <a:gd name="connsiteY50" fmla="*/ 1127952 h 1664230"/>
                <a:gd name="connsiteX51" fmla="*/ 536255 w 1664188"/>
                <a:gd name="connsiteY51" fmla="*/ 1141937 h 1664230"/>
                <a:gd name="connsiteX52" fmla="*/ 536133 w 1664188"/>
                <a:gd name="connsiteY52" fmla="*/ 1142059 h 1664230"/>
                <a:gd name="connsiteX53" fmla="*/ 529131 w 1664188"/>
                <a:gd name="connsiteY53" fmla="*/ 1144957 h 1664230"/>
                <a:gd name="connsiteX54" fmla="*/ 615695 w 1664188"/>
                <a:gd name="connsiteY54" fmla="*/ 1058411 h 1664230"/>
                <a:gd name="connsiteX55" fmla="*/ 608659 w 1664188"/>
                <a:gd name="connsiteY55" fmla="*/ 1055461 h 1664230"/>
                <a:gd name="connsiteX56" fmla="*/ 608746 w 1664188"/>
                <a:gd name="connsiteY56" fmla="*/ 1041476 h 1664230"/>
                <a:gd name="connsiteX57" fmla="*/ 608868 w 1664188"/>
                <a:gd name="connsiteY57" fmla="*/ 1041354 h 1664230"/>
                <a:gd name="connsiteX58" fmla="*/ 622853 w 1664188"/>
                <a:gd name="connsiteY58" fmla="*/ 1041441 h 1664230"/>
                <a:gd name="connsiteX59" fmla="*/ 622766 w 1664188"/>
                <a:gd name="connsiteY59" fmla="*/ 1055426 h 1664230"/>
                <a:gd name="connsiteX60" fmla="*/ 622643 w 1664188"/>
                <a:gd name="connsiteY60" fmla="*/ 1055548 h 1664230"/>
                <a:gd name="connsiteX61" fmla="*/ 615695 w 1664188"/>
                <a:gd name="connsiteY61" fmla="*/ 1058394 h 1664230"/>
                <a:gd name="connsiteX62" fmla="*/ 702258 w 1664188"/>
                <a:gd name="connsiteY62" fmla="*/ 971779 h 1664230"/>
                <a:gd name="connsiteX63" fmla="*/ 695292 w 1664188"/>
                <a:gd name="connsiteY63" fmla="*/ 968915 h 1664230"/>
                <a:gd name="connsiteX64" fmla="*/ 695222 w 1664188"/>
                <a:gd name="connsiteY64" fmla="*/ 954983 h 1664230"/>
                <a:gd name="connsiteX65" fmla="*/ 695344 w 1664188"/>
                <a:gd name="connsiteY65" fmla="*/ 954860 h 1664230"/>
                <a:gd name="connsiteX66" fmla="*/ 709328 w 1664188"/>
                <a:gd name="connsiteY66" fmla="*/ 954860 h 1664230"/>
                <a:gd name="connsiteX67" fmla="*/ 709328 w 1664188"/>
                <a:gd name="connsiteY67" fmla="*/ 968845 h 1664230"/>
                <a:gd name="connsiteX68" fmla="*/ 702240 w 1664188"/>
                <a:gd name="connsiteY68" fmla="*/ 971779 h 1664230"/>
                <a:gd name="connsiteX69" fmla="*/ 788803 w 1664188"/>
                <a:gd name="connsiteY69" fmla="*/ 885233 h 1664230"/>
                <a:gd name="connsiteX70" fmla="*/ 781837 w 1664188"/>
                <a:gd name="connsiteY70" fmla="*/ 882369 h 1664230"/>
                <a:gd name="connsiteX71" fmla="*/ 781767 w 1664188"/>
                <a:gd name="connsiteY71" fmla="*/ 868437 h 1664230"/>
                <a:gd name="connsiteX72" fmla="*/ 781889 w 1664188"/>
                <a:gd name="connsiteY72" fmla="*/ 868315 h 1664230"/>
                <a:gd name="connsiteX73" fmla="*/ 795874 w 1664188"/>
                <a:gd name="connsiteY73" fmla="*/ 868315 h 1664230"/>
                <a:gd name="connsiteX74" fmla="*/ 795874 w 1664188"/>
                <a:gd name="connsiteY74" fmla="*/ 882300 h 1664230"/>
                <a:gd name="connsiteX75" fmla="*/ 788786 w 1664188"/>
                <a:gd name="connsiteY75" fmla="*/ 885233 h 1664230"/>
                <a:gd name="connsiteX76" fmla="*/ 875314 w 1664188"/>
                <a:gd name="connsiteY76" fmla="*/ 798792 h 1664230"/>
                <a:gd name="connsiteX77" fmla="*/ 868365 w 1664188"/>
                <a:gd name="connsiteY77" fmla="*/ 795946 h 1664230"/>
                <a:gd name="connsiteX78" fmla="*/ 868278 w 1664188"/>
                <a:gd name="connsiteY78" fmla="*/ 781962 h 1664230"/>
                <a:gd name="connsiteX79" fmla="*/ 868400 w 1664188"/>
                <a:gd name="connsiteY79" fmla="*/ 781839 h 1664230"/>
                <a:gd name="connsiteX80" fmla="*/ 882385 w 1664188"/>
                <a:gd name="connsiteY80" fmla="*/ 781752 h 1664230"/>
                <a:gd name="connsiteX81" fmla="*/ 882472 w 1664188"/>
                <a:gd name="connsiteY81" fmla="*/ 795737 h 1664230"/>
                <a:gd name="connsiteX82" fmla="*/ 882350 w 1664188"/>
                <a:gd name="connsiteY82" fmla="*/ 795859 h 1664230"/>
                <a:gd name="connsiteX83" fmla="*/ 875314 w 1664188"/>
                <a:gd name="connsiteY83" fmla="*/ 798810 h 1664230"/>
                <a:gd name="connsiteX84" fmla="*/ 961860 w 1664188"/>
                <a:gd name="connsiteY84" fmla="*/ 712246 h 1664230"/>
                <a:gd name="connsiteX85" fmla="*/ 954858 w 1664188"/>
                <a:gd name="connsiteY85" fmla="*/ 709348 h 1664230"/>
                <a:gd name="connsiteX86" fmla="*/ 954858 w 1664188"/>
                <a:gd name="connsiteY86" fmla="*/ 695363 h 1664230"/>
                <a:gd name="connsiteX87" fmla="*/ 954981 w 1664188"/>
                <a:gd name="connsiteY87" fmla="*/ 695241 h 1664230"/>
                <a:gd name="connsiteX88" fmla="*/ 968966 w 1664188"/>
                <a:gd name="connsiteY88" fmla="*/ 695241 h 1664230"/>
                <a:gd name="connsiteX89" fmla="*/ 968966 w 1664188"/>
                <a:gd name="connsiteY89" fmla="*/ 709226 h 1664230"/>
                <a:gd name="connsiteX90" fmla="*/ 968843 w 1664188"/>
                <a:gd name="connsiteY90" fmla="*/ 709348 h 1664230"/>
                <a:gd name="connsiteX91" fmla="*/ 961842 w 1664188"/>
                <a:gd name="connsiteY91" fmla="*/ 712246 h 1664230"/>
                <a:gd name="connsiteX92" fmla="*/ 1048405 w 1664188"/>
                <a:gd name="connsiteY92" fmla="*/ 625701 h 1664230"/>
                <a:gd name="connsiteX93" fmla="*/ 1041369 w 1664188"/>
                <a:gd name="connsiteY93" fmla="*/ 622750 h 1664230"/>
                <a:gd name="connsiteX94" fmla="*/ 1041457 w 1664188"/>
                <a:gd name="connsiteY94" fmla="*/ 608765 h 1664230"/>
                <a:gd name="connsiteX95" fmla="*/ 1041578 w 1664188"/>
                <a:gd name="connsiteY95" fmla="*/ 608643 h 1664230"/>
                <a:gd name="connsiteX96" fmla="*/ 1055563 w 1664188"/>
                <a:gd name="connsiteY96" fmla="*/ 608730 h 1664230"/>
                <a:gd name="connsiteX97" fmla="*/ 1055476 w 1664188"/>
                <a:gd name="connsiteY97" fmla="*/ 622715 h 1664230"/>
                <a:gd name="connsiteX98" fmla="*/ 1055354 w 1664188"/>
                <a:gd name="connsiteY98" fmla="*/ 622838 h 1664230"/>
                <a:gd name="connsiteX99" fmla="*/ 1048405 w 1664188"/>
                <a:gd name="connsiteY99" fmla="*/ 625684 h 1664230"/>
                <a:gd name="connsiteX100" fmla="*/ 1134968 w 1664188"/>
                <a:gd name="connsiteY100" fmla="*/ 539068 h 1664230"/>
                <a:gd name="connsiteX101" fmla="*/ 1128002 w 1664188"/>
                <a:gd name="connsiteY101" fmla="*/ 536205 h 1664230"/>
                <a:gd name="connsiteX102" fmla="*/ 1127932 w 1664188"/>
                <a:gd name="connsiteY102" fmla="*/ 522272 h 1664230"/>
                <a:gd name="connsiteX103" fmla="*/ 1128054 w 1664188"/>
                <a:gd name="connsiteY103" fmla="*/ 522150 h 1664230"/>
                <a:gd name="connsiteX104" fmla="*/ 1142040 w 1664188"/>
                <a:gd name="connsiteY104" fmla="*/ 522150 h 1664230"/>
                <a:gd name="connsiteX105" fmla="*/ 1142040 w 1664188"/>
                <a:gd name="connsiteY105" fmla="*/ 536135 h 1664230"/>
                <a:gd name="connsiteX106" fmla="*/ 1134951 w 1664188"/>
                <a:gd name="connsiteY106" fmla="*/ 539068 h 1664230"/>
                <a:gd name="connsiteX107" fmla="*/ 1221514 w 1664188"/>
                <a:gd name="connsiteY107" fmla="*/ 452522 h 1664230"/>
                <a:gd name="connsiteX108" fmla="*/ 1214548 w 1664188"/>
                <a:gd name="connsiteY108" fmla="*/ 449659 h 1664230"/>
                <a:gd name="connsiteX109" fmla="*/ 1214478 w 1664188"/>
                <a:gd name="connsiteY109" fmla="*/ 435727 h 1664230"/>
                <a:gd name="connsiteX110" fmla="*/ 1214600 w 1664188"/>
                <a:gd name="connsiteY110" fmla="*/ 435604 h 1664230"/>
                <a:gd name="connsiteX111" fmla="*/ 1228585 w 1664188"/>
                <a:gd name="connsiteY111" fmla="*/ 435604 h 1664230"/>
                <a:gd name="connsiteX112" fmla="*/ 1228585 w 1664188"/>
                <a:gd name="connsiteY112" fmla="*/ 449589 h 1664230"/>
                <a:gd name="connsiteX113" fmla="*/ 1221496 w 1664188"/>
                <a:gd name="connsiteY113" fmla="*/ 452522 h 1664230"/>
                <a:gd name="connsiteX114" fmla="*/ 1308025 w 1664188"/>
                <a:gd name="connsiteY114" fmla="*/ 366081 h 1664230"/>
                <a:gd name="connsiteX115" fmla="*/ 1301076 w 1664188"/>
                <a:gd name="connsiteY115" fmla="*/ 363236 h 1664230"/>
                <a:gd name="connsiteX116" fmla="*/ 1300988 w 1664188"/>
                <a:gd name="connsiteY116" fmla="*/ 349251 h 1664230"/>
                <a:gd name="connsiteX117" fmla="*/ 1301111 w 1664188"/>
                <a:gd name="connsiteY117" fmla="*/ 349129 h 1664230"/>
                <a:gd name="connsiteX118" fmla="*/ 1315095 w 1664188"/>
                <a:gd name="connsiteY118" fmla="*/ 349041 h 1664230"/>
                <a:gd name="connsiteX119" fmla="*/ 1315183 w 1664188"/>
                <a:gd name="connsiteY119" fmla="*/ 363026 h 1664230"/>
                <a:gd name="connsiteX120" fmla="*/ 1315060 w 1664188"/>
                <a:gd name="connsiteY120" fmla="*/ 363148 h 1664230"/>
                <a:gd name="connsiteX121" fmla="*/ 1308025 w 1664188"/>
                <a:gd name="connsiteY121" fmla="*/ 366099 h 1664230"/>
                <a:gd name="connsiteX122" fmla="*/ 1394570 w 1664188"/>
                <a:gd name="connsiteY122" fmla="*/ 279536 h 1664230"/>
                <a:gd name="connsiteX123" fmla="*/ 1387569 w 1664188"/>
                <a:gd name="connsiteY123" fmla="*/ 276638 h 1664230"/>
                <a:gd name="connsiteX124" fmla="*/ 1387569 w 1664188"/>
                <a:gd name="connsiteY124" fmla="*/ 262653 h 1664230"/>
                <a:gd name="connsiteX125" fmla="*/ 1387691 w 1664188"/>
                <a:gd name="connsiteY125" fmla="*/ 262531 h 1664230"/>
                <a:gd name="connsiteX126" fmla="*/ 1401676 w 1664188"/>
                <a:gd name="connsiteY126" fmla="*/ 262531 h 1664230"/>
                <a:gd name="connsiteX127" fmla="*/ 1401676 w 1664188"/>
                <a:gd name="connsiteY127" fmla="*/ 276516 h 1664230"/>
                <a:gd name="connsiteX128" fmla="*/ 1401554 w 1664188"/>
                <a:gd name="connsiteY128" fmla="*/ 276638 h 1664230"/>
                <a:gd name="connsiteX129" fmla="*/ 1394553 w 1664188"/>
                <a:gd name="connsiteY129" fmla="*/ 279536 h 1664230"/>
                <a:gd name="connsiteX130" fmla="*/ 1481116 w 1664188"/>
                <a:gd name="connsiteY130" fmla="*/ 192990 h 1664230"/>
                <a:gd name="connsiteX131" fmla="*/ 1474079 w 1664188"/>
                <a:gd name="connsiteY131" fmla="*/ 190040 h 1664230"/>
                <a:gd name="connsiteX132" fmla="*/ 1474167 w 1664188"/>
                <a:gd name="connsiteY132" fmla="*/ 176055 h 1664230"/>
                <a:gd name="connsiteX133" fmla="*/ 1474289 w 1664188"/>
                <a:gd name="connsiteY133" fmla="*/ 175933 h 1664230"/>
                <a:gd name="connsiteX134" fmla="*/ 1488274 w 1664188"/>
                <a:gd name="connsiteY134" fmla="*/ 176020 h 1664230"/>
                <a:gd name="connsiteX135" fmla="*/ 1488187 w 1664188"/>
                <a:gd name="connsiteY135" fmla="*/ 190005 h 1664230"/>
                <a:gd name="connsiteX136" fmla="*/ 1488065 w 1664188"/>
                <a:gd name="connsiteY136" fmla="*/ 190127 h 1664230"/>
                <a:gd name="connsiteX137" fmla="*/ 1481116 w 1664188"/>
                <a:gd name="connsiteY137" fmla="*/ 192973 h 1664230"/>
                <a:gd name="connsiteX138" fmla="*/ 1567678 w 1664188"/>
                <a:gd name="connsiteY138" fmla="*/ 106357 h 1664230"/>
                <a:gd name="connsiteX139" fmla="*/ 1560712 w 1664188"/>
                <a:gd name="connsiteY139" fmla="*/ 103494 h 1664230"/>
                <a:gd name="connsiteX140" fmla="*/ 1560643 w 1664188"/>
                <a:gd name="connsiteY140" fmla="*/ 89562 h 1664230"/>
                <a:gd name="connsiteX141" fmla="*/ 1560764 w 1664188"/>
                <a:gd name="connsiteY141" fmla="*/ 89439 h 1664230"/>
                <a:gd name="connsiteX142" fmla="*/ 1574750 w 1664188"/>
                <a:gd name="connsiteY142" fmla="*/ 89439 h 1664230"/>
                <a:gd name="connsiteX143" fmla="*/ 1574750 w 1664188"/>
                <a:gd name="connsiteY143" fmla="*/ 103424 h 1664230"/>
                <a:gd name="connsiteX144" fmla="*/ 1567661 w 1664188"/>
                <a:gd name="connsiteY144" fmla="*/ 106357 h 1664230"/>
                <a:gd name="connsiteX145" fmla="*/ 1654224 w 1664188"/>
                <a:gd name="connsiteY145" fmla="*/ 19812 h 1664230"/>
                <a:gd name="connsiteX146" fmla="*/ 1647258 w 1664188"/>
                <a:gd name="connsiteY146" fmla="*/ 16949 h 1664230"/>
                <a:gd name="connsiteX147" fmla="*/ 1647188 w 1664188"/>
                <a:gd name="connsiteY147" fmla="*/ 3016 h 1664230"/>
                <a:gd name="connsiteX148" fmla="*/ 1647311 w 1664188"/>
                <a:gd name="connsiteY148" fmla="*/ 2894 h 1664230"/>
                <a:gd name="connsiteX149" fmla="*/ 1661295 w 1664188"/>
                <a:gd name="connsiteY149" fmla="*/ 2894 h 1664230"/>
                <a:gd name="connsiteX150" fmla="*/ 1661295 w 1664188"/>
                <a:gd name="connsiteY150" fmla="*/ 16879 h 1664230"/>
                <a:gd name="connsiteX151" fmla="*/ 1654207 w 1664188"/>
                <a:gd name="connsiteY151" fmla="*/ 19812 h 166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1664188" h="1664230">
                  <a:moveTo>
                    <a:pt x="9893" y="1664213"/>
                  </a:moveTo>
                  <a:cubicBezTo>
                    <a:pt x="7379" y="1664213"/>
                    <a:pt x="4865" y="1663270"/>
                    <a:pt x="2944" y="1661367"/>
                  </a:cubicBezTo>
                  <a:cubicBezTo>
                    <a:pt x="-949" y="1657526"/>
                    <a:pt x="-984" y="1651258"/>
                    <a:pt x="2857" y="1647382"/>
                  </a:cubicBezTo>
                  <a:lnTo>
                    <a:pt x="2979" y="1647260"/>
                  </a:lnTo>
                  <a:cubicBezTo>
                    <a:pt x="6820" y="1643367"/>
                    <a:pt x="13088" y="1643332"/>
                    <a:pt x="16964" y="1647173"/>
                  </a:cubicBezTo>
                  <a:cubicBezTo>
                    <a:pt x="20857" y="1651014"/>
                    <a:pt x="20892" y="1657282"/>
                    <a:pt x="17051" y="1661158"/>
                  </a:cubicBezTo>
                  <a:lnTo>
                    <a:pt x="16929" y="1661280"/>
                  </a:lnTo>
                  <a:cubicBezTo>
                    <a:pt x="14991" y="1663235"/>
                    <a:pt x="12442" y="1664230"/>
                    <a:pt x="9893" y="1664230"/>
                  </a:cubicBezTo>
                  <a:close/>
                  <a:moveTo>
                    <a:pt x="96439" y="1577668"/>
                  </a:moveTo>
                  <a:cubicBezTo>
                    <a:pt x="93907" y="1577668"/>
                    <a:pt x="91375" y="1576707"/>
                    <a:pt x="89438" y="1574769"/>
                  </a:cubicBezTo>
                  <a:cubicBezTo>
                    <a:pt x="85579" y="1570911"/>
                    <a:pt x="85579" y="1564643"/>
                    <a:pt x="89438" y="1560784"/>
                  </a:cubicBezTo>
                  <a:lnTo>
                    <a:pt x="89559" y="1560662"/>
                  </a:lnTo>
                  <a:cubicBezTo>
                    <a:pt x="93418" y="1556804"/>
                    <a:pt x="99686" y="1556804"/>
                    <a:pt x="103544" y="1560662"/>
                  </a:cubicBezTo>
                  <a:cubicBezTo>
                    <a:pt x="107403" y="1564521"/>
                    <a:pt x="107403" y="1570788"/>
                    <a:pt x="103544" y="1574647"/>
                  </a:cubicBezTo>
                  <a:lnTo>
                    <a:pt x="103422" y="1574769"/>
                  </a:lnTo>
                  <a:cubicBezTo>
                    <a:pt x="101484" y="1576707"/>
                    <a:pt x="98953" y="1577668"/>
                    <a:pt x="96421" y="1577668"/>
                  </a:cubicBezTo>
                  <a:close/>
                  <a:moveTo>
                    <a:pt x="182967" y="1491122"/>
                  </a:moveTo>
                  <a:cubicBezTo>
                    <a:pt x="180418" y="1491122"/>
                    <a:pt x="177851" y="1490144"/>
                    <a:pt x="175931" y="1488171"/>
                  </a:cubicBezTo>
                  <a:cubicBezTo>
                    <a:pt x="172089" y="1484278"/>
                    <a:pt x="172142" y="1478010"/>
                    <a:pt x="176018" y="1474187"/>
                  </a:cubicBezTo>
                  <a:lnTo>
                    <a:pt x="176140" y="1474064"/>
                  </a:lnTo>
                  <a:cubicBezTo>
                    <a:pt x="180033" y="1470223"/>
                    <a:pt x="186302" y="1470276"/>
                    <a:pt x="190125" y="1474152"/>
                  </a:cubicBezTo>
                  <a:cubicBezTo>
                    <a:pt x="193966" y="1478045"/>
                    <a:pt x="193914" y="1484313"/>
                    <a:pt x="190038" y="1488137"/>
                  </a:cubicBezTo>
                  <a:lnTo>
                    <a:pt x="189915" y="1488258"/>
                  </a:lnTo>
                  <a:cubicBezTo>
                    <a:pt x="187995" y="1490162"/>
                    <a:pt x="185481" y="1491105"/>
                    <a:pt x="182967" y="1491105"/>
                  </a:cubicBezTo>
                  <a:close/>
                  <a:moveTo>
                    <a:pt x="269547" y="1404489"/>
                  </a:moveTo>
                  <a:cubicBezTo>
                    <a:pt x="267016" y="1404489"/>
                    <a:pt x="264502" y="1403529"/>
                    <a:pt x="262581" y="1401626"/>
                  </a:cubicBezTo>
                  <a:cubicBezTo>
                    <a:pt x="258723" y="1397767"/>
                    <a:pt x="258653" y="1391552"/>
                    <a:pt x="262511" y="1387693"/>
                  </a:cubicBezTo>
                  <a:lnTo>
                    <a:pt x="262633" y="1387571"/>
                  </a:lnTo>
                  <a:cubicBezTo>
                    <a:pt x="266492" y="1383713"/>
                    <a:pt x="272760" y="1383713"/>
                    <a:pt x="276618" y="1387571"/>
                  </a:cubicBezTo>
                  <a:cubicBezTo>
                    <a:pt x="280477" y="1391429"/>
                    <a:pt x="280477" y="1397697"/>
                    <a:pt x="276618" y="1401556"/>
                  </a:cubicBezTo>
                  <a:cubicBezTo>
                    <a:pt x="274663" y="1403512"/>
                    <a:pt x="272096" y="1404489"/>
                    <a:pt x="269530" y="1404489"/>
                  </a:cubicBezTo>
                  <a:close/>
                  <a:moveTo>
                    <a:pt x="356093" y="1317944"/>
                  </a:moveTo>
                  <a:cubicBezTo>
                    <a:pt x="353561" y="1317944"/>
                    <a:pt x="351047" y="1317001"/>
                    <a:pt x="349127" y="1315080"/>
                  </a:cubicBezTo>
                  <a:cubicBezTo>
                    <a:pt x="345268" y="1311222"/>
                    <a:pt x="345198" y="1305006"/>
                    <a:pt x="349057" y="1301148"/>
                  </a:cubicBezTo>
                  <a:lnTo>
                    <a:pt x="349179" y="1301025"/>
                  </a:lnTo>
                  <a:cubicBezTo>
                    <a:pt x="353038" y="1297167"/>
                    <a:pt x="359305" y="1297167"/>
                    <a:pt x="363164" y="1301025"/>
                  </a:cubicBezTo>
                  <a:cubicBezTo>
                    <a:pt x="367022" y="1304884"/>
                    <a:pt x="367022" y="1311152"/>
                    <a:pt x="363164" y="1315010"/>
                  </a:cubicBezTo>
                  <a:cubicBezTo>
                    <a:pt x="361208" y="1316966"/>
                    <a:pt x="358642" y="1317944"/>
                    <a:pt x="356075" y="1317944"/>
                  </a:cubicBezTo>
                  <a:close/>
                  <a:moveTo>
                    <a:pt x="442604" y="1231503"/>
                  </a:moveTo>
                  <a:cubicBezTo>
                    <a:pt x="440089" y="1231503"/>
                    <a:pt x="437575" y="1230560"/>
                    <a:pt x="435654" y="1228657"/>
                  </a:cubicBezTo>
                  <a:cubicBezTo>
                    <a:pt x="431761" y="1224816"/>
                    <a:pt x="431726" y="1218548"/>
                    <a:pt x="435568" y="1214672"/>
                  </a:cubicBezTo>
                  <a:lnTo>
                    <a:pt x="435689" y="1214549"/>
                  </a:lnTo>
                  <a:cubicBezTo>
                    <a:pt x="439531" y="1210656"/>
                    <a:pt x="445798" y="1210621"/>
                    <a:pt x="449674" y="1214463"/>
                  </a:cubicBezTo>
                  <a:cubicBezTo>
                    <a:pt x="453568" y="1218303"/>
                    <a:pt x="453603" y="1224571"/>
                    <a:pt x="449762" y="1228447"/>
                  </a:cubicBezTo>
                  <a:lnTo>
                    <a:pt x="449639" y="1228569"/>
                  </a:lnTo>
                  <a:cubicBezTo>
                    <a:pt x="447702" y="1230525"/>
                    <a:pt x="445153" y="1231520"/>
                    <a:pt x="442604" y="1231520"/>
                  </a:cubicBezTo>
                  <a:close/>
                  <a:moveTo>
                    <a:pt x="529149" y="1144957"/>
                  </a:moveTo>
                  <a:cubicBezTo>
                    <a:pt x="526617" y="1144957"/>
                    <a:pt x="524086" y="1143997"/>
                    <a:pt x="522148" y="1142059"/>
                  </a:cubicBezTo>
                  <a:cubicBezTo>
                    <a:pt x="518289" y="1138200"/>
                    <a:pt x="518289" y="1131933"/>
                    <a:pt x="522148" y="1128074"/>
                  </a:cubicBezTo>
                  <a:lnTo>
                    <a:pt x="522270" y="1127952"/>
                  </a:lnTo>
                  <a:cubicBezTo>
                    <a:pt x="526129" y="1124093"/>
                    <a:pt x="532397" y="1124093"/>
                    <a:pt x="536255" y="1127952"/>
                  </a:cubicBezTo>
                  <a:cubicBezTo>
                    <a:pt x="540113" y="1131810"/>
                    <a:pt x="540113" y="1138078"/>
                    <a:pt x="536255" y="1141937"/>
                  </a:cubicBezTo>
                  <a:lnTo>
                    <a:pt x="536133" y="1142059"/>
                  </a:lnTo>
                  <a:cubicBezTo>
                    <a:pt x="534195" y="1143997"/>
                    <a:pt x="531663" y="1144957"/>
                    <a:pt x="529131" y="1144957"/>
                  </a:cubicBezTo>
                  <a:close/>
                  <a:moveTo>
                    <a:pt x="615695" y="1058411"/>
                  </a:moveTo>
                  <a:cubicBezTo>
                    <a:pt x="613146" y="1058411"/>
                    <a:pt x="610579" y="1057434"/>
                    <a:pt x="608659" y="1055461"/>
                  </a:cubicBezTo>
                  <a:cubicBezTo>
                    <a:pt x="604818" y="1051567"/>
                    <a:pt x="604870" y="1045299"/>
                    <a:pt x="608746" y="1041476"/>
                  </a:cubicBezTo>
                  <a:lnTo>
                    <a:pt x="608868" y="1041354"/>
                  </a:lnTo>
                  <a:cubicBezTo>
                    <a:pt x="612762" y="1037513"/>
                    <a:pt x="619029" y="1037565"/>
                    <a:pt x="622853" y="1041441"/>
                  </a:cubicBezTo>
                  <a:cubicBezTo>
                    <a:pt x="626677" y="1045317"/>
                    <a:pt x="626642" y="1051602"/>
                    <a:pt x="622766" y="1055426"/>
                  </a:cubicBezTo>
                  <a:lnTo>
                    <a:pt x="622643" y="1055548"/>
                  </a:lnTo>
                  <a:cubicBezTo>
                    <a:pt x="620723" y="1057451"/>
                    <a:pt x="618209" y="1058394"/>
                    <a:pt x="615695" y="1058394"/>
                  </a:cubicBezTo>
                  <a:close/>
                  <a:moveTo>
                    <a:pt x="702258" y="971779"/>
                  </a:moveTo>
                  <a:cubicBezTo>
                    <a:pt x="699726" y="971779"/>
                    <a:pt x="697212" y="970836"/>
                    <a:pt x="695292" y="968915"/>
                  </a:cubicBezTo>
                  <a:cubicBezTo>
                    <a:pt x="691433" y="965057"/>
                    <a:pt x="691363" y="958841"/>
                    <a:pt x="695222" y="954983"/>
                  </a:cubicBezTo>
                  <a:lnTo>
                    <a:pt x="695344" y="954860"/>
                  </a:lnTo>
                  <a:cubicBezTo>
                    <a:pt x="699202" y="951002"/>
                    <a:pt x="705470" y="951002"/>
                    <a:pt x="709328" y="954860"/>
                  </a:cubicBezTo>
                  <a:cubicBezTo>
                    <a:pt x="713187" y="958719"/>
                    <a:pt x="713187" y="964987"/>
                    <a:pt x="709328" y="968845"/>
                  </a:cubicBezTo>
                  <a:cubicBezTo>
                    <a:pt x="707373" y="970801"/>
                    <a:pt x="704807" y="971779"/>
                    <a:pt x="702240" y="971779"/>
                  </a:cubicBezTo>
                  <a:close/>
                  <a:moveTo>
                    <a:pt x="788803" y="885233"/>
                  </a:moveTo>
                  <a:cubicBezTo>
                    <a:pt x="786272" y="885233"/>
                    <a:pt x="783758" y="884290"/>
                    <a:pt x="781837" y="882369"/>
                  </a:cubicBezTo>
                  <a:cubicBezTo>
                    <a:pt x="777978" y="878511"/>
                    <a:pt x="777909" y="872296"/>
                    <a:pt x="781767" y="868437"/>
                  </a:cubicBezTo>
                  <a:lnTo>
                    <a:pt x="781889" y="868315"/>
                  </a:lnTo>
                  <a:cubicBezTo>
                    <a:pt x="785748" y="864457"/>
                    <a:pt x="792016" y="864457"/>
                    <a:pt x="795874" y="868315"/>
                  </a:cubicBezTo>
                  <a:cubicBezTo>
                    <a:pt x="799733" y="872173"/>
                    <a:pt x="799733" y="878441"/>
                    <a:pt x="795874" y="882300"/>
                  </a:cubicBezTo>
                  <a:cubicBezTo>
                    <a:pt x="793919" y="884255"/>
                    <a:pt x="791353" y="885233"/>
                    <a:pt x="788786" y="885233"/>
                  </a:cubicBezTo>
                  <a:close/>
                  <a:moveTo>
                    <a:pt x="875314" y="798792"/>
                  </a:moveTo>
                  <a:cubicBezTo>
                    <a:pt x="872800" y="798792"/>
                    <a:pt x="870286" y="797849"/>
                    <a:pt x="868365" y="795946"/>
                  </a:cubicBezTo>
                  <a:cubicBezTo>
                    <a:pt x="864472" y="792105"/>
                    <a:pt x="864437" y="785837"/>
                    <a:pt x="868278" y="781962"/>
                  </a:cubicBezTo>
                  <a:lnTo>
                    <a:pt x="868400" y="781839"/>
                  </a:lnTo>
                  <a:cubicBezTo>
                    <a:pt x="872241" y="777946"/>
                    <a:pt x="878492" y="777911"/>
                    <a:pt x="882385" y="781752"/>
                  </a:cubicBezTo>
                  <a:cubicBezTo>
                    <a:pt x="886278" y="785593"/>
                    <a:pt x="886313" y="791861"/>
                    <a:pt x="882472" y="795737"/>
                  </a:cubicBezTo>
                  <a:lnTo>
                    <a:pt x="882350" y="795859"/>
                  </a:lnTo>
                  <a:cubicBezTo>
                    <a:pt x="880412" y="797814"/>
                    <a:pt x="877863" y="798810"/>
                    <a:pt x="875314" y="798810"/>
                  </a:cubicBezTo>
                  <a:close/>
                  <a:moveTo>
                    <a:pt x="961860" y="712246"/>
                  </a:moveTo>
                  <a:cubicBezTo>
                    <a:pt x="959328" y="712246"/>
                    <a:pt x="956797" y="711286"/>
                    <a:pt x="954858" y="709348"/>
                  </a:cubicBezTo>
                  <a:cubicBezTo>
                    <a:pt x="951000" y="705490"/>
                    <a:pt x="951000" y="699222"/>
                    <a:pt x="954858" y="695363"/>
                  </a:cubicBezTo>
                  <a:lnTo>
                    <a:pt x="954981" y="695241"/>
                  </a:lnTo>
                  <a:cubicBezTo>
                    <a:pt x="958839" y="691383"/>
                    <a:pt x="965107" y="691383"/>
                    <a:pt x="968966" y="695241"/>
                  </a:cubicBezTo>
                  <a:cubicBezTo>
                    <a:pt x="972824" y="699100"/>
                    <a:pt x="972824" y="705368"/>
                    <a:pt x="968966" y="709226"/>
                  </a:cubicBezTo>
                  <a:lnTo>
                    <a:pt x="968843" y="709348"/>
                  </a:lnTo>
                  <a:cubicBezTo>
                    <a:pt x="966905" y="711286"/>
                    <a:pt x="964374" y="712246"/>
                    <a:pt x="961842" y="712246"/>
                  </a:cubicBezTo>
                  <a:close/>
                  <a:moveTo>
                    <a:pt x="1048405" y="625701"/>
                  </a:moveTo>
                  <a:cubicBezTo>
                    <a:pt x="1045856" y="625701"/>
                    <a:pt x="1043289" y="624723"/>
                    <a:pt x="1041369" y="622750"/>
                  </a:cubicBezTo>
                  <a:cubicBezTo>
                    <a:pt x="1037528" y="618857"/>
                    <a:pt x="1037580" y="612589"/>
                    <a:pt x="1041457" y="608765"/>
                  </a:cubicBezTo>
                  <a:lnTo>
                    <a:pt x="1041578" y="608643"/>
                  </a:lnTo>
                  <a:cubicBezTo>
                    <a:pt x="1045472" y="604802"/>
                    <a:pt x="1051740" y="604854"/>
                    <a:pt x="1055563" y="608730"/>
                  </a:cubicBezTo>
                  <a:cubicBezTo>
                    <a:pt x="1059404" y="612624"/>
                    <a:pt x="1059352" y="618892"/>
                    <a:pt x="1055476" y="622715"/>
                  </a:cubicBezTo>
                  <a:lnTo>
                    <a:pt x="1055354" y="622838"/>
                  </a:lnTo>
                  <a:cubicBezTo>
                    <a:pt x="1053433" y="624741"/>
                    <a:pt x="1050919" y="625684"/>
                    <a:pt x="1048405" y="625684"/>
                  </a:cubicBezTo>
                  <a:close/>
                  <a:moveTo>
                    <a:pt x="1134968" y="539068"/>
                  </a:moveTo>
                  <a:cubicBezTo>
                    <a:pt x="1132437" y="539068"/>
                    <a:pt x="1129922" y="538125"/>
                    <a:pt x="1128002" y="536205"/>
                  </a:cubicBezTo>
                  <a:cubicBezTo>
                    <a:pt x="1124144" y="532346"/>
                    <a:pt x="1124074" y="526131"/>
                    <a:pt x="1127932" y="522272"/>
                  </a:cubicBezTo>
                  <a:lnTo>
                    <a:pt x="1128054" y="522150"/>
                  </a:lnTo>
                  <a:cubicBezTo>
                    <a:pt x="1131913" y="518292"/>
                    <a:pt x="1138180" y="518292"/>
                    <a:pt x="1142040" y="522150"/>
                  </a:cubicBezTo>
                  <a:cubicBezTo>
                    <a:pt x="1145898" y="526009"/>
                    <a:pt x="1145898" y="532277"/>
                    <a:pt x="1142040" y="536135"/>
                  </a:cubicBezTo>
                  <a:cubicBezTo>
                    <a:pt x="1140084" y="538090"/>
                    <a:pt x="1137517" y="539068"/>
                    <a:pt x="1134951" y="539068"/>
                  </a:cubicBezTo>
                  <a:close/>
                  <a:moveTo>
                    <a:pt x="1221514" y="452522"/>
                  </a:moveTo>
                  <a:cubicBezTo>
                    <a:pt x="1218982" y="452522"/>
                    <a:pt x="1216468" y="451562"/>
                    <a:pt x="1214548" y="449659"/>
                  </a:cubicBezTo>
                  <a:cubicBezTo>
                    <a:pt x="1210689" y="445801"/>
                    <a:pt x="1210619" y="439585"/>
                    <a:pt x="1214478" y="435727"/>
                  </a:cubicBezTo>
                  <a:lnTo>
                    <a:pt x="1214600" y="435604"/>
                  </a:lnTo>
                  <a:cubicBezTo>
                    <a:pt x="1218459" y="431746"/>
                    <a:pt x="1224726" y="431746"/>
                    <a:pt x="1228585" y="435604"/>
                  </a:cubicBezTo>
                  <a:cubicBezTo>
                    <a:pt x="1232443" y="439463"/>
                    <a:pt x="1232443" y="445731"/>
                    <a:pt x="1228585" y="449589"/>
                  </a:cubicBezTo>
                  <a:cubicBezTo>
                    <a:pt x="1226629" y="451545"/>
                    <a:pt x="1224063" y="452522"/>
                    <a:pt x="1221496" y="452522"/>
                  </a:cubicBezTo>
                  <a:close/>
                  <a:moveTo>
                    <a:pt x="1308025" y="366081"/>
                  </a:moveTo>
                  <a:cubicBezTo>
                    <a:pt x="1305510" y="366081"/>
                    <a:pt x="1302996" y="365139"/>
                    <a:pt x="1301076" y="363236"/>
                  </a:cubicBezTo>
                  <a:cubicBezTo>
                    <a:pt x="1297182" y="359395"/>
                    <a:pt x="1297147" y="353127"/>
                    <a:pt x="1300988" y="349251"/>
                  </a:cubicBezTo>
                  <a:lnTo>
                    <a:pt x="1301111" y="349129"/>
                  </a:lnTo>
                  <a:cubicBezTo>
                    <a:pt x="1304951" y="345235"/>
                    <a:pt x="1311202" y="345200"/>
                    <a:pt x="1315095" y="349041"/>
                  </a:cubicBezTo>
                  <a:cubicBezTo>
                    <a:pt x="1318989" y="352883"/>
                    <a:pt x="1319024" y="359150"/>
                    <a:pt x="1315183" y="363026"/>
                  </a:cubicBezTo>
                  <a:lnTo>
                    <a:pt x="1315060" y="363148"/>
                  </a:lnTo>
                  <a:cubicBezTo>
                    <a:pt x="1313123" y="365104"/>
                    <a:pt x="1310574" y="366099"/>
                    <a:pt x="1308025" y="366099"/>
                  </a:cubicBezTo>
                  <a:close/>
                  <a:moveTo>
                    <a:pt x="1394570" y="279536"/>
                  </a:moveTo>
                  <a:cubicBezTo>
                    <a:pt x="1392039" y="279536"/>
                    <a:pt x="1389507" y="278576"/>
                    <a:pt x="1387569" y="276638"/>
                  </a:cubicBezTo>
                  <a:cubicBezTo>
                    <a:pt x="1383711" y="272779"/>
                    <a:pt x="1383711" y="266511"/>
                    <a:pt x="1387569" y="262653"/>
                  </a:cubicBezTo>
                  <a:lnTo>
                    <a:pt x="1387691" y="262531"/>
                  </a:lnTo>
                  <a:cubicBezTo>
                    <a:pt x="1391549" y="258672"/>
                    <a:pt x="1397818" y="258672"/>
                    <a:pt x="1401676" y="262531"/>
                  </a:cubicBezTo>
                  <a:cubicBezTo>
                    <a:pt x="1405535" y="266389"/>
                    <a:pt x="1405535" y="272657"/>
                    <a:pt x="1401676" y="276516"/>
                  </a:cubicBezTo>
                  <a:lnTo>
                    <a:pt x="1401554" y="276638"/>
                  </a:lnTo>
                  <a:cubicBezTo>
                    <a:pt x="1399616" y="278576"/>
                    <a:pt x="1397084" y="279536"/>
                    <a:pt x="1394553" y="279536"/>
                  </a:cubicBezTo>
                  <a:close/>
                  <a:moveTo>
                    <a:pt x="1481116" y="192990"/>
                  </a:moveTo>
                  <a:cubicBezTo>
                    <a:pt x="1478567" y="192990"/>
                    <a:pt x="1476000" y="192013"/>
                    <a:pt x="1474079" y="190040"/>
                  </a:cubicBezTo>
                  <a:cubicBezTo>
                    <a:pt x="1470239" y="186147"/>
                    <a:pt x="1470291" y="179879"/>
                    <a:pt x="1474167" y="176055"/>
                  </a:cubicBezTo>
                  <a:lnTo>
                    <a:pt x="1474289" y="175933"/>
                  </a:lnTo>
                  <a:cubicBezTo>
                    <a:pt x="1478182" y="172092"/>
                    <a:pt x="1484450" y="172144"/>
                    <a:pt x="1488274" y="176020"/>
                  </a:cubicBezTo>
                  <a:cubicBezTo>
                    <a:pt x="1492115" y="179914"/>
                    <a:pt x="1492063" y="186181"/>
                    <a:pt x="1488187" y="190005"/>
                  </a:cubicBezTo>
                  <a:lnTo>
                    <a:pt x="1488065" y="190127"/>
                  </a:lnTo>
                  <a:cubicBezTo>
                    <a:pt x="1486144" y="192030"/>
                    <a:pt x="1483630" y="192973"/>
                    <a:pt x="1481116" y="192973"/>
                  </a:cubicBezTo>
                  <a:close/>
                  <a:moveTo>
                    <a:pt x="1567678" y="106357"/>
                  </a:moveTo>
                  <a:cubicBezTo>
                    <a:pt x="1565147" y="106357"/>
                    <a:pt x="1562633" y="105415"/>
                    <a:pt x="1560712" y="103494"/>
                  </a:cubicBezTo>
                  <a:cubicBezTo>
                    <a:pt x="1556854" y="99636"/>
                    <a:pt x="1556784" y="93420"/>
                    <a:pt x="1560643" y="89562"/>
                  </a:cubicBezTo>
                  <a:lnTo>
                    <a:pt x="1560764" y="89439"/>
                  </a:lnTo>
                  <a:cubicBezTo>
                    <a:pt x="1564623" y="85581"/>
                    <a:pt x="1570891" y="85581"/>
                    <a:pt x="1574750" y="89439"/>
                  </a:cubicBezTo>
                  <a:cubicBezTo>
                    <a:pt x="1578608" y="93298"/>
                    <a:pt x="1578608" y="99566"/>
                    <a:pt x="1574750" y="103424"/>
                  </a:cubicBezTo>
                  <a:cubicBezTo>
                    <a:pt x="1572794" y="105380"/>
                    <a:pt x="1570228" y="106357"/>
                    <a:pt x="1567661" y="106357"/>
                  </a:cubicBezTo>
                  <a:close/>
                  <a:moveTo>
                    <a:pt x="1654224" y="19812"/>
                  </a:moveTo>
                  <a:cubicBezTo>
                    <a:pt x="1651692" y="19812"/>
                    <a:pt x="1649178" y="18869"/>
                    <a:pt x="1647258" y="16949"/>
                  </a:cubicBezTo>
                  <a:cubicBezTo>
                    <a:pt x="1643399" y="13090"/>
                    <a:pt x="1643329" y="6875"/>
                    <a:pt x="1647188" y="3016"/>
                  </a:cubicBezTo>
                  <a:lnTo>
                    <a:pt x="1647311" y="2894"/>
                  </a:lnTo>
                  <a:cubicBezTo>
                    <a:pt x="1651169" y="-965"/>
                    <a:pt x="1657437" y="-965"/>
                    <a:pt x="1661295" y="2894"/>
                  </a:cubicBezTo>
                  <a:cubicBezTo>
                    <a:pt x="1665153" y="6752"/>
                    <a:pt x="1665153" y="13020"/>
                    <a:pt x="1661295" y="16879"/>
                  </a:cubicBezTo>
                  <a:cubicBezTo>
                    <a:pt x="1659339" y="18834"/>
                    <a:pt x="1656773" y="19812"/>
                    <a:pt x="1654207" y="19812"/>
                  </a:cubicBezTo>
                  <a:close/>
                </a:path>
              </a:pathLst>
            </a:custGeom>
            <a:grpFill/>
            <a:ln w="0"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5C0EA63-1B1E-AC7D-BE88-C087A12B36B1}"/>
                </a:ext>
              </a:extLst>
            </p:cNvPr>
            <p:cNvSpPr/>
            <p:nvPr/>
          </p:nvSpPr>
          <p:spPr>
            <a:xfrm>
              <a:off x="7320053" y="3636250"/>
              <a:ext cx="1578837" cy="1578832"/>
            </a:xfrm>
            <a:custGeom>
              <a:avLst/>
              <a:gdLst>
                <a:gd name="connsiteX0" fmla="*/ 10474 w 1578837"/>
                <a:gd name="connsiteY0" fmla="*/ 1578833 h 1578832"/>
                <a:gd name="connsiteX1" fmla="*/ 3123 w 1578837"/>
                <a:gd name="connsiteY1" fmla="*/ 1575812 h 1578832"/>
                <a:gd name="connsiteX2" fmla="*/ 3019 w 1578837"/>
                <a:gd name="connsiteY2" fmla="*/ 1561007 h 1578832"/>
                <a:gd name="connsiteX3" fmla="*/ 3141 w 1578837"/>
                <a:gd name="connsiteY3" fmla="*/ 1560885 h 1578832"/>
                <a:gd name="connsiteX4" fmla="*/ 17946 w 1578837"/>
                <a:gd name="connsiteY4" fmla="*/ 1560780 h 1578832"/>
                <a:gd name="connsiteX5" fmla="*/ 18051 w 1578837"/>
                <a:gd name="connsiteY5" fmla="*/ 1575585 h 1578832"/>
                <a:gd name="connsiteX6" fmla="*/ 17929 w 1578837"/>
                <a:gd name="connsiteY6" fmla="*/ 1575707 h 1578832"/>
                <a:gd name="connsiteX7" fmla="*/ 10474 w 1578837"/>
                <a:gd name="connsiteY7" fmla="*/ 1578833 h 1578832"/>
                <a:gd name="connsiteX8" fmla="*/ 97019 w 1578837"/>
                <a:gd name="connsiteY8" fmla="*/ 1492287 h 1578832"/>
                <a:gd name="connsiteX9" fmla="*/ 89616 w 1578837"/>
                <a:gd name="connsiteY9" fmla="*/ 1489214 h 1578832"/>
                <a:gd name="connsiteX10" fmla="*/ 89616 w 1578837"/>
                <a:gd name="connsiteY10" fmla="*/ 1474409 h 1578832"/>
                <a:gd name="connsiteX11" fmla="*/ 89739 w 1578837"/>
                <a:gd name="connsiteY11" fmla="*/ 1474287 h 1578832"/>
                <a:gd name="connsiteX12" fmla="*/ 104562 w 1578837"/>
                <a:gd name="connsiteY12" fmla="*/ 1474287 h 1578832"/>
                <a:gd name="connsiteX13" fmla="*/ 104562 w 1578837"/>
                <a:gd name="connsiteY13" fmla="*/ 1489092 h 1578832"/>
                <a:gd name="connsiteX14" fmla="*/ 104439 w 1578837"/>
                <a:gd name="connsiteY14" fmla="*/ 1489214 h 1578832"/>
                <a:gd name="connsiteX15" fmla="*/ 97037 w 1578837"/>
                <a:gd name="connsiteY15" fmla="*/ 1492287 h 1578832"/>
                <a:gd name="connsiteX16" fmla="*/ 183565 w 1578837"/>
                <a:gd name="connsiteY16" fmla="*/ 1405759 h 1578832"/>
                <a:gd name="connsiteX17" fmla="*/ 176110 w 1578837"/>
                <a:gd name="connsiteY17" fmla="*/ 1402634 h 1578832"/>
                <a:gd name="connsiteX18" fmla="*/ 176215 w 1578837"/>
                <a:gd name="connsiteY18" fmla="*/ 1387828 h 1578832"/>
                <a:gd name="connsiteX19" fmla="*/ 176337 w 1578837"/>
                <a:gd name="connsiteY19" fmla="*/ 1387706 h 1578832"/>
                <a:gd name="connsiteX20" fmla="*/ 191160 w 1578837"/>
                <a:gd name="connsiteY20" fmla="*/ 1387811 h 1578832"/>
                <a:gd name="connsiteX21" fmla="*/ 191055 w 1578837"/>
                <a:gd name="connsiteY21" fmla="*/ 1402616 h 1578832"/>
                <a:gd name="connsiteX22" fmla="*/ 190933 w 1578837"/>
                <a:gd name="connsiteY22" fmla="*/ 1402738 h 1578832"/>
                <a:gd name="connsiteX23" fmla="*/ 183582 w 1578837"/>
                <a:gd name="connsiteY23" fmla="*/ 1405759 h 1578832"/>
                <a:gd name="connsiteX24" fmla="*/ 270128 w 1578837"/>
                <a:gd name="connsiteY24" fmla="*/ 1319126 h 1578832"/>
                <a:gd name="connsiteX25" fmla="*/ 262760 w 1578837"/>
                <a:gd name="connsiteY25" fmla="*/ 1316088 h 1578832"/>
                <a:gd name="connsiteX26" fmla="*/ 262690 w 1578837"/>
                <a:gd name="connsiteY26" fmla="*/ 1301335 h 1578832"/>
                <a:gd name="connsiteX27" fmla="*/ 262813 w 1578837"/>
                <a:gd name="connsiteY27" fmla="*/ 1301213 h 1578832"/>
                <a:gd name="connsiteX28" fmla="*/ 277618 w 1578837"/>
                <a:gd name="connsiteY28" fmla="*/ 1301213 h 1578832"/>
                <a:gd name="connsiteX29" fmla="*/ 277618 w 1578837"/>
                <a:gd name="connsiteY29" fmla="*/ 1316018 h 1578832"/>
                <a:gd name="connsiteX30" fmla="*/ 270128 w 1578837"/>
                <a:gd name="connsiteY30" fmla="*/ 1319126 h 1578832"/>
                <a:gd name="connsiteX31" fmla="*/ 356673 w 1578837"/>
                <a:gd name="connsiteY31" fmla="*/ 1232580 h 1578832"/>
                <a:gd name="connsiteX32" fmla="*/ 349306 w 1578837"/>
                <a:gd name="connsiteY32" fmla="*/ 1229542 h 1578832"/>
                <a:gd name="connsiteX33" fmla="*/ 349236 w 1578837"/>
                <a:gd name="connsiteY33" fmla="*/ 1214790 h 1578832"/>
                <a:gd name="connsiteX34" fmla="*/ 349358 w 1578837"/>
                <a:gd name="connsiteY34" fmla="*/ 1214667 h 1578832"/>
                <a:gd name="connsiteX35" fmla="*/ 364181 w 1578837"/>
                <a:gd name="connsiteY35" fmla="*/ 1214667 h 1578832"/>
                <a:gd name="connsiteX36" fmla="*/ 364181 w 1578837"/>
                <a:gd name="connsiteY36" fmla="*/ 1229473 h 1578832"/>
                <a:gd name="connsiteX37" fmla="*/ 356673 w 1578837"/>
                <a:gd name="connsiteY37" fmla="*/ 1232580 h 1578832"/>
                <a:gd name="connsiteX38" fmla="*/ 443184 w 1578837"/>
                <a:gd name="connsiteY38" fmla="*/ 1146122 h 1578832"/>
                <a:gd name="connsiteX39" fmla="*/ 435834 w 1578837"/>
                <a:gd name="connsiteY39" fmla="*/ 1143102 h 1578832"/>
                <a:gd name="connsiteX40" fmla="*/ 435729 w 1578837"/>
                <a:gd name="connsiteY40" fmla="*/ 1128296 h 1578832"/>
                <a:gd name="connsiteX41" fmla="*/ 435851 w 1578837"/>
                <a:gd name="connsiteY41" fmla="*/ 1128174 h 1578832"/>
                <a:gd name="connsiteX42" fmla="*/ 450657 w 1578837"/>
                <a:gd name="connsiteY42" fmla="*/ 1128069 h 1578832"/>
                <a:gd name="connsiteX43" fmla="*/ 450762 w 1578837"/>
                <a:gd name="connsiteY43" fmla="*/ 1142875 h 1578832"/>
                <a:gd name="connsiteX44" fmla="*/ 450639 w 1578837"/>
                <a:gd name="connsiteY44" fmla="*/ 1142997 h 1578832"/>
                <a:gd name="connsiteX45" fmla="*/ 443184 w 1578837"/>
                <a:gd name="connsiteY45" fmla="*/ 1146122 h 1578832"/>
                <a:gd name="connsiteX46" fmla="*/ 529730 w 1578837"/>
                <a:gd name="connsiteY46" fmla="*/ 1059577 h 1578832"/>
                <a:gd name="connsiteX47" fmla="*/ 522327 w 1578837"/>
                <a:gd name="connsiteY47" fmla="*/ 1056504 h 1578832"/>
                <a:gd name="connsiteX48" fmla="*/ 522327 w 1578837"/>
                <a:gd name="connsiteY48" fmla="*/ 1041698 h 1578832"/>
                <a:gd name="connsiteX49" fmla="*/ 522449 w 1578837"/>
                <a:gd name="connsiteY49" fmla="*/ 1041576 h 1578832"/>
                <a:gd name="connsiteX50" fmla="*/ 537255 w 1578837"/>
                <a:gd name="connsiteY50" fmla="*/ 1041576 h 1578832"/>
                <a:gd name="connsiteX51" fmla="*/ 537255 w 1578837"/>
                <a:gd name="connsiteY51" fmla="*/ 1056399 h 1578832"/>
                <a:gd name="connsiteX52" fmla="*/ 537132 w 1578837"/>
                <a:gd name="connsiteY52" fmla="*/ 1056521 h 1578832"/>
                <a:gd name="connsiteX53" fmla="*/ 529730 w 1578837"/>
                <a:gd name="connsiteY53" fmla="*/ 1059594 h 1578832"/>
                <a:gd name="connsiteX54" fmla="*/ 616275 w 1578837"/>
                <a:gd name="connsiteY54" fmla="*/ 973049 h 1578832"/>
                <a:gd name="connsiteX55" fmla="*/ 608820 w 1578837"/>
                <a:gd name="connsiteY55" fmla="*/ 969923 h 1578832"/>
                <a:gd name="connsiteX56" fmla="*/ 608925 w 1578837"/>
                <a:gd name="connsiteY56" fmla="*/ 955118 h 1578832"/>
                <a:gd name="connsiteX57" fmla="*/ 609047 w 1578837"/>
                <a:gd name="connsiteY57" fmla="*/ 954995 h 1578832"/>
                <a:gd name="connsiteX58" fmla="*/ 623853 w 1578837"/>
                <a:gd name="connsiteY58" fmla="*/ 955100 h 1578832"/>
                <a:gd name="connsiteX59" fmla="*/ 623748 w 1578837"/>
                <a:gd name="connsiteY59" fmla="*/ 969906 h 1578832"/>
                <a:gd name="connsiteX60" fmla="*/ 623626 w 1578837"/>
                <a:gd name="connsiteY60" fmla="*/ 970028 h 1578832"/>
                <a:gd name="connsiteX61" fmla="*/ 616275 w 1578837"/>
                <a:gd name="connsiteY61" fmla="*/ 973049 h 1578832"/>
                <a:gd name="connsiteX62" fmla="*/ 702838 w 1578837"/>
                <a:gd name="connsiteY62" fmla="*/ 886398 h 1578832"/>
                <a:gd name="connsiteX63" fmla="*/ 695470 w 1578837"/>
                <a:gd name="connsiteY63" fmla="*/ 883360 h 1578832"/>
                <a:gd name="connsiteX64" fmla="*/ 695401 w 1578837"/>
                <a:gd name="connsiteY64" fmla="*/ 868607 h 1578832"/>
                <a:gd name="connsiteX65" fmla="*/ 695523 w 1578837"/>
                <a:gd name="connsiteY65" fmla="*/ 868485 h 1578832"/>
                <a:gd name="connsiteX66" fmla="*/ 710346 w 1578837"/>
                <a:gd name="connsiteY66" fmla="*/ 868485 h 1578832"/>
                <a:gd name="connsiteX67" fmla="*/ 710346 w 1578837"/>
                <a:gd name="connsiteY67" fmla="*/ 883291 h 1578832"/>
                <a:gd name="connsiteX68" fmla="*/ 702838 w 1578837"/>
                <a:gd name="connsiteY68" fmla="*/ 886398 h 1578832"/>
                <a:gd name="connsiteX69" fmla="*/ 789384 w 1578837"/>
                <a:gd name="connsiteY69" fmla="*/ 799870 h 1578832"/>
                <a:gd name="connsiteX70" fmla="*/ 781999 w 1578837"/>
                <a:gd name="connsiteY70" fmla="*/ 796832 h 1578832"/>
                <a:gd name="connsiteX71" fmla="*/ 781946 w 1578837"/>
                <a:gd name="connsiteY71" fmla="*/ 782079 h 1578832"/>
                <a:gd name="connsiteX72" fmla="*/ 782069 w 1578837"/>
                <a:gd name="connsiteY72" fmla="*/ 781957 h 1578832"/>
                <a:gd name="connsiteX73" fmla="*/ 796891 w 1578837"/>
                <a:gd name="connsiteY73" fmla="*/ 781957 h 1578832"/>
                <a:gd name="connsiteX74" fmla="*/ 796891 w 1578837"/>
                <a:gd name="connsiteY74" fmla="*/ 796780 h 1578832"/>
                <a:gd name="connsiteX75" fmla="*/ 789401 w 1578837"/>
                <a:gd name="connsiteY75" fmla="*/ 799870 h 1578832"/>
                <a:gd name="connsiteX76" fmla="*/ 875895 w 1578837"/>
                <a:gd name="connsiteY76" fmla="*/ 713412 h 1578832"/>
                <a:gd name="connsiteX77" fmla="*/ 868544 w 1578837"/>
                <a:gd name="connsiteY77" fmla="*/ 710391 h 1578832"/>
                <a:gd name="connsiteX78" fmla="*/ 868440 w 1578837"/>
                <a:gd name="connsiteY78" fmla="*/ 695586 h 1578832"/>
                <a:gd name="connsiteX79" fmla="*/ 868562 w 1578837"/>
                <a:gd name="connsiteY79" fmla="*/ 695464 h 1578832"/>
                <a:gd name="connsiteX80" fmla="*/ 883367 w 1578837"/>
                <a:gd name="connsiteY80" fmla="*/ 695359 h 1578832"/>
                <a:gd name="connsiteX81" fmla="*/ 883472 w 1578837"/>
                <a:gd name="connsiteY81" fmla="*/ 710164 h 1578832"/>
                <a:gd name="connsiteX82" fmla="*/ 883350 w 1578837"/>
                <a:gd name="connsiteY82" fmla="*/ 710287 h 1578832"/>
                <a:gd name="connsiteX83" fmla="*/ 875895 w 1578837"/>
                <a:gd name="connsiteY83" fmla="*/ 713412 h 1578832"/>
                <a:gd name="connsiteX84" fmla="*/ 962440 w 1578837"/>
                <a:gd name="connsiteY84" fmla="*/ 626866 h 1578832"/>
                <a:gd name="connsiteX85" fmla="*/ 955038 w 1578837"/>
                <a:gd name="connsiteY85" fmla="*/ 623793 h 1578832"/>
                <a:gd name="connsiteX86" fmla="*/ 955038 w 1578837"/>
                <a:gd name="connsiteY86" fmla="*/ 608970 h 1578832"/>
                <a:gd name="connsiteX87" fmla="*/ 955160 w 1578837"/>
                <a:gd name="connsiteY87" fmla="*/ 608848 h 1578832"/>
                <a:gd name="connsiteX88" fmla="*/ 969965 w 1578837"/>
                <a:gd name="connsiteY88" fmla="*/ 608848 h 1578832"/>
                <a:gd name="connsiteX89" fmla="*/ 969965 w 1578837"/>
                <a:gd name="connsiteY89" fmla="*/ 623653 h 1578832"/>
                <a:gd name="connsiteX90" fmla="*/ 969843 w 1578837"/>
                <a:gd name="connsiteY90" fmla="*/ 623776 h 1578832"/>
                <a:gd name="connsiteX91" fmla="*/ 962440 w 1578837"/>
                <a:gd name="connsiteY91" fmla="*/ 626849 h 1578832"/>
                <a:gd name="connsiteX92" fmla="*/ 1048986 w 1578837"/>
                <a:gd name="connsiteY92" fmla="*/ 540320 h 1578832"/>
                <a:gd name="connsiteX93" fmla="*/ 1041531 w 1578837"/>
                <a:gd name="connsiteY93" fmla="*/ 537195 h 1578832"/>
                <a:gd name="connsiteX94" fmla="*/ 1041635 w 1578837"/>
                <a:gd name="connsiteY94" fmla="*/ 522390 h 1578832"/>
                <a:gd name="connsiteX95" fmla="*/ 1041758 w 1578837"/>
                <a:gd name="connsiteY95" fmla="*/ 522268 h 1578832"/>
                <a:gd name="connsiteX96" fmla="*/ 1056563 w 1578837"/>
                <a:gd name="connsiteY96" fmla="*/ 522372 h 1578832"/>
                <a:gd name="connsiteX97" fmla="*/ 1056458 w 1578837"/>
                <a:gd name="connsiteY97" fmla="*/ 537195 h 1578832"/>
                <a:gd name="connsiteX98" fmla="*/ 1056336 w 1578837"/>
                <a:gd name="connsiteY98" fmla="*/ 537317 h 1578832"/>
                <a:gd name="connsiteX99" fmla="*/ 1048986 w 1578837"/>
                <a:gd name="connsiteY99" fmla="*/ 540338 h 1578832"/>
                <a:gd name="connsiteX100" fmla="*/ 1135566 w 1578837"/>
                <a:gd name="connsiteY100" fmla="*/ 453688 h 1578832"/>
                <a:gd name="connsiteX101" fmla="*/ 1128181 w 1578837"/>
                <a:gd name="connsiteY101" fmla="*/ 450650 h 1578832"/>
                <a:gd name="connsiteX102" fmla="*/ 1128129 w 1578837"/>
                <a:gd name="connsiteY102" fmla="*/ 435897 h 1578832"/>
                <a:gd name="connsiteX103" fmla="*/ 1128251 w 1578837"/>
                <a:gd name="connsiteY103" fmla="*/ 435775 h 1578832"/>
                <a:gd name="connsiteX104" fmla="*/ 1143056 w 1578837"/>
                <a:gd name="connsiteY104" fmla="*/ 435775 h 1578832"/>
                <a:gd name="connsiteX105" fmla="*/ 1143056 w 1578837"/>
                <a:gd name="connsiteY105" fmla="*/ 450597 h 1578832"/>
                <a:gd name="connsiteX106" fmla="*/ 1135566 w 1578837"/>
                <a:gd name="connsiteY106" fmla="*/ 453688 h 1578832"/>
                <a:gd name="connsiteX107" fmla="*/ 1222095 w 1578837"/>
                <a:gd name="connsiteY107" fmla="*/ 367160 h 1578832"/>
                <a:gd name="connsiteX108" fmla="*/ 1214726 w 1578837"/>
                <a:gd name="connsiteY108" fmla="*/ 364122 h 1578832"/>
                <a:gd name="connsiteX109" fmla="*/ 1214657 w 1578837"/>
                <a:gd name="connsiteY109" fmla="*/ 349369 h 1578832"/>
                <a:gd name="connsiteX110" fmla="*/ 1214779 w 1578837"/>
                <a:gd name="connsiteY110" fmla="*/ 349246 h 1578832"/>
                <a:gd name="connsiteX111" fmla="*/ 1229585 w 1578837"/>
                <a:gd name="connsiteY111" fmla="*/ 349246 h 1578832"/>
                <a:gd name="connsiteX112" fmla="*/ 1229585 w 1578837"/>
                <a:gd name="connsiteY112" fmla="*/ 364052 h 1578832"/>
                <a:gd name="connsiteX113" fmla="*/ 1222095 w 1578837"/>
                <a:gd name="connsiteY113" fmla="*/ 367160 h 1578832"/>
                <a:gd name="connsiteX114" fmla="*/ 1308605 w 1578837"/>
                <a:gd name="connsiteY114" fmla="*/ 280701 h 1578832"/>
                <a:gd name="connsiteX115" fmla="*/ 1301255 w 1578837"/>
                <a:gd name="connsiteY115" fmla="*/ 277681 h 1578832"/>
                <a:gd name="connsiteX116" fmla="*/ 1301150 w 1578837"/>
                <a:gd name="connsiteY116" fmla="*/ 262875 h 1578832"/>
                <a:gd name="connsiteX117" fmla="*/ 1301273 w 1578837"/>
                <a:gd name="connsiteY117" fmla="*/ 262753 h 1578832"/>
                <a:gd name="connsiteX118" fmla="*/ 1316078 w 1578837"/>
                <a:gd name="connsiteY118" fmla="*/ 262648 h 1578832"/>
                <a:gd name="connsiteX119" fmla="*/ 1316183 w 1578837"/>
                <a:gd name="connsiteY119" fmla="*/ 277454 h 1578832"/>
                <a:gd name="connsiteX120" fmla="*/ 1316060 w 1578837"/>
                <a:gd name="connsiteY120" fmla="*/ 277576 h 1578832"/>
                <a:gd name="connsiteX121" fmla="*/ 1308605 w 1578837"/>
                <a:gd name="connsiteY121" fmla="*/ 280701 h 1578832"/>
                <a:gd name="connsiteX122" fmla="*/ 1395151 w 1578837"/>
                <a:gd name="connsiteY122" fmla="*/ 194155 h 1578832"/>
                <a:gd name="connsiteX123" fmla="*/ 1387748 w 1578837"/>
                <a:gd name="connsiteY123" fmla="*/ 191083 h 1578832"/>
                <a:gd name="connsiteX124" fmla="*/ 1387748 w 1578837"/>
                <a:gd name="connsiteY124" fmla="*/ 176277 h 1578832"/>
                <a:gd name="connsiteX125" fmla="*/ 1387870 w 1578837"/>
                <a:gd name="connsiteY125" fmla="*/ 176155 h 1578832"/>
                <a:gd name="connsiteX126" fmla="*/ 1402693 w 1578837"/>
                <a:gd name="connsiteY126" fmla="*/ 176155 h 1578832"/>
                <a:gd name="connsiteX127" fmla="*/ 1402693 w 1578837"/>
                <a:gd name="connsiteY127" fmla="*/ 190961 h 1578832"/>
                <a:gd name="connsiteX128" fmla="*/ 1402571 w 1578837"/>
                <a:gd name="connsiteY128" fmla="*/ 191083 h 1578832"/>
                <a:gd name="connsiteX129" fmla="*/ 1395168 w 1578837"/>
                <a:gd name="connsiteY129" fmla="*/ 194155 h 1578832"/>
                <a:gd name="connsiteX130" fmla="*/ 1481696 w 1578837"/>
                <a:gd name="connsiteY130" fmla="*/ 107610 h 1578832"/>
                <a:gd name="connsiteX131" fmla="*/ 1474241 w 1578837"/>
                <a:gd name="connsiteY131" fmla="*/ 104485 h 1578832"/>
                <a:gd name="connsiteX132" fmla="*/ 1474346 w 1578837"/>
                <a:gd name="connsiteY132" fmla="*/ 89680 h 1578832"/>
                <a:gd name="connsiteX133" fmla="*/ 1474468 w 1578837"/>
                <a:gd name="connsiteY133" fmla="*/ 89557 h 1578832"/>
                <a:gd name="connsiteX134" fmla="*/ 1489273 w 1578837"/>
                <a:gd name="connsiteY134" fmla="*/ 89662 h 1578832"/>
                <a:gd name="connsiteX135" fmla="*/ 1489169 w 1578837"/>
                <a:gd name="connsiteY135" fmla="*/ 104467 h 1578832"/>
                <a:gd name="connsiteX136" fmla="*/ 1489047 w 1578837"/>
                <a:gd name="connsiteY136" fmla="*/ 104590 h 1578832"/>
                <a:gd name="connsiteX137" fmla="*/ 1481696 w 1578837"/>
                <a:gd name="connsiteY137" fmla="*/ 107610 h 1578832"/>
                <a:gd name="connsiteX138" fmla="*/ 1568260 w 1578837"/>
                <a:gd name="connsiteY138" fmla="*/ 20977 h 1578832"/>
                <a:gd name="connsiteX139" fmla="*/ 1560891 w 1578837"/>
                <a:gd name="connsiteY139" fmla="*/ 17939 h 1578832"/>
                <a:gd name="connsiteX140" fmla="*/ 1560821 w 1578837"/>
                <a:gd name="connsiteY140" fmla="*/ 3186 h 1578832"/>
                <a:gd name="connsiteX141" fmla="*/ 1560944 w 1578837"/>
                <a:gd name="connsiteY141" fmla="*/ 3064 h 1578832"/>
                <a:gd name="connsiteX142" fmla="*/ 1575767 w 1578837"/>
                <a:gd name="connsiteY142" fmla="*/ 3064 h 1578832"/>
                <a:gd name="connsiteX143" fmla="*/ 1575767 w 1578837"/>
                <a:gd name="connsiteY143" fmla="*/ 17869 h 1578832"/>
                <a:gd name="connsiteX144" fmla="*/ 1568260 w 1578837"/>
                <a:gd name="connsiteY144" fmla="*/ 20977 h 1578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578837" h="1578832">
                  <a:moveTo>
                    <a:pt x="10474" y="1578833"/>
                  </a:moveTo>
                  <a:cubicBezTo>
                    <a:pt x="7820" y="1578833"/>
                    <a:pt x="5166" y="1577820"/>
                    <a:pt x="3123" y="1575812"/>
                  </a:cubicBezTo>
                  <a:cubicBezTo>
                    <a:pt x="-997" y="1571744"/>
                    <a:pt x="-1049" y="1565110"/>
                    <a:pt x="3019" y="1561007"/>
                  </a:cubicBezTo>
                  <a:lnTo>
                    <a:pt x="3141" y="1560885"/>
                  </a:lnTo>
                  <a:cubicBezTo>
                    <a:pt x="7209" y="1556764"/>
                    <a:pt x="13826" y="1556712"/>
                    <a:pt x="17946" y="1560780"/>
                  </a:cubicBezTo>
                  <a:cubicBezTo>
                    <a:pt x="22067" y="1564848"/>
                    <a:pt x="22119" y="1571482"/>
                    <a:pt x="18051" y="1575585"/>
                  </a:cubicBezTo>
                  <a:lnTo>
                    <a:pt x="17929" y="1575707"/>
                  </a:lnTo>
                  <a:cubicBezTo>
                    <a:pt x="15886" y="1577785"/>
                    <a:pt x="13180" y="1578833"/>
                    <a:pt x="10474" y="1578833"/>
                  </a:cubicBezTo>
                  <a:close/>
                  <a:moveTo>
                    <a:pt x="97019" y="1492287"/>
                  </a:moveTo>
                  <a:cubicBezTo>
                    <a:pt x="94331" y="1492287"/>
                    <a:pt x="91659" y="1491257"/>
                    <a:pt x="89616" y="1489214"/>
                  </a:cubicBezTo>
                  <a:cubicBezTo>
                    <a:pt x="85531" y="1485129"/>
                    <a:pt x="85531" y="1478494"/>
                    <a:pt x="89616" y="1474409"/>
                  </a:cubicBezTo>
                  <a:lnTo>
                    <a:pt x="89739" y="1474287"/>
                  </a:lnTo>
                  <a:cubicBezTo>
                    <a:pt x="93824" y="1470201"/>
                    <a:pt x="100459" y="1470201"/>
                    <a:pt x="104562" y="1474287"/>
                  </a:cubicBezTo>
                  <a:cubicBezTo>
                    <a:pt x="108665" y="1478372"/>
                    <a:pt x="108647" y="1485007"/>
                    <a:pt x="104562" y="1489092"/>
                  </a:cubicBezTo>
                  <a:lnTo>
                    <a:pt x="104439" y="1489214"/>
                  </a:lnTo>
                  <a:cubicBezTo>
                    <a:pt x="102397" y="1491257"/>
                    <a:pt x="99708" y="1492287"/>
                    <a:pt x="97037" y="1492287"/>
                  </a:cubicBezTo>
                  <a:close/>
                  <a:moveTo>
                    <a:pt x="183565" y="1405759"/>
                  </a:moveTo>
                  <a:cubicBezTo>
                    <a:pt x="180859" y="1405759"/>
                    <a:pt x="178152" y="1404711"/>
                    <a:pt x="176110" y="1402634"/>
                  </a:cubicBezTo>
                  <a:cubicBezTo>
                    <a:pt x="172042" y="1398513"/>
                    <a:pt x="172094" y="1391879"/>
                    <a:pt x="176215" y="1387828"/>
                  </a:cubicBezTo>
                  <a:lnTo>
                    <a:pt x="176337" y="1387706"/>
                  </a:lnTo>
                  <a:cubicBezTo>
                    <a:pt x="180457" y="1383638"/>
                    <a:pt x="187092" y="1383690"/>
                    <a:pt x="191160" y="1387811"/>
                  </a:cubicBezTo>
                  <a:cubicBezTo>
                    <a:pt x="195227" y="1391931"/>
                    <a:pt x="195175" y="1398566"/>
                    <a:pt x="191055" y="1402616"/>
                  </a:cubicBezTo>
                  <a:lnTo>
                    <a:pt x="190933" y="1402738"/>
                  </a:lnTo>
                  <a:cubicBezTo>
                    <a:pt x="188890" y="1404746"/>
                    <a:pt x="186236" y="1405759"/>
                    <a:pt x="183582" y="1405759"/>
                  </a:cubicBezTo>
                  <a:close/>
                  <a:moveTo>
                    <a:pt x="270128" y="1319126"/>
                  </a:moveTo>
                  <a:cubicBezTo>
                    <a:pt x="267457" y="1319126"/>
                    <a:pt x="264785" y="1318113"/>
                    <a:pt x="262760" y="1316088"/>
                  </a:cubicBezTo>
                  <a:cubicBezTo>
                    <a:pt x="258675" y="1312003"/>
                    <a:pt x="258605" y="1305420"/>
                    <a:pt x="262690" y="1301335"/>
                  </a:cubicBezTo>
                  <a:lnTo>
                    <a:pt x="262813" y="1301213"/>
                  </a:lnTo>
                  <a:cubicBezTo>
                    <a:pt x="266898" y="1297127"/>
                    <a:pt x="273532" y="1297127"/>
                    <a:pt x="277618" y="1301213"/>
                  </a:cubicBezTo>
                  <a:cubicBezTo>
                    <a:pt x="281703" y="1305298"/>
                    <a:pt x="281703" y="1311933"/>
                    <a:pt x="277618" y="1316018"/>
                  </a:cubicBezTo>
                  <a:cubicBezTo>
                    <a:pt x="275558" y="1318078"/>
                    <a:pt x="272834" y="1319126"/>
                    <a:pt x="270128" y="1319126"/>
                  </a:cubicBezTo>
                  <a:close/>
                  <a:moveTo>
                    <a:pt x="356673" y="1232580"/>
                  </a:moveTo>
                  <a:cubicBezTo>
                    <a:pt x="354002" y="1232580"/>
                    <a:pt x="351331" y="1231568"/>
                    <a:pt x="349306" y="1229542"/>
                  </a:cubicBezTo>
                  <a:cubicBezTo>
                    <a:pt x="345220" y="1225457"/>
                    <a:pt x="345150" y="1218875"/>
                    <a:pt x="349236" y="1214790"/>
                  </a:cubicBezTo>
                  <a:lnTo>
                    <a:pt x="349358" y="1214667"/>
                  </a:lnTo>
                  <a:cubicBezTo>
                    <a:pt x="353444" y="1210582"/>
                    <a:pt x="360078" y="1210582"/>
                    <a:pt x="364181" y="1214667"/>
                  </a:cubicBezTo>
                  <a:cubicBezTo>
                    <a:pt x="368284" y="1218753"/>
                    <a:pt x="368266" y="1225387"/>
                    <a:pt x="364181" y="1229473"/>
                  </a:cubicBezTo>
                  <a:cubicBezTo>
                    <a:pt x="362121" y="1231533"/>
                    <a:pt x="359397" y="1232580"/>
                    <a:pt x="356673" y="1232580"/>
                  </a:cubicBezTo>
                  <a:close/>
                  <a:moveTo>
                    <a:pt x="443184" y="1146122"/>
                  </a:moveTo>
                  <a:cubicBezTo>
                    <a:pt x="440530" y="1146122"/>
                    <a:pt x="437876" y="1145110"/>
                    <a:pt x="435834" y="1143102"/>
                  </a:cubicBezTo>
                  <a:cubicBezTo>
                    <a:pt x="431714" y="1139034"/>
                    <a:pt x="431661" y="1132417"/>
                    <a:pt x="435729" y="1128296"/>
                  </a:cubicBezTo>
                  <a:lnTo>
                    <a:pt x="435851" y="1128174"/>
                  </a:lnTo>
                  <a:cubicBezTo>
                    <a:pt x="439919" y="1124054"/>
                    <a:pt x="446554" y="1124019"/>
                    <a:pt x="450657" y="1128069"/>
                  </a:cubicBezTo>
                  <a:cubicBezTo>
                    <a:pt x="454777" y="1132137"/>
                    <a:pt x="454830" y="1138754"/>
                    <a:pt x="450762" y="1142875"/>
                  </a:cubicBezTo>
                  <a:lnTo>
                    <a:pt x="450639" y="1142997"/>
                  </a:lnTo>
                  <a:cubicBezTo>
                    <a:pt x="448597" y="1145075"/>
                    <a:pt x="445890" y="1146122"/>
                    <a:pt x="443184" y="1146122"/>
                  </a:cubicBezTo>
                  <a:close/>
                  <a:moveTo>
                    <a:pt x="529730" y="1059577"/>
                  </a:moveTo>
                  <a:cubicBezTo>
                    <a:pt x="527041" y="1059577"/>
                    <a:pt x="524370" y="1058547"/>
                    <a:pt x="522327" y="1056504"/>
                  </a:cubicBezTo>
                  <a:cubicBezTo>
                    <a:pt x="518241" y="1052418"/>
                    <a:pt x="518241" y="1045784"/>
                    <a:pt x="522327" y="1041698"/>
                  </a:cubicBezTo>
                  <a:lnTo>
                    <a:pt x="522449" y="1041576"/>
                  </a:lnTo>
                  <a:cubicBezTo>
                    <a:pt x="526535" y="1037491"/>
                    <a:pt x="533169" y="1037491"/>
                    <a:pt x="537255" y="1041576"/>
                  </a:cubicBezTo>
                  <a:cubicBezTo>
                    <a:pt x="541340" y="1045662"/>
                    <a:pt x="541340" y="1052296"/>
                    <a:pt x="537255" y="1056399"/>
                  </a:cubicBezTo>
                  <a:lnTo>
                    <a:pt x="537132" y="1056521"/>
                  </a:lnTo>
                  <a:cubicBezTo>
                    <a:pt x="535090" y="1058564"/>
                    <a:pt x="532401" y="1059594"/>
                    <a:pt x="529730" y="1059594"/>
                  </a:cubicBezTo>
                  <a:close/>
                  <a:moveTo>
                    <a:pt x="616275" y="973049"/>
                  </a:moveTo>
                  <a:cubicBezTo>
                    <a:pt x="613569" y="973049"/>
                    <a:pt x="610863" y="972001"/>
                    <a:pt x="608820" y="969923"/>
                  </a:cubicBezTo>
                  <a:cubicBezTo>
                    <a:pt x="604752" y="965803"/>
                    <a:pt x="604805" y="959169"/>
                    <a:pt x="608925" y="955118"/>
                  </a:cubicBezTo>
                  <a:lnTo>
                    <a:pt x="609047" y="954995"/>
                  </a:lnTo>
                  <a:cubicBezTo>
                    <a:pt x="613168" y="950928"/>
                    <a:pt x="619802" y="950980"/>
                    <a:pt x="623853" y="955100"/>
                  </a:cubicBezTo>
                  <a:cubicBezTo>
                    <a:pt x="627921" y="959221"/>
                    <a:pt x="627868" y="965855"/>
                    <a:pt x="623748" y="969906"/>
                  </a:cubicBezTo>
                  <a:lnTo>
                    <a:pt x="623626" y="970028"/>
                  </a:lnTo>
                  <a:cubicBezTo>
                    <a:pt x="621583" y="972036"/>
                    <a:pt x="618929" y="973049"/>
                    <a:pt x="616275" y="973049"/>
                  </a:cubicBezTo>
                  <a:close/>
                  <a:moveTo>
                    <a:pt x="702838" y="886398"/>
                  </a:moveTo>
                  <a:cubicBezTo>
                    <a:pt x="700167" y="886398"/>
                    <a:pt x="697496" y="885386"/>
                    <a:pt x="695470" y="883360"/>
                  </a:cubicBezTo>
                  <a:cubicBezTo>
                    <a:pt x="691385" y="879275"/>
                    <a:pt x="691315" y="872693"/>
                    <a:pt x="695401" y="868607"/>
                  </a:cubicBezTo>
                  <a:lnTo>
                    <a:pt x="695523" y="868485"/>
                  </a:lnTo>
                  <a:cubicBezTo>
                    <a:pt x="699609" y="864400"/>
                    <a:pt x="706243" y="864400"/>
                    <a:pt x="710346" y="868485"/>
                  </a:cubicBezTo>
                  <a:cubicBezTo>
                    <a:pt x="714449" y="872570"/>
                    <a:pt x="714431" y="879205"/>
                    <a:pt x="710346" y="883291"/>
                  </a:cubicBezTo>
                  <a:cubicBezTo>
                    <a:pt x="708286" y="885351"/>
                    <a:pt x="705562" y="886398"/>
                    <a:pt x="702838" y="886398"/>
                  </a:cubicBezTo>
                  <a:close/>
                  <a:moveTo>
                    <a:pt x="789384" y="799870"/>
                  </a:moveTo>
                  <a:cubicBezTo>
                    <a:pt x="786713" y="799870"/>
                    <a:pt x="784041" y="798857"/>
                    <a:pt x="781999" y="796832"/>
                  </a:cubicBezTo>
                  <a:cubicBezTo>
                    <a:pt x="777913" y="792747"/>
                    <a:pt x="777844" y="786164"/>
                    <a:pt x="781946" y="782079"/>
                  </a:cubicBezTo>
                  <a:lnTo>
                    <a:pt x="782069" y="781957"/>
                  </a:lnTo>
                  <a:cubicBezTo>
                    <a:pt x="786154" y="777871"/>
                    <a:pt x="792788" y="777871"/>
                    <a:pt x="796891" y="781957"/>
                  </a:cubicBezTo>
                  <a:cubicBezTo>
                    <a:pt x="800977" y="786042"/>
                    <a:pt x="800977" y="792677"/>
                    <a:pt x="796891" y="796780"/>
                  </a:cubicBezTo>
                  <a:cubicBezTo>
                    <a:pt x="794831" y="798840"/>
                    <a:pt x="792108" y="799870"/>
                    <a:pt x="789401" y="799870"/>
                  </a:cubicBezTo>
                  <a:close/>
                  <a:moveTo>
                    <a:pt x="875895" y="713412"/>
                  </a:moveTo>
                  <a:cubicBezTo>
                    <a:pt x="873241" y="713412"/>
                    <a:pt x="870587" y="712399"/>
                    <a:pt x="868544" y="710391"/>
                  </a:cubicBezTo>
                  <a:cubicBezTo>
                    <a:pt x="864424" y="706323"/>
                    <a:pt x="864371" y="699689"/>
                    <a:pt x="868440" y="695586"/>
                  </a:cubicBezTo>
                  <a:lnTo>
                    <a:pt x="868562" y="695464"/>
                  </a:lnTo>
                  <a:cubicBezTo>
                    <a:pt x="872630" y="691343"/>
                    <a:pt x="879247" y="691291"/>
                    <a:pt x="883367" y="695359"/>
                  </a:cubicBezTo>
                  <a:cubicBezTo>
                    <a:pt x="887487" y="699427"/>
                    <a:pt x="887540" y="706062"/>
                    <a:pt x="883472" y="710164"/>
                  </a:cubicBezTo>
                  <a:lnTo>
                    <a:pt x="883350" y="710287"/>
                  </a:lnTo>
                  <a:cubicBezTo>
                    <a:pt x="881307" y="712364"/>
                    <a:pt x="878601" y="713412"/>
                    <a:pt x="875895" y="713412"/>
                  </a:cubicBezTo>
                  <a:close/>
                  <a:moveTo>
                    <a:pt x="962440" y="626866"/>
                  </a:moveTo>
                  <a:cubicBezTo>
                    <a:pt x="959752" y="626866"/>
                    <a:pt x="957080" y="625836"/>
                    <a:pt x="955038" y="623793"/>
                  </a:cubicBezTo>
                  <a:cubicBezTo>
                    <a:pt x="950952" y="619708"/>
                    <a:pt x="950952" y="613073"/>
                    <a:pt x="955038" y="608970"/>
                  </a:cubicBezTo>
                  <a:lnTo>
                    <a:pt x="955160" y="608848"/>
                  </a:lnTo>
                  <a:cubicBezTo>
                    <a:pt x="959245" y="604763"/>
                    <a:pt x="965880" y="604763"/>
                    <a:pt x="969965" y="608848"/>
                  </a:cubicBezTo>
                  <a:cubicBezTo>
                    <a:pt x="974051" y="612934"/>
                    <a:pt x="974051" y="619568"/>
                    <a:pt x="969965" y="623653"/>
                  </a:cubicBezTo>
                  <a:lnTo>
                    <a:pt x="969843" y="623776"/>
                  </a:lnTo>
                  <a:cubicBezTo>
                    <a:pt x="967800" y="625818"/>
                    <a:pt x="965112" y="626849"/>
                    <a:pt x="962440" y="626849"/>
                  </a:cubicBezTo>
                  <a:close/>
                  <a:moveTo>
                    <a:pt x="1048986" y="540320"/>
                  </a:moveTo>
                  <a:cubicBezTo>
                    <a:pt x="1046280" y="540320"/>
                    <a:pt x="1043574" y="539273"/>
                    <a:pt x="1041531" y="537195"/>
                  </a:cubicBezTo>
                  <a:cubicBezTo>
                    <a:pt x="1037463" y="533075"/>
                    <a:pt x="1037515" y="526440"/>
                    <a:pt x="1041635" y="522390"/>
                  </a:cubicBezTo>
                  <a:lnTo>
                    <a:pt x="1041758" y="522268"/>
                  </a:lnTo>
                  <a:cubicBezTo>
                    <a:pt x="1045878" y="518200"/>
                    <a:pt x="1052513" y="518252"/>
                    <a:pt x="1056563" y="522372"/>
                  </a:cubicBezTo>
                  <a:cubicBezTo>
                    <a:pt x="1060631" y="526493"/>
                    <a:pt x="1060578" y="533127"/>
                    <a:pt x="1056458" y="537195"/>
                  </a:cubicBezTo>
                  <a:lnTo>
                    <a:pt x="1056336" y="537317"/>
                  </a:lnTo>
                  <a:cubicBezTo>
                    <a:pt x="1054293" y="539326"/>
                    <a:pt x="1051640" y="540338"/>
                    <a:pt x="1048986" y="540338"/>
                  </a:cubicBezTo>
                  <a:close/>
                  <a:moveTo>
                    <a:pt x="1135566" y="453688"/>
                  </a:moveTo>
                  <a:cubicBezTo>
                    <a:pt x="1132895" y="453688"/>
                    <a:pt x="1130224" y="452675"/>
                    <a:pt x="1128181" y="450650"/>
                  </a:cubicBezTo>
                  <a:cubicBezTo>
                    <a:pt x="1124096" y="446564"/>
                    <a:pt x="1124026" y="439982"/>
                    <a:pt x="1128129" y="435897"/>
                  </a:cubicBezTo>
                  <a:lnTo>
                    <a:pt x="1128251" y="435775"/>
                  </a:lnTo>
                  <a:cubicBezTo>
                    <a:pt x="1132336" y="431689"/>
                    <a:pt x="1138971" y="431689"/>
                    <a:pt x="1143056" y="435775"/>
                  </a:cubicBezTo>
                  <a:cubicBezTo>
                    <a:pt x="1147142" y="439860"/>
                    <a:pt x="1147142" y="446494"/>
                    <a:pt x="1143056" y="450597"/>
                  </a:cubicBezTo>
                  <a:cubicBezTo>
                    <a:pt x="1140996" y="452658"/>
                    <a:pt x="1138272" y="453688"/>
                    <a:pt x="1135566" y="453688"/>
                  </a:cubicBezTo>
                  <a:close/>
                  <a:moveTo>
                    <a:pt x="1222095" y="367160"/>
                  </a:moveTo>
                  <a:cubicBezTo>
                    <a:pt x="1219423" y="367160"/>
                    <a:pt x="1216752" y="366147"/>
                    <a:pt x="1214726" y="364122"/>
                  </a:cubicBezTo>
                  <a:cubicBezTo>
                    <a:pt x="1210641" y="360036"/>
                    <a:pt x="1210571" y="353454"/>
                    <a:pt x="1214657" y="349369"/>
                  </a:cubicBezTo>
                  <a:lnTo>
                    <a:pt x="1214779" y="349246"/>
                  </a:lnTo>
                  <a:cubicBezTo>
                    <a:pt x="1218864" y="345161"/>
                    <a:pt x="1225499" y="345161"/>
                    <a:pt x="1229585" y="349246"/>
                  </a:cubicBezTo>
                  <a:cubicBezTo>
                    <a:pt x="1233670" y="353332"/>
                    <a:pt x="1233670" y="359966"/>
                    <a:pt x="1229585" y="364052"/>
                  </a:cubicBezTo>
                  <a:cubicBezTo>
                    <a:pt x="1227524" y="366112"/>
                    <a:pt x="1224800" y="367160"/>
                    <a:pt x="1222095" y="367160"/>
                  </a:cubicBezTo>
                  <a:close/>
                  <a:moveTo>
                    <a:pt x="1308605" y="280701"/>
                  </a:moveTo>
                  <a:cubicBezTo>
                    <a:pt x="1305951" y="280701"/>
                    <a:pt x="1303297" y="279688"/>
                    <a:pt x="1301255" y="277681"/>
                  </a:cubicBezTo>
                  <a:cubicBezTo>
                    <a:pt x="1297134" y="273613"/>
                    <a:pt x="1297082" y="266978"/>
                    <a:pt x="1301150" y="262875"/>
                  </a:cubicBezTo>
                  <a:lnTo>
                    <a:pt x="1301273" y="262753"/>
                  </a:lnTo>
                  <a:cubicBezTo>
                    <a:pt x="1305341" y="258633"/>
                    <a:pt x="1311975" y="258598"/>
                    <a:pt x="1316078" y="262648"/>
                  </a:cubicBezTo>
                  <a:cubicBezTo>
                    <a:pt x="1320198" y="266716"/>
                    <a:pt x="1320250" y="273333"/>
                    <a:pt x="1316183" y="277454"/>
                  </a:cubicBezTo>
                  <a:lnTo>
                    <a:pt x="1316060" y="277576"/>
                  </a:lnTo>
                  <a:cubicBezTo>
                    <a:pt x="1314017" y="279653"/>
                    <a:pt x="1311312" y="280701"/>
                    <a:pt x="1308605" y="280701"/>
                  </a:cubicBezTo>
                  <a:close/>
                  <a:moveTo>
                    <a:pt x="1395151" y="194155"/>
                  </a:moveTo>
                  <a:cubicBezTo>
                    <a:pt x="1392462" y="194155"/>
                    <a:pt x="1389791" y="193126"/>
                    <a:pt x="1387748" y="191083"/>
                  </a:cubicBezTo>
                  <a:cubicBezTo>
                    <a:pt x="1383663" y="186997"/>
                    <a:pt x="1383663" y="180363"/>
                    <a:pt x="1387748" y="176277"/>
                  </a:cubicBezTo>
                  <a:lnTo>
                    <a:pt x="1387870" y="176155"/>
                  </a:lnTo>
                  <a:cubicBezTo>
                    <a:pt x="1391956" y="172070"/>
                    <a:pt x="1398590" y="172070"/>
                    <a:pt x="1402693" y="176155"/>
                  </a:cubicBezTo>
                  <a:cubicBezTo>
                    <a:pt x="1406796" y="180241"/>
                    <a:pt x="1406778" y="186875"/>
                    <a:pt x="1402693" y="190961"/>
                  </a:cubicBezTo>
                  <a:lnTo>
                    <a:pt x="1402571" y="191083"/>
                  </a:lnTo>
                  <a:cubicBezTo>
                    <a:pt x="1400528" y="193126"/>
                    <a:pt x="1397840" y="194155"/>
                    <a:pt x="1395168" y="194155"/>
                  </a:cubicBezTo>
                  <a:close/>
                  <a:moveTo>
                    <a:pt x="1481696" y="107610"/>
                  </a:moveTo>
                  <a:cubicBezTo>
                    <a:pt x="1478990" y="107610"/>
                    <a:pt x="1476284" y="106562"/>
                    <a:pt x="1474241" y="104485"/>
                  </a:cubicBezTo>
                  <a:cubicBezTo>
                    <a:pt x="1470173" y="100364"/>
                    <a:pt x="1470226" y="93730"/>
                    <a:pt x="1474346" y="89680"/>
                  </a:cubicBezTo>
                  <a:lnTo>
                    <a:pt x="1474468" y="89557"/>
                  </a:lnTo>
                  <a:cubicBezTo>
                    <a:pt x="1478589" y="85489"/>
                    <a:pt x="1485223" y="85541"/>
                    <a:pt x="1489273" y="89662"/>
                  </a:cubicBezTo>
                  <a:cubicBezTo>
                    <a:pt x="1493342" y="93782"/>
                    <a:pt x="1493290" y="100417"/>
                    <a:pt x="1489169" y="104467"/>
                  </a:cubicBezTo>
                  <a:lnTo>
                    <a:pt x="1489047" y="104590"/>
                  </a:lnTo>
                  <a:cubicBezTo>
                    <a:pt x="1487004" y="106597"/>
                    <a:pt x="1484350" y="107610"/>
                    <a:pt x="1481696" y="107610"/>
                  </a:cubicBezTo>
                  <a:close/>
                  <a:moveTo>
                    <a:pt x="1568260" y="20977"/>
                  </a:moveTo>
                  <a:cubicBezTo>
                    <a:pt x="1565588" y="20977"/>
                    <a:pt x="1562917" y="19964"/>
                    <a:pt x="1560891" y="17939"/>
                  </a:cubicBezTo>
                  <a:cubicBezTo>
                    <a:pt x="1556806" y="13854"/>
                    <a:pt x="1556736" y="7272"/>
                    <a:pt x="1560821" y="3186"/>
                  </a:cubicBezTo>
                  <a:lnTo>
                    <a:pt x="1560944" y="3064"/>
                  </a:lnTo>
                  <a:cubicBezTo>
                    <a:pt x="1565029" y="-1021"/>
                    <a:pt x="1571664" y="-1021"/>
                    <a:pt x="1575767" y="3064"/>
                  </a:cubicBezTo>
                  <a:cubicBezTo>
                    <a:pt x="1579870" y="7150"/>
                    <a:pt x="1579853" y="13784"/>
                    <a:pt x="1575767" y="17869"/>
                  </a:cubicBezTo>
                  <a:cubicBezTo>
                    <a:pt x="1573707" y="19930"/>
                    <a:pt x="1570983" y="20977"/>
                    <a:pt x="1568260" y="20977"/>
                  </a:cubicBezTo>
                  <a:close/>
                </a:path>
              </a:pathLst>
            </a:custGeom>
            <a:grpFill/>
            <a:ln w="0"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F3AC6190-E553-961A-4906-4E655F1D9D7A}"/>
                </a:ext>
              </a:extLst>
            </p:cNvPr>
            <p:cNvSpPr/>
            <p:nvPr/>
          </p:nvSpPr>
          <p:spPr>
            <a:xfrm>
              <a:off x="7468555" y="3695877"/>
              <a:ext cx="1493463" cy="1493452"/>
            </a:xfrm>
            <a:custGeom>
              <a:avLst/>
              <a:gdLst>
                <a:gd name="connsiteX0" fmla="*/ 11056 w 1493463"/>
                <a:gd name="connsiteY0" fmla="*/ 1493453 h 1493452"/>
                <a:gd name="connsiteX1" fmla="*/ 3234 w 1493463"/>
                <a:gd name="connsiteY1" fmla="*/ 1490223 h 1493452"/>
                <a:gd name="connsiteX2" fmla="*/ 3234 w 1493463"/>
                <a:gd name="connsiteY2" fmla="*/ 1474579 h 1493452"/>
                <a:gd name="connsiteX3" fmla="*/ 3357 w 1493463"/>
                <a:gd name="connsiteY3" fmla="*/ 1474457 h 1493452"/>
                <a:gd name="connsiteX4" fmla="*/ 19000 w 1493463"/>
                <a:gd name="connsiteY4" fmla="*/ 1474457 h 1493452"/>
                <a:gd name="connsiteX5" fmla="*/ 19000 w 1493463"/>
                <a:gd name="connsiteY5" fmla="*/ 1490101 h 1493452"/>
                <a:gd name="connsiteX6" fmla="*/ 18878 w 1493463"/>
                <a:gd name="connsiteY6" fmla="*/ 1490223 h 1493452"/>
                <a:gd name="connsiteX7" fmla="*/ 11056 w 1493463"/>
                <a:gd name="connsiteY7" fmla="*/ 1493453 h 1493452"/>
                <a:gd name="connsiteX8" fmla="*/ 97637 w 1493463"/>
                <a:gd name="connsiteY8" fmla="*/ 1406820 h 1493452"/>
                <a:gd name="connsiteX9" fmla="*/ 89850 w 1493463"/>
                <a:gd name="connsiteY9" fmla="*/ 1403607 h 1493452"/>
                <a:gd name="connsiteX10" fmla="*/ 89780 w 1493463"/>
                <a:gd name="connsiteY10" fmla="*/ 1388034 h 1493452"/>
                <a:gd name="connsiteX11" fmla="*/ 89902 w 1493463"/>
                <a:gd name="connsiteY11" fmla="*/ 1387911 h 1493452"/>
                <a:gd name="connsiteX12" fmla="*/ 105546 w 1493463"/>
                <a:gd name="connsiteY12" fmla="*/ 1387911 h 1493452"/>
                <a:gd name="connsiteX13" fmla="*/ 105546 w 1493463"/>
                <a:gd name="connsiteY13" fmla="*/ 1403555 h 1493452"/>
                <a:gd name="connsiteX14" fmla="*/ 97637 w 1493463"/>
                <a:gd name="connsiteY14" fmla="*/ 1406820 h 1493452"/>
                <a:gd name="connsiteX15" fmla="*/ 184164 w 1493463"/>
                <a:gd name="connsiteY15" fmla="*/ 1320274 h 1493452"/>
                <a:gd name="connsiteX16" fmla="*/ 176378 w 1493463"/>
                <a:gd name="connsiteY16" fmla="*/ 1317062 h 1493452"/>
                <a:gd name="connsiteX17" fmla="*/ 176308 w 1493463"/>
                <a:gd name="connsiteY17" fmla="*/ 1301488 h 1493452"/>
                <a:gd name="connsiteX18" fmla="*/ 176430 w 1493463"/>
                <a:gd name="connsiteY18" fmla="*/ 1301366 h 1493452"/>
                <a:gd name="connsiteX19" fmla="*/ 192074 w 1493463"/>
                <a:gd name="connsiteY19" fmla="*/ 1301366 h 1493452"/>
                <a:gd name="connsiteX20" fmla="*/ 192074 w 1493463"/>
                <a:gd name="connsiteY20" fmla="*/ 1317009 h 1493452"/>
                <a:gd name="connsiteX21" fmla="*/ 184164 w 1493463"/>
                <a:gd name="connsiteY21" fmla="*/ 1320274 h 1493452"/>
                <a:gd name="connsiteX22" fmla="*/ 270710 w 1493463"/>
                <a:gd name="connsiteY22" fmla="*/ 1233729 h 1493452"/>
                <a:gd name="connsiteX23" fmla="*/ 262923 w 1493463"/>
                <a:gd name="connsiteY23" fmla="*/ 1230516 h 1493452"/>
                <a:gd name="connsiteX24" fmla="*/ 262854 w 1493463"/>
                <a:gd name="connsiteY24" fmla="*/ 1214942 h 1493452"/>
                <a:gd name="connsiteX25" fmla="*/ 262976 w 1493463"/>
                <a:gd name="connsiteY25" fmla="*/ 1214820 h 1493452"/>
                <a:gd name="connsiteX26" fmla="*/ 278619 w 1493463"/>
                <a:gd name="connsiteY26" fmla="*/ 1214820 h 1493452"/>
                <a:gd name="connsiteX27" fmla="*/ 278619 w 1493463"/>
                <a:gd name="connsiteY27" fmla="*/ 1230464 h 1493452"/>
                <a:gd name="connsiteX28" fmla="*/ 270710 w 1493463"/>
                <a:gd name="connsiteY28" fmla="*/ 1233729 h 1493452"/>
                <a:gd name="connsiteX29" fmla="*/ 357221 w 1493463"/>
                <a:gd name="connsiteY29" fmla="*/ 1147288 h 1493452"/>
                <a:gd name="connsiteX30" fmla="*/ 349399 w 1493463"/>
                <a:gd name="connsiteY30" fmla="*/ 1144058 h 1493452"/>
                <a:gd name="connsiteX31" fmla="*/ 349399 w 1493463"/>
                <a:gd name="connsiteY31" fmla="*/ 1128414 h 1493452"/>
                <a:gd name="connsiteX32" fmla="*/ 349522 w 1493463"/>
                <a:gd name="connsiteY32" fmla="*/ 1128292 h 1493452"/>
                <a:gd name="connsiteX33" fmla="*/ 365165 w 1493463"/>
                <a:gd name="connsiteY33" fmla="*/ 1128292 h 1493452"/>
                <a:gd name="connsiteX34" fmla="*/ 365165 w 1493463"/>
                <a:gd name="connsiteY34" fmla="*/ 1143936 h 1493452"/>
                <a:gd name="connsiteX35" fmla="*/ 365043 w 1493463"/>
                <a:gd name="connsiteY35" fmla="*/ 1144058 h 1493452"/>
                <a:gd name="connsiteX36" fmla="*/ 357221 w 1493463"/>
                <a:gd name="connsiteY36" fmla="*/ 1147288 h 1493452"/>
                <a:gd name="connsiteX37" fmla="*/ 443767 w 1493463"/>
                <a:gd name="connsiteY37" fmla="*/ 1060742 h 1493452"/>
                <a:gd name="connsiteX38" fmla="*/ 435945 w 1493463"/>
                <a:gd name="connsiteY38" fmla="*/ 1057512 h 1493452"/>
                <a:gd name="connsiteX39" fmla="*/ 435945 w 1493463"/>
                <a:gd name="connsiteY39" fmla="*/ 1041869 h 1493452"/>
                <a:gd name="connsiteX40" fmla="*/ 436067 w 1493463"/>
                <a:gd name="connsiteY40" fmla="*/ 1041747 h 1493452"/>
                <a:gd name="connsiteX41" fmla="*/ 451711 w 1493463"/>
                <a:gd name="connsiteY41" fmla="*/ 1041747 h 1493452"/>
                <a:gd name="connsiteX42" fmla="*/ 451711 w 1493463"/>
                <a:gd name="connsiteY42" fmla="*/ 1057390 h 1493452"/>
                <a:gd name="connsiteX43" fmla="*/ 451588 w 1493463"/>
                <a:gd name="connsiteY43" fmla="*/ 1057512 h 1493452"/>
                <a:gd name="connsiteX44" fmla="*/ 443767 w 1493463"/>
                <a:gd name="connsiteY44" fmla="*/ 1060742 h 1493452"/>
                <a:gd name="connsiteX45" fmla="*/ 530347 w 1493463"/>
                <a:gd name="connsiteY45" fmla="*/ 974109 h 1493452"/>
                <a:gd name="connsiteX46" fmla="*/ 522560 w 1493463"/>
                <a:gd name="connsiteY46" fmla="*/ 970897 h 1493452"/>
                <a:gd name="connsiteX47" fmla="*/ 522490 w 1493463"/>
                <a:gd name="connsiteY47" fmla="*/ 955323 h 1493452"/>
                <a:gd name="connsiteX48" fmla="*/ 522613 w 1493463"/>
                <a:gd name="connsiteY48" fmla="*/ 955201 h 1493452"/>
                <a:gd name="connsiteX49" fmla="*/ 538256 w 1493463"/>
                <a:gd name="connsiteY49" fmla="*/ 955201 h 1493452"/>
                <a:gd name="connsiteX50" fmla="*/ 538256 w 1493463"/>
                <a:gd name="connsiteY50" fmla="*/ 970844 h 1493452"/>
                <a:gd name="connsiteX51" fmla="*/ 530347 w 1493463"/>
                <a:gd name="connsiteY51" fmla="*/ 974109 h 1493452"/>
                <a:gd name="connsiteX52" fmla="*/ 616893 w 1493463"/>
                <a:gd name="connsiteY52" fmla="*/ 887564 h 1493452"/>
                <a:gd name="connsiteX53" fmla="*/ 609106 w 1493463"/>
                <a:gd name="connsiteY53" fmla="*/ 884351 h 1493452"/>
                <a:gd name="connsiteX54" fmla="*/ 609036 w 1493463"/>
                <a:gd name="connsiteY54" fmla="*/ 868777 h 1493452"/>
                <a:gd name="connsiteX55" fmla="*/ 609158 w 1493463"/>
                <a:gd name="connsiteY55" fmla="*/ 868655 h 1493452"/>
                <a:gd name="connsiteX56" fmla="*/ 624802 w 1493463"/>
                <a:gd name="connsiteY56" fmla="*/ 868655 h 1493452"/>
                <a:gd name="connsiteX57" fmla="*/ 624802 w 1493463"/>
                <a:gd name="connsiteY57" fmla="*/ 884299 h 1493452"/>
                <a:gd name="connsiteX58" fmla="*/ 616893 w 1493463"/>
                <a:gd name="connsiteY58" fmla="*/ 887564 h 1493452"/>
                <a:gd name="connsiteX59" fmla="*/ 703421 w 1493463"/>
                <a:gd name="connsiteY59" fmla="*/ 801018 h 1493452"/>
                <a:gd name="connsiteX60" fmla="*/ 695634 w 1493463"/>
                <a:gd name="connsiteY60" fmla="*/ 797806 h 1493452"/>
                <a:gd name="connsiteX61" fmla="*/ 695564 w 1493463"/>
                <a:gd name="connsiteY61" fmla="*/ 782232 h 1493452"/>
                <a:gd name="connsiteX62" fmla="*/ 695687 w 1493463"/>
                <a:gd name="connsiteY62" fmla="*/ 782110 h 1493452"/>
                <a:gd name="connsiteX63" fmla="*/ 711330 w 1493463"/>
                <a:gd name="connsiteY63" fmla="*/ 782110 h 1493452"/>
                <a:gd name="connsiteX64" fmla="*/ 711330 w 1493463"/>
                <a:gd name="connsiteY64" fmla="*/ 797753 h 1493452"/>
                <a:gd name="connsiteX65" fmla="*/ 703421 w 1493463"/>
                <a:gd name="connsiteY65" fmla="*/ 801018 h 1493452"/>
                <a:gd name="connsiteX66" fmla="*/ 789932 w 1493463"/>
                <a:gd name="connsiteY66" fmla="*/ 714577 h 1493452"/>
                <a:gd name="connsiteX67" fmla="*/ 782110 w 1493463"/>
                <a:gd name="connsiteY67" fmla="*/ 711347 h 1493452"/>
                <a:gd name="connsiteX68" fmla="*/ 782110 w 1493463"/>
                <a:gd name="connsiteY68" fmla="*/ 695704 h 1493452"/>
                <a:gd name="connsiteX69" fmla="*/ 782232 w 1493463"/>
                <a:gd name="connsiteY69" fmla="*/ 695582 h 1493452"/>
                <a:gd name="connsiteX70" fmla="*/ 797875 w 1493463"/>
                <a:gd name="connsiteY70" fmla="*/ 695582 h 1493452"/>
                <a:gd name="connsiteX71" fmla="*/ 797875 w 1493463"/>
                <a:gd name="connsiteY71" fmla="*/ 711225 h 1493452"/>
                <a:gd name="connsiteX72" fmla="*/ 797753 w 1493463"/>
                <a:gd name="connsiteY72" fmla="*/ 711347 h 1493452"/>
                <a:gd name="connsiteX73" fmla="*/ 789932 w 1493463"/>
                <a:gd name="connsiteY73" fmla="*/ 714577 h 1493452"/>
                <a:gd name="connsiteX74" fmla="*/ 876477 w 1493463"/>
                <a:gd name="connsiteY74" fmla="*/ 628032 h 1493452"/>
                <a:gd name="connsiteX75" fmla="*/ 868655 w 1493463"/>
                <a:gd name="connsiteY75" fmla="*/ 624802 h 1493452"/>
                <a:gd name="connsiteX76" fmla="*/ 868655 w 1493463"/>
                <a:gd name="connsiteY76" fmla="*/ 609158 h 1493452"/>
                <a:gd name="connsiteX77" fmla="*/ 868777 w 1493463"/>
                <a:gd name="connsiteY77" fmla="*/ 609036 h 1493452"/>
                <a:gd name="connsiteX78" fmla="*/ 884421 w 1493463"/>
                <a:gd name="connsiteY78" fmla="*/ 609036 h 1493452"/>
                <a:gd name="connsiteX79" fmla="*/ 884421 w 1493463"/>
                <a:gd name="connsiteY79" fmla="*/ 624679 h 1493452"/>
                <a:gd name="connsiteX80" fmla="*/ 884299 w 1493463"/>
                <a:gd name="connsiteY80" fmla="*/ 624802 h 1493452"/>
                <a:gd name="connsiteX81" fmla="*/ 876477 w 1493463"/>
                <a:gd name="connsiteY81" fmla="*/ 628032 h 1493452"/>
                <a:gd name="connsiteX82" fmla="*/ 963023 w 1493463"/>
                <a:gd name="connsiteY82" fmla="*/ 541486 h 1493452"/>
                <a:gd name="connsiteX83" fmla="*/ 955201 w 1493463"/>
                <a:gd name="connsiteY83" fmla="*/ 538256 h 1493452"/>
                <a:gd name="connsiteX84" fmla="*/ 955201 w 1493463"/>
                <a:gd name="connsiteY84" fmla="*/ 522613 h 1493452"/>
                <a:gd name="connsiteX85" fmla="*/ 955323 w 1493463"/>
                <a:gd name="connsiteY85" fmla="*/ 522491 h 1493452"/>
                <a:gd name="connsiteX86" fmla="*/ 970966 w 1493463"/>
                <a:gd name="connsiteY86" fmla="*/ 522491 h 1493452"/>
                <a:gd name="connsiteX87" fmla="*/ 970966 w 1493463"/>
                <a:gd name="connsiteY87" fmla="*/ 538134 h 1493452"/>
                <a:gd name="connsiteX88" fmla="*/ 970844 w 1493463"/>
                <a:gd name="connsiteY88" fmla="*/ 538256 h 1493452"/>
                <a:gd name="connsiteX89" fmla="*/ 963023 w 1493463"/>
                <a:gd name="connsiteY89" fmla="*/ 541486 h 1493452"/>
                <a:gd name="connsiteX90" fmla="*/ 1049603 w 1493463"/>
                <a:gd name="connsiteY90" fmla="*/ 454853 h 1493452"/>
                <a:gd name="connsiteX91" fmla="*/ 1041816 w 1493463"/>
                <a:gd name="connsiteY91" fmla="*/ 451641 h 1493452"/>
                <a:gd name="connsiteX92" fmla="*/ 1041746 w 1493463"/>
                <a:gd name="connsiteY92" fmla="*/ 436067 h 1493452"/>
                <a:gd name="connsiteX93" fmla="*/ 1041869 w 1493463"/>
                <a:gd name="connsiteY93" fmla="*/ 435945 h 1493452"/>
                <a:gd name="connsiteX94" fmla="*/ 1057512 w 1493463"/>
                <a:gd name="connsiteY94" fmla="*/ 435945 h 1493452"/>
                <a:gd name="connsiteX95" fmla="*/ 1057512 w 1493463"/>
                <a:gd name="connsiteY95" fmla="*/ 451588 h 1493452"/>
                <a:gd name="connsiteX96" fmla="*/ 1049603 w 1493463"/>
                <a:gd name="connsiteY96" fmla="*/ 454853 h 1493452"/>
                <a:gd name="connsiteX97" fmla="*/ 1136131 w 1493463"/>
                <a:gd name="connsiteY97" fmla="*/ 368308 h 1493452"/>
                <a:gd name="connsiteX98" fmla="*/ 1128344 w 1493463"/>
                <a:gd name="connsiteY98" fmla="*/ 365095 h 1493452"/>
                <a:gd name="connsiteX99" fmla="*/ 1128274 w 1493463"/>
                <a:gd name="connsiteY99" fmla="*/ 349522 h 1493452"/>
                <a:gd name="connsiteX100" fmla="*/ 1128397 w 1493463"/>
                <a:gd name="connsiteY100" fmla="*/ 349399 h 1493452"/>
                <a:gd name="connsiteX101" fmla="*/ 1144041 w 1493463"/>
                <a:gd name="connsiteY101" fmla="*/ 349399 h 1493452"/>
                <a:gd name="connsiteX102" fmla="*/ 1144041 w 1493463"/>
                <a:gd name="connsiteY102" fmla="*/ 365043 h 1493452"/>
                <a:gd name="connsiteX103" fmla="*/ 1136131 w 1493463"/>
                <a:gd name="connsiteY103" fmla="*/ 368308 h 1493452"/>
                <a:gd name="connsiteX104" fmla="*/ 1222642 w 1493463"/>
                <a:gd name="connsiteY104" fmla="*/ 281867 h 1493452"/>
                <a:gd name="connsiteX105" fmla="*/ 1214821 w 1493463"/>
                <a:gd name="connsiteY105" fmla="*/ 278637 h 1493452"/>
                <a:gd name="connsiteX106" fmla="*/ 1214821 w 1493463"/>
                <a:gd name="connsiteY106" fmla="*/ 262993 h 1493452"/>
                <a:gd name="connsiteX107" fmla="*/ 1214942 w 1493463"/>
                <a:gd name="connsiteY107" fmla="*/ 262871 h 1493452"/>
                <a:gd name="connsiteX108" fmla="*/ 1230586 w 1493463"/>
                <a:gd name="connsiteY108" fmla="*/ 262871 h 1493452"/>
                <a:gd name="connsiteX109" fmla="*/ 1230586 w 1493463"/>
                <a:gd name="connsiteY109" fmla="*/ 278514 h 1493452"/>
                <a:gd name="connsiteX110" fmla="*/ 1230464 w 1493463"/>
                <a:gd name="connsiteY110" fmla="*/ 278637 h 1493452"/>
                <a:gd name="connsiteX111" fmla="*/ 1222642 w 1493463"/>
                <a:gd name="connsiteY111" fmla="*/ 281867 h 1493452"/>
                <a:gd name="connsiteX112" fmla="*/ 1309188 w 1493463"/>
                <a:gd name="connsiteY112" fmla="*/ 195321 h 1493452"/>
                <a:gd name="connsiteX113" fmla="*/ 1301366 w 1493463"/>
                <a:gd name="connsiteY113" fmla="*/ 192091 h 1493452"/>
                <a:gd name="connsiteX114" fmla="*/ 1301366 w 1493463"/>
                <a:gd name="connsiteY114" fmla="*/ 176448 h 1493452"/>
                <a:gd name="connsiteX115" fmla="*/ 1301488 w 1493463"/>
                <a:gd name="connsiteY115" fmla="*/ 176326 h 1493452"/>
                <a:gd name="connsiteX116" fmla="*/ 1317131 w 1493463"/>
                <a:gd name="connsiteY116" fmla="*/ 176326 h 1493452"/>
                <a:gd name="connsiteX117" fmla="*/ 1317131 w 1493463"/>
                <a:gd name="connsiteY117" fmla="*/ 191969 h 1493452"/>
                <a:gd name="connsiteX118" fmla="*/ 1317009 w 1493463"/>
                <a:gd name="connsiteY118" fmla="*/ 192091 h 1493452"/>
                <a:gd name="connsiteX119" fmla="*/ 1309188 w 1493463"/>
                <a:gd name="connsiteY119" fmla="*/ 195321 h 1493452"/>
                <a:gd name="connsiteX120" fmla="*/ 1395768 w 1493463"/>
                <a:gd name="connsiteY120" fmla="*/ 108689 h 1493452"/>
                <a:gd name="connsiteX121" fmla="*/ 1387981 w 1493463"/>
                <a:gd name="connsiteY121" fmla="*/ 105476 h 1493452"/>
                <a:gd name="connsiteX122" fmla="*/ 1387911 w 1493463"/>
                <a:gd name="connsiteY122" fmla="*/ 89902 h 1493452"/>
                <a:gd name="connsiteX123" fmla="*/ 1388034 w 1493463"/>
                <a:gd name="connsiteY123" fmla="*/ 89780 h 1493452"/>
                <a:gd name="connsiteX124" fmla="*/ 1403677 w 1493463"/>
                <a:gd name="connsiteY124" fmla="*/ 89780 h 1493452"/>
                <a:gd name="connsiteX125" fmla="*/ 1403677 w 1493463"/>
                <a:gd name="connsiteY125" fmla="*/ 105423 h 1493452"/>
                <a:gd name="connsiteX126" fmla="*/ 1395768 w 1493463"/>
                <a:gd name="connsiteY126" fmla="*/ 108689 h 1493452"/>
                <a:gd name="connsiteX127" fmla="*/ 1482314 w 1493463"/>
                <a:gd name="connsiteY127" fmla="*/ 22143 h 1493452"/>
                <a:gd name="connsiteX128" fmla="*/ 1474527 w 1493463"/>
                <a:gd name="connsiteY128" fmla="*/ 18930 h 1493452"/>
                <a:gd name="connsiteX129" fmla="*/ 1474457 w 1493463"/>
                <a:gd name="connsiteY129" fmla="*/ 3357 h 1493452"/>
                <a:gd name="connsiteX130" fmla="*/ 1474579 w 1493463"/>
                <a:gd name="connsiteY130" fmla="*/ 3234 h 1493452"/>
                <a:gd name="connsiteX131" fmla="*/ 1490223 w 1493463"/>
                <a:gd name="connsiteY131" fmla="*/ 3234 h 1493452"/>
                <a:gd name="connsiteX132" fmla="*/ 1490223 w 1493463"/>
                <a:gd name="connsiteY132" fmla="*/ 18878 h 1493452"/>
                <a:gd name="connsiteX133" fmla="*/ 1482314 w 1493463"/>
                <a:gd name="connsiteY133" fmla="*/ 22143 h 149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493463" h="1493452">
                  <a:moveTo>
                    <a:pt x="11056" y="1493453"/>
                  </a:moveTo>
                  <a:cubicBezTo>
                    <a:pt x="8228" y="1493453"/>
                    <a:pt x="5399" y="1492370"/>
                    <a:pt x="3234" y="1490223"/>
                  </a:cubicBezTo>
                  <a:cubicBezTo>
                    <a:pt x="-1078" y="1485910"/>
                    <a:pt x="-1078" y="1478909"/>
                    <a:pt x="3234" y="1474579"/>
                  </a:cubicBezTo>
                  <a:lnTo>
                    <a:pt x="3357" y="1474457"/>
                  </a:lnTo>
                  <a:cubicBezTo>
                    <a:pt x="7669" y="1470144"/>
                    <a:pt x="14670" y="1470144"/>
                    <a:pt x="19000" y="1474457"/>
                  </a:cubicBezTo>
                  <a:cubicBezTo>
                    <a:pt x="23330" y="1478770"/>
                    <a:pt x="23312" y="1485771"/>
                    <a:pt x="19000" y="1490101"/>
                  </a:cubicBezTo>
                  <a:lnTo>
                    <a:pt x="18878" y="1490223"/>
                  </a:lnTo>
                  <a:cubicBezTo>
                    <a:pt x="16713" y="1492387"/>
                    <a:pt x="13885" y="1493453"/>
                    <a:pt x="11056" y="1493453"/>
                  </a:cubicBezTo>
                  <a:close/>
                  <a:moveTo>
                    <a:pt x="97637" y="1406820"/>
                  </a:moveTo>
                  <a:cubicBezTo>
                    <a:pt x="94808" y="1406820"/>
                    <a:pt x="91997" y="1405755"/>
                    <a:pt x="89850" y="1403607"/>
                  </a:cubicBezTo>
                  <a:cubicBezTo>
                    <a:pt x="85537" y="1399295"/>
                    <a:pt x="85468" y="1392346"/>
                    <a:pt x="89780" y="1388034"/>
                  </a:cubicBezTo>
                  <a:lnTo>
                    <a:pt x="89902" y="1387911"/>
                  </a:lnTo>
                  <a:cubicBezTo>
                    <a:pt x="94215" y="1383599"/>
                    <a:pt x="101216" y="1383599"/>
                    <a:pt x="105546" y="1387911"/>
                  </a:cubicBezTo>
                  <a:cubicBezTo>
                    <a:pt x="109858" y="1392224"/>
                    <a:pt x="109858" y="1399225"/>
                    <a:pt x="105546" y="1403555"/>
                  </a:cubicBezTo>
                  <a:cubicBezTo>
                    <a:pt x="103363" y="1405737"/>
                    <a:pt x="100500" y="1406820"/>
                    <a:pt x="97637" y="1406820"/>
                  </a:cubicBezTo>
                  <a:close/>
                  <a:moveTo>
                    <a:pt x="184164" y="1320274"/>
                  </a:moveTo>
                  <a:cubicBezTo>
                    <a:pt x="181336" y="1320274"/>
                    <a:pt x="178525" y="1319209"/>
                    <a:pt x="176378" y="1317062"/>
                  </a:cubicBezTo>
                  <a:cubicBezTo>
                    <a:pt x="172065" y="1312749"/>
                    <a:pt x="171995" y="1305801"/>
                    <a:pt x="176308" y="1301488"/>
                  </a:cubicBezTo>
                  <a:lnTo>
                    <a:pt x="176430" y="1301366"/>
                  </a:lnTo>
                  <a:cubicBezTo>
                    <a:pt x="180743" y="1297053"/>
                    <a:pt x="187744" y="1297053"/>
                    <a:pt x="192074" y="1301366"/>
                  </a:cubicBezTo>
                  <a:cubicBezTo>
                    <a:pt x="196386" y="1305678"/>
                    <a:pt x="196386" y="1312679"/>
                    <a:pt x="192074" y="1317009"/>
                  </a:cubicBezTo>
                  <a:cubicBezTo>
                    <a:pt x="189891" y="1319192"/>
                    <a:pt x="187028" y="1320274"/>
                    <a:pt x="184164" y="1320274"/>
                  </a:cubicBezTo>
                  <a:close/>
                  <a:moveTo>
                    <a:pt x="270710" y="1233729"/>
                  </a:moveTo>
                  <a:cubicBezTo>
                    <a:pt x="267882" y="1233729"/>
                    <a:pt x="265071" y="1232663"/>
                    <a:pt x="262923" y="1230516"/>
                  </a:cubicBezTo>
                  <a:cubicBezTo>
                    <a:pt x="258611" y="1226204"/>
                    <a:pt x="258541" y="1219255"/>
                    <a:pt x="262854" y="1214942"/>
                  </a:cubicBezTo>
                  <a:lnTo>
                    <a:pt x="262976" y="1214820"/>
                  </a:lnTo>
                  <a:cubicBezTo>
                    <a:pt x="267288" y="1210508"/>
                    <a:pt x="274289" y="1210508"/>
                    <a:pt x="278619" y="1214820"/>
                  </a:cubicBezTo>
                  <a:cubicBezTo>
                    <a:pt x="282949" y="1219132"/>
                    <a:pt x="282932" y="1226134"/>
                    <a:pt x="278619" y="1230464"/>
                  </a:cubicBezTo>
                  <a:cubicBezTo>
                    <a:pt x="276437" y="1232646"/>
                    <a:pt x="273574" y="1233729"/>
                    <a:pt x="270710" y="1233729"/>
                  </a:cubicBezTo>
                  <a:close/>
                  <a:moveTo>
                    <a:pt x="357221" y="1147288"/>
                  </a:moveTo>
                  <a:cubicBezTo>
                    <a:pt x="354392" y="1147288"/>
                    <a:pt x="351564" y="1146206"/>
                    <a:pt x="349399" y="1144058"/>
                  </a:cubicBezTo>
                  <a:cubicBezTo>
                    <a:pt x="345087" y="1139745"/>
                    <a:pt x="345087" y="1132744"/>
                    <a:pt x="349399" y="1128414"/>
                  </a:cubicBezTo>
                  <a:lnTo>
                    <a:pt x="349522" y="1128292"/>
                  </a:lnTo>
                  <a:cubicBezTo>
                    <a:pt x="353834" y="1123979"/>
                    <a:pt x="360835" y="1123979"/>
                    <a:pt x="365165" y="1128292"/>
                  </a:cubicBezTo>
                  <a:cubicBezTo>
                    <a:pt x="369477" y="1132605"/>
                    <a:pt x="369477" y="1139606"/>
                    <a:pt x="365165" y="1143936"/>
                  </a:cubicBezTo>
                  <a:lnTo>
                    <a:pt x="365043" y="1144058"/>
                  </a:lnTo>
                  <a:cubicBezTo>
                    <a:pt x="362878" y="1146223"/>
                    <a:pt x="360050" y="1147288"/>
                    <a:pt x="357221" y="1147288"/>
                  </a:cubicBezTo>
                  <a:close/>
                  <a:moveTo>
                    <a:pt x="443767" y="1060742"/>
                  </a:moveTo>
                  <a:cubicBezTo>
                    <a:pt x="440938" y="1060742"/>
                    <a:pt x="438110" y="1059660"/>
                    <a:pt x="435945" y="1057512"/>
                  </a:cubicBezTo>
                  <a:cubicBezTo>
                    <a:pt x="431633" y="1053200"/>
                    <a:pt x="431633" y="1046199"/>
                    <a:pt x="435945" y="1041869"/>
                  </a:cubicBezTo>
                  <a:lnTo>
                    <a:pt x="436067" y="1041747"/>
                  </a:lnTo>
                  <a:cubicBezTo>
                    <a:pt x="440379" y="1037434"/>
                    <a:pt x="447380" y="1037434"/>
                    <a:pt x="451711" y="1041747"/>
                  </a:cubicBezTo>
                  <a:cubicBezTo>
                    <a:pt x="456023" y="1046059"/>
                    <a:pt x="456023" y="1053060"/>
                    <a:pt x="451711" y="1057390"/>
                  </a:cubicBezTo>
                  <a:lnTo>
                    <a:pt x="451588" y="1057512"/>
                  </a:lnTo>
                  <a:cubicBezTo>
                    <a:pt x="449423" y="1059677"/>
                    <a:pt x="446595" y="1060742"/>
                    <a:pt x="443767" y="1060742"/>
                  </a:cubicBezTo>
                  <a:close/>
                  <a:moveTo>
                    <a:pt x="530347" y="974109"/>
                  </a:moveTo>
                  <a:cubicBezTo>
                    <a:pt x="527519" y="974109"/>
                    <a:pt x="524708" y="973044"/>
                    <a:pt x="522560" y="970897"/>
                  </a:cubicBezTo>
                  <a:cubicBezTo>
                    <a:pt x="518248" y="966584"/>
                    <a:pt x="518178" y="959636"/>
                    <a:pt x="522490" y="955323"/>
                  </a:cubicBezTo>
                  <a:lnTo>
                    <a:pt x="522613" y="955201"/>
                  </a:lnTo>
                  <a:cubicBezTo>
                    <a:pt x="526925" y="950888"/>
                    <a:pt x="533926" y="950888"/>
                    <a:pt x="538256" y="955201"/>
                  </a:cubicBezTo>
                  <a:cubicBezTo>
                    <a:pt x="542586" y="959513"/>
                    <a:pt x="542568" y="966514"/>
                    <a:pt x="538256" y="970844"/>
                  </a:cubicBezTo>
                  <a:cubicBezTo>
                    <a:pt x="536074" y="973027"/>
                    <a:pt x="533210" y="974109"/>
                    <a:pt x="530347" y="974109"/>
                  </a:cubicBezTo>
                  <a:close/>
                  <a:moveTo>
                    <a:pt x="616893" y="887564"/>
                  </a:moveTo>
                  <a:cubicBezTo>
                    <a:pt x="614064" y="887564"/>
                    <a:pt x="611253" y="886499"/>
                    <a:pt x="609106" y="884351"/>
                  </a:cubicBezTo>
                  <a:cubicBezTo>
                    <a:pt x="604793" y="880039"/>
                    <a:pt x="604724" y="873090"/>
                    <a:pt x="609036" y="868777"/>
                  </a:cubicBezTo>
                  <a:lnTo>
                    <a:pt x="609158" y="868655"/>
                  </a:lnTo>
                  <a:cubicBezTo>
                    <a:pt x="613471" y="864343"/>
                    <a:pt x="620472" y="864343"/>
                    <a:pt x="624802" y="868655"/>
                  </a:cubicBezTo>
                  <a:cubicBezTo>
                    <a:pt x="629114" y="872968"/>
                    <a:pt x="629114" y="879969"/>
                    <a:pt x="624802" y="884299"/>
                  </a:cubicBezTo>
                  <a:cubicBezTo>
                    <a:pt x="622619" y="886481"/>
                    <a:pt x="619756" y="887564"/>
                    <a:pt x="616893" y="887564"/>
                  </a:cubicBezTo>
                  <a:close/>
                  <a:moveTo>
                    <a:pt x="703421" y="801018"/>
                  </a:moveTo>
                  <a:cubicBezTo>
                    <a:pt x="700592" y="801018"/>
                    <a:pt x="697782" y="799953"/>
                    <a:pt x="695634" y="797806"/>
                  </a:cubicBezTo>
                  <a:cubicBezTo>
                    <a:pt x="691322" y="793493"/>
                    <a:pt x="691252" y="786545"/>
                    <a:pt x="695564" y="782232"/>
                  </a:cubicBezTo>
                  <a:lnTo>
                    <a:pt x="695687" y="782110"/>
                  </a:lnTo>
                  <a:cubicBezTo>
                    <a:pt x="699999" y="777797"/>
                    <a:pt x="707000" y="777797"/>
                    <a:pt x="711330" y="782110"/>
                  </a:cubicBezTo>
                  <a:cubicBezTo>
                    <a:pt x="715642" y="786422"/>
                    <a:pt x="715642" y="793423"/>
                    <a:pt x="711330" y="797753"/>
                  </a:cubicBezTo>
                  <a:cubicBezTo>
                    <a:pt x="709148" y="799936"/>
                    <a:pt x="706284" y="801018"/>
                    <a:pt x="703421" y="801018"/>
                  </a:cubicBezTo>
                  <a:close/>
                  <a:moveTo>
                    <a:pt x="789932" y="714577"/>
                  </a:moveTo>
                  <a:cubicBezTo>
                    <a:pt x="787103" y="714577"/>
                    <a:pt x="784275" y="713495"/>
                    <a:pt x="782110" y="711347"/>
                  </a:cubicBezTo>
                  <a:cubicBezTo>
                    <a:pt x="777797" y="707035"/>
                    <a:pt x="777797" y="700034"/>
                    <a:pt x="782110" y="695704"/>
                  </a:cubicBezTo>
                  <a:lnTo>
                    <a:pt x="782232" y="695582"/>
                  </a:lnTo>
                  <a:cubicBezTo>
                    <a:pt x="786544" y="691269"/>
                    <a:pt x="793545" y="691269"/>
                    <a:pt x="797875" y="695582"/>
                  </a:cubicBezTo>
                  <a:cubicBezTo>
                    <a:pt x="802188" y="699894"/>
                    <a:pt x="802188" y="706895"/>
                    <a:pt x="797875" y="711225"/>
                  </a:cubicBezTo>
                  <a:lnTo>
                    <a:pt x="797753" y="711347"/>
                  </a:lnTo>
                  <a:cubicBezTo>
                    <a:pt x="795588" y="713512"/>
                    <a:pt x="792760" y="714577"/>
                    <a:pt x="789932" y="714577"/>
                  </a:cubicBezTo>
                  <a:close/>
                  <a:moveTo>
                    <a:pt x="876477" y="628032"/>
                  </a:moveTo>
                  <a:cubicBezTo>
                    <a:pt x="873649" y="628032"/>
                    <a:pt x="870820" y="626949"/>
                    <a:pt x="868655" y="624802"/>
                  </a:cubicBezTo>
                  <a:cubicBezTo>
                    <a:pt x="864343" y="620489"/>
                    <a:pt x="864343" y="613488"/>
                    <a:pt x="868655" y="609158"/>
                  </a:cubicBezTo>
                  <a:lnTo>
                    <a:pt x="868777" y="609036"/>
                  </a:lnTo>
                  <a:cubicBezTo>
                    <a:pt x="873090" y="604724"/>
                    <a:pt x="880091" y="604724"/>
                    <a:pt x="884421" y="609036"/>
                  </a:cubicBezTo>
                  <a:cubicBezTo>
                    <a:pt x="888733" y="613348"/>
                    <a:pt x="888733" y="620349"/>
                    <a:pt x="884421" y="624679"/>
                  </a:cubicBezTo>
                  <a:lnTo>
                    <a:pt x="884299" y="624802"/>
                  </a:lnTo>
                  <a:cubicBezTo>
                    <a:pt x="882134" y="626967"/>
                    <a:pt x="879305" y="628032"/>
                    <a:pt x="876477" y="628032"/>
                  </a:cubicBezTo>
                  <a:close/>
                  <a:moveTo>
                    <a:pt x="963023" y="541486"/>
                  </a:moveTo>
                  <a:cubicBezTo>
                    <a:pt x="960194" y="541486"/>
                    <a:pt x="957366" y="540403"/>
                    <a:pt x="955201" y="538256"/>
                  </a:cubicBezTo>
                  <a:cubicBezTo>
                    <a:pt x="950888" y="533944"/>
                    <a:pt x="950888" y="526942"/>
                    <a:pt x="955201" y="522613"/>
                  </a:cubicBezTo>
                  <a:lnTo>
                    <a:pt x="955323" y="522491"/>
                  </a:lnTo>
                  <a:cubicBezTo>
                    <a:pt x="959636" y="518178"/>
                    <a:pt x="966636" y="518178"/>
                    <a:pt x="970966" y="522491"/>
                  </a:cubicBezTo>
                  <a:cubicBezTo>
                    <a:pt x="975296" y="526803"/>
                    <a:pt x="975279" y="533804"/>
                    <a:pt x="970966" y="538134"/>
                  </a:cubicBezTo>
                  <a:lnTo>
                    <a:pt x="970844" y="538256"/>
                  </a:lnTo>
                  <a:cubicBezTo>
                    <a:pt x="968680" y="540421"/>
                    <a:pt x="965851" y="541486"/>
                    <a:pt x="963023" y="541486"/>
                  </a:cubicBezTo>
                  <a:close/>
                  <a:moveTo>
                    <a:pt x="1049603" y="454853"/>
                  </a:moveTo>
                  <a:cubicBezTo>
                    <a:pt x="1046775" y="454853"/>
                    <a:pt x="1043964" y="453788"/>
                    <a:pt x="1041816" y="451641"/>
                  </a:cubicBezTo>
                  <a:cubicBezTo>
                    <a:pt x="1037504" y="447328"/>
                    <a:pt x="1037434" y="440380"/>
                    <a:pt x="1041746" y="436067"/>
                  </a:cubicBezTo>
                  <a:lnTo>
                    <a:pt x="1041869" y="435945"/>
                  </a:lnTo>
                  <a:cubicBezTo>
                    <a:pt x="1046181" y="431633"/>
                    <a:pt x="1053183" y="431633"/>
                    <a:pt x="1057512" y="435945"/>
                  </a:cubicBezTo>
                  <a:cubicBezTo>
                    <a:pt x="1061824" y="440257"/>
                    <a:pt x="1061824" y="447258"/>
                    <a:pt x="1057512" y="451588"/>
                  </a:cubicBezTo>
                  <a:cubicBezTo>
                    <a:pt x="1055330" y="453771"/>
                    <a:pt x="1052466" y="454853"/>
                    <a:pt x="1049603" y="454853"/>
                  </a:cubicBezTo>
                  <a:close/>
                  <a:moveTo>
                    <a:pt x="1136131" y="368308"/>
                  </a:moveTo>
                  <a:cubicBezTo>
                    <a:pt x="1133302" y="368308"/>
                    <a:pt x="1130492" y="367243"/>
                    <a:pt x="1128344" y="365095"/>
                  </a:cubicBezTo>
                  <a:cubicBezTo>
                    <a:pt x="1124032" y="360783"/>
                    <a:pt x="1123962" y="353834"/>
                    <a:pt x="1128274" y="349522"/>
                  </a:cubicBezTo>
                  <a:lnTo>
                    <a:pt x="1128397" y="349399"/>
                  </a:lnTo>
                  <a:cubicBezTo>
                    <a:pt x="1132709" y="345087"/>
                    <a:pt x="1139711" y="345087"/>
                    <a:pt x="1144041" y="349399"/>
                  </a:cubicBezTo>
                  <a:cubicBezTo>
                    <a:pt x="1148353" y="353712"/>
                    <a:pt x="1148353" y="360713"/>
                    <a:pt x="1144041" y="365043"/>
                  </a:cubicBezTo>
                  <a:cubicBezTo>
                    <a:pt x="1141858" y="367225"/>
                    <a:pt x="1138995" y="368308"/>
                    <a:pt x="1136131" y="368308"/>
                  </a:cubicBezTo>
                  <a:close/>
                  <a:moveTo>
                    <a:pt x="1222642" y="281867"/>
                  </a:moveTo>
                  <a:cubicBezTo>
                    <a:pt x="1219814" y="281867"/>
                    <a:pt x="1216985" y="280784"/>
                    <a:pt x="1214821" y="278637"/>
                  </a:cubicBezTo>
                  <a:cubicBezTo>
                    <a:pt x="1210508" y="274324"/>
                    <a:pt x="1210508" y="267323"/>
                    <a:pt x="1214821" y="262993"/>
                  </a:cubicBezTo>
                  <a:lnTo>
                    <a:pt x="1214942" y="262871"/>
                  </a:lnTo>
                  <a:cubicBezTo>
                    <a:pt x="1219255" y="258559"/>
                    <a:pt x="1226256" y="258559"/>
                    <a:pt x="1230586" y="262871"/>
                  </a:cubicBezTo>
                  <a:cubicBezTo>
                    <a:pt x="1234916" y="267183"/>
                    <a:pt x="1234899" y="274185"/>
                    <a:pt x="1230586" y="278514"/>
                  </a:cubicBezTo>
                  <a:lnTo>
                    <a:pt x="1230464" y="278637"/>
                  </a:lnTo>
                  <a:cubicBezTo>
                    <a:pt x="1228299" y="280802"/>
                    <a:pt x="1225470" y="281867"/>
                    <a:pt x="1222642" y="281867"/>
                  </a:cubicBezTo>
                  <a:close/>
                  <a:moveTo>
                    <a:pt x="1309188" y="195321"/>
                  </a:moveTo>
                  <a:cubicBezTo>
                    <a:pt x="1306359" y="195321"/>
                    <a:pt x="1303530" y="194239"/>
                    <a:pt x="1301366" y="192091"/>
                  </a:cubicBezTo>
                  <a:cubicBezTo>
                    <a:pt x="1297053" y="187779"/>
                    <a:pt x="1297053" y="180777"/>
                    <a:pt x="1301366" y="176448"/>
                  </a:cubicBezTo>
                  <a:lnTo>
                    <a:pt x="1301488" y="176326"/>
                  </a:lnTo>
                  <a:cubicBezTo>
                    <a:pt x="1305801" y="172013"/>
                    <a:pt x="1312801" y="172013"/>
                    <a:pt x="1317131" y="176326"/>
                  </a:cubicBezTo>
                  <a:cubicBezTo>
                    <a:pt x="1321444" y="180638"/>
                    <a:pt x="1321444" y="187639"/>
                    <a:pt x="1317131" y="191969"/>
                  </a:cubicBezTo>
                  <a:lnTo>
                    <a:pt x="1317009" y="192091"/>
                  </a:lnTo>
                  <a:cubicBezTo>
                    <a:pt x="1314845" y="194256"/>
                    <a:pt x="1312016" y="195321"/>
                    <a:pt x="1309188" y="195321"/>
                  </a:cubicBezTo>
                  <a:close/>
                  <a:moveTo>
                    <a:pt x="1395768" y="108689"/>
                  </a:moveTo>
                  <a:cubicBezTo>
                    <a:pt x="1392940" y="108689"/>
                    <a:pt x="1390128" y="107623"/>
                    <a:pt x="1387981" y="105476"/>
                  </a:cubicBezTo>
                  <a:cubicBezTo>
                    <a:pt x="1383669" y="101163"/>
                    <a:pt x="1383599" y="94215"/>
                    <a:pt x="1387911" y="89902"/>
                  </a:cubicBezTo>
                  <a:lnTo>
                    <a:pt x="1388034" y="89780"/>
                  </a:lnTo>
                  <a:cubicBezTo>
                    <a:pt x="1392346" y="85468"/>
                    <a:pt x="1399347" y="85468"/>
                    <a:pt x="1403677" y="89780"/>
                  </a:cubicBezTo>
                  <a:cubicBezTo>
                    <a:pt x="1407989" y="94092"/>
                    <a:pt x="1407989" y="101094"/>
                    <a:pt x="1403677" y="105423"/>
                  </a:cubicBezTo>
                  <a:cubicBezTo>
                    <a:pt x="1401495" y="107606"/>
                    <a:pt x="1398631" y="108689"/>
                    <a:pt x="1395768" y="108689"/>
                  </a:cubicBezTo>
                  <a:close/>
                  <a:moveTo>
                    <a:pt x="1482314" y="22143"/>
                  </a:moveTo>
                  <a:cubicBezTo>
                    <a:pt x="1479485" y="22143"/>
                    <a:pt x="1476675" y="21078"/>
                    <a:pt x="1474527" y="18930"/>
                  </a:cubicBezTo>
                  <a:cubicBezTo>
                    <a:pt x="1470214" y="14618"/>
                    <a:pt x="1470144" y="7669"/>
                    <a:pt x="1474457" y="3357"/>
                  </a:cubicBezTo>
                  <a:lnTo>
                    <a:pt x="1474579" y="3234"/>
                  </a:lnTo>
                  <a:cubicBezTo>
                    <a:pt x="1478892" y="-1078"/>
                    <a:pt x="1485893" y="-1078"/>
                    <a:pt x="1490223" y="3234"/>
                  </a:cubicBezTo>
                  <a:cubicBezTo>
                    <a:pt x="1494552" y="7547"/>
                    <a:pt x="1494535" y="14548"/>
                    <a:pt x="1490223" y="18878"/>
                  </a:cubicBezTo>
                  <a:cubicBezTo>
                    <a:pt x="1488040" y="21060"/>
                    <a:pt x="1485177" y="22143"/>
                    <a:pt x="1482314" y="22143"/>
                  </a:cubicBezTo>
                  <a:close/>
                </a:path>
              </a:pathLst>
            </a:custGeom>
            <a:grpFill/>
            <a:ln w="0"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5D66B5D3-94F6-5009-E16F-9B650B1715C8}"/>
                </a:ext>
              </a:extLst>
            </p:cNvPr>
            <p:cNvSpPr/>
            <p:nvPr/>
          </p:nvSpPr>
          <p:spPr>
            <a:xfrm>
              <a:off x="7617061" y="3842033"/>
              <a:ext cx="1321516" cy="1321561"/>
            </a:xfrm>
            <a:custGeom>
              <a:avLst/>
              <a:gdLst>
                <a:gd name="connsiteX0" fmla="*/ 11635 w 1321516"/>
                <a:gd name="connsiteY0" fmla="*/ 1321544 h 1321561"/>
                <a:gd name="connsiteX1" fmla="*/ 3464 w 1321516"/>
                <a:gd name="connsiteY1" fmla="*/ 1318192 h 1321561"/>
                <a:gd name="connsiteX2" fmla="*/ 3359 w 1321516"/>
                <a:gd name="connsiteY2" fmla="*/ 1301728 h 1321561"/>
                <a:gd name="connsiteX3" fmla="*/ 3481 w 1321516"/>
                <a:gd name="connsiteY3" fmla="*/ 1301606 h 1321561"/>
                <a:gd name="connsiteX4" fmla="*/ 19945 w 1321516"/>
                <a:gd name="connsiteY4" fmla="*/ 1301501 h 1321561"/>
                <a:gd name="connsiteX5" fmla="*/ 20050 w 1321516"/>
                <a:gd name="connsiteY5" fmla="*/ 1317965 h 1321561"/>
                <a:gd name="connsiteX6" fmla="*/ 19928 w 1321516"/>
                <a:gd name="connsiteY6" fmla="*/ 1318088 h 1321561"/>
                <a:gd name="connsiteX7" fmla="*/ 11635 w 1321516"/>
                <a:gd name="connsiteY7" fmla="*/ 1321562 h 1321561"/>
                <a:gd name="connsiteX8" fmla="*/ 98215 w 1321516"/>
                <a:gd name="connsiteY8" fmla="*/ 1234911 h 1321561"/>
                <a:gd name="connsiteX9" fmla="*/ 90009 w 1321516"/>
                <a:gd name="connsiteY9" fmla="*/ 1231524 h 1321561"/>
                <a:gd name="connsiteX10" fmla="*/ 89939 w 1321516"/>
                <a:gd name="connsiteY10" fmla="*/ 1215130 h 1321561"/>
                <a:gd name="connsiteX11" fmla="*/ 90062 w 1321516"/>
                <a:gd name="connsiteY11" fmla="*/ 1215008 h 1321561"/>
                <a:gd name="connsiteX12" fmla="*/ 106526 w 1321516"/>
                <a:gd name="connsiteY12" fmla="*/ 1215008 h 1321561"/>
                <a:gd name="connsiteX13" fmla="*/ 106526 w 1321516"/>
                <a:gd name="connsiteY13" fmla="*/ 1231472 h 1321561"/>
                <a:gd name="connsiteX14" fmla="*/ 98198 w 1321516"/>
                <a:gd name="connsiteY14" fmla="*/ 1234911 h 1321561"/>
                <a:gd name="connsiteX15" fmla="*/ 184726 w 1321516"/>
                <a:gd name="connsiteY15" fmla="*/ 1148453 h 1321561"/>
                <a:gd name="connsiteX16" fmla="*/ 176433 w 1321516"/>
                <a:gd name="connsiteY16" fmla="*/ 1144979 h 1321561"/>
                <a:gd name="connsiteX17" fmla="*/ 176538 w 1321516"/>
                <a:gd name="connsiteY17" fmla="*/ 1128515 h 1321561"/>
                <a:gd name="connsiteX18" fmla="*/ 176659 w 1321516"/>
                <a:gd name="connsiteY18" fmla="*/ 1128393 h 1321561"/>
                <a:gd name="connsiteX19" fmla="*/ 193124 w 1321516"/>
                <a:gd name="connsiteY19" fmla="*/ 1128497 h 1321561"/>
                <a:gd name="connsiteX20" fmla="*/ 193019 w 1321516"/>
                <a:gd name="connsiteY20" fmla="*/ 1144962 h 1321561"/>
                <a:gd name="connsiteX21" fmla="*/ 192897 w 1321516"/>
                <a:gd name="connsiteY21" fmla="*/ 1145084 h 1321561"/>
                <a:gd name="connsiteX22" fmla="*/ 184726 w 1321516"/>
                <a:gd name="connsiteY22" fmla="*/ 1148436 h 1321561"/>
                <a:gd name="connsiteX23" fmla="*/ 271272 w 1321516"/>
                <a:gd name="connsiteY23" fmla="*/ 1061908 h 1321561"/>
                <a:gd name="connsiteX24" fmla="*/ 262978 w 1321516"/>
                <a:gd name="connsiteY24" fmla="*/ 1058433 h 1321561"/>
                <a:gd name="connsiteX25" fmla="*/ 263083 w 1321516"/>
                <a:gd name="connsiteY25" fmla="*/ 1041969 h 1321561"/>
                <a:gd name="connsiteX26" fmla="*/ 263205 w 1321516"/>
                <a:gd name="connsiteY26" fmla="*/ 1041847 h 1321561"/>
                <a:gd name="connsiteX27" fmla="*/ 279669 w 1321516"/>
                <a:gd name="connsiteY27" fmla="*/ 1041952 h 1321561"/>
                <a:gd name="connsiteX28" fmla="*/ 279565 w 1321516"/>
                <a:gd name="connsiteY28" fmla="*/ 1058416 h 1321561"/>
                <a:gd name="connsiteX29" fmla="*/ 279442 w 1321516"/>
                <a:gd name="connsiteY29" fmla="*/ 1058538 h 1321561"/>
                <a:gd name="connsiteX30" fmla="*/ 271272 w 1321516"/>
                <a:gd name="connsiteY30" fmla="*/ 1061890 h 1321561"/>
                <a:gd name="connsiteX31" fmla="*/ 357834 w 1321516"/>
                <a:gd name="connsiteY31" fmla="*/ 975275 h 1321561"/>
                <a:gd name="connsiteX32" fmla="*/ 349629 w 1321516"/>
                <a:gd name="connsiteY32" fmla="*/ 971888 h 1321561"/>
                <a:gd name="connsiteX33" fmla="*/ 349559 w 1321516"/>
                <a:gd name="connsiteY33" fmla="*/ 955494 h 1321561"/>
                <a:gd name="connsiteX34" fmla="*/ 349681 w 1321516"/>
                <a:gd name="connsiteY34" fmla="*/ 955371 h 1321561"/>
                <a:gd name="connsiteX35" fmla="*/ 366145 w 1321516"/>
                <a:gd name="connsiteY35" fmla="*/ 955371 h 1321561"/>
                <a:gd name="connsiteX36" fmla="*/ 366145 w 1321516"/>
                <a:gd name="connsiteY36" fmla="*/ 971835 h 1321561"/>
                <a:gd name="connsiteX37" fmla="*/ 357817 w 1321516"/>
                <a:gd name="connsiteY37" fmla="*/ 975275 h 1321561"/>
                <a:gd name="connsiteX38" fmla="*/ 444345 w 1321516"/>
                <a:gd name="connsiteY38" fmla="*/ 888834 h 1321561"/>
                <a:gd name="connsiteX39" fmla="*/ 436174 w 1321516"/>
                <a:gd name="connsiteY39" fmla="*/ 885482 h 1321561"/>
                <a:gd name="connsiteX40" fmla="*/ 436069 w 1321516"/>
                <a:gd name="connsiteY40" fmla="*/ 869018 h 1321561"/>
                <a:gd name="connsiteX41" fmla="*/ 436192 w 1321516"/>
                <a:gd name="connsiteY41" fmla="*/ 868895 h 1321561"/>
                <a:gd name="connsiteX42" fmla="*/ 452656 w 1321516"/>
                <a:gd name="connsiteY42" fmla="*/ 868791 h 1321561"/>
                <a:gd name="connsiteX43" fmla="*/ 452761 w 1321516"/>
                <a:gd name="connsiteY43" fmla="*/ 885255 h 1321561"/>
                <a:gd name="connsiteX44" fmla="*/ 452638 w 1321516"/>
                <a:gd name="connsiteY44" fmla="*/ 885377 h 1321561"/>
                <a:gd name="connsiteX45" fmla="*/ 444345 w 1321516"/>
                <a:gd name="connsiteY45" fmla="*/ 888851 h 1321561"/>
                <a:gd name="connsiteX46" fmla="*/ 530891 w 1321516"/>
                <a:gd name="connsiteY46" fmla="*/ 802289 h 1321561"/>
                <a:gd name="connsiteX47" fmla="*/ 522720 w 1321516"/>
                <a:gd name="connsiteY47" fmla="*/ 798936 h 1321561"/>
                <a:gd name="connsiteX48" fmla="*/ 522615 w 1321516"/>
                <a:gd name="connsiteY48" fmla="*/ 782472 h 1321561"/>
                <a:gd name="connsiteX49" fmla="*/ 522737 w 1321516"/>
                <a:gd name="connsiteY49" fmla="*/ 782350 h 1321561"/>
                <a:gd name="connsiteX50" fmla="*/ 539201 w 1321516"/>
                <a:gd name="connsiteY50" fmla="*/ 782245 h 1321561"/>
                <a:gd name="connsiteX51" fmla="*/ 539306 w 1321516"/>
                <a:gd name="connsiteY51" fmla="*/ 798709 h 1321561"/>
                <a:gd name="connsiteX52" fmla="*/ 539184 w 1321516"/>
                <a:gd name="connsiteY52" fmla="*/ 798832 h 1321561"/>
                <a:gd name="connsiteX53" fmla="*/ 530891 w 1321516"/>
                <a:gd name="connsiteY53" fmla="*/ 802306 h 1321561"/>
                <a:gd name="connsiteX54" fmla="*/ 617436 w 1321516"/>
                <a:gd name="connsiteY54" fmla="*/ 715743 h 1321561"/>
                <a:gd name="connsiteX55" fmla="*/ 609143 w 1321516"/>
                <a:gd name="connsiteY55" fmla="*/ 712268 h 1321561"/>
                <a:gd name="connsiteX56" fmla="*/ 609248 w 1321516"/>
                <a:gd name="connsiteY56" fmla="*/ 695804 h 1321561"/>
                <a:gd name="connsiteX57" fmla="*/ 609370 w 1321516"/>
                <a:gd name="connsiteY57" fmla="*/ 695682 h 1321561"/>
                <a:gd name="connsiteX58" fmla="*/ 625834 w 1321516"/>
                <a:gd name="connsiteY58" fmla="*/ 695787 h 1321561"/>
                <a:gd name="connsiteX59" fmla="*/ 625730 w 1321516"/>
                <a:gd name="connsiteY59" fmla="*/ 712251 h 1321561"/>
                <a:gd name="connsiteX60" fmla="*/ 625607 w 1321516"/>
                <a:gd name="connsiteY60" fmla="*/ 712373 h 1321561"/>
                <a:gd name="connsiteX61" fmla="*/ 617436 w 1321516"/>
                <a:gd name="connsiteY61" fmla="*/ 715725 h 1321561"/>
                <a:gd name="connsiteX62" fmla="*/ 703982 w 1321516"/>
                <a:gd name="connsiteY62" fmla="*/ 629197 h 1321561"/>
                <a:gd name="connsiteX63" fmla="*/ 695689 w 1321516"/>
                <a:gd name="connsiteY63" fmla="*/ 625723 h 1321561"/>
                <a:gd name="connsiteX64" fmla="*/ 695793 w 1321516"/>
                <a:gd name="connsiteY64" fmla="*/ 609259 h 1321561"/>
                <a:gd name="connsiteX65" fmla="*/ 695916 w 1321516"/>
                <a:gd name="connsiteY65" fmla="*/ 609136 h 1321561"/>
                <a:gd name="connsiteX66" fmla="*/ 712380 w 1321516"/>
                <a:gd name="connsiteY66" fmla="*/ 609241 h 1321561"/>
                <a:gd name="connsiteX67" fmla="*/ 712275 w 1321516"/>
                <a:gd name="connsiteY67" fmla="*/ 625705 h 1321561"/>
                <a:gd name="connsiteX68" fmla="*/ 712153 w 1321516"/>
                <a:gd name="connsiteY68" fmla="*/ 625828 h 1321561"/>
                <a:gd name="connsiteX69" fmla="*/ 703982 w 1321516"/>
                <a:gd name="connsiteY69" fmla="*/ 629180 h 1321561"/>
                <a:gd name="connsiteX70" fmla="*/ 790510 w 1321516"/>
                <a:gd name="connsiteY70" fmla="*/ 542669 h 1321561"/>
                <a:gd name="connsiteX71" fmla="*/ 782339 w 1321516"/>
                <a:gd name="connsiteY71" fmla="*/ 539317 h 1321561"/>
                <a:gd name="connsiteX72" fmla="*/ 782235 w 1321516"/>
                <a:gd name="connsiteY72" fmla="*/ 522853 h 1321561"/>
                <a:gd name="connsiteX73" fmla="*/ 782357 w 1321516"/>
                <a:gd name="connsiteY73" fmla="*/ 522731 h 1321561"/>
                <a:gd name="connsiteX74" fmla="*/ 798821 w 1321516"/>
                <a:gd name="connsiteY74" fmla="*/ 522626 h 1321561"/>
                <a:gd name="connsiteX75" fmla="*/ 798925 w 1321516"/>
                <a:gd name="connsiteY75" fmla="*/ 539090 h 1321561"/>
                <a:gd name="connsiteX76" fmla="*/ 798803 w 1321516"/>
                <a:gd name="connsiteY76" fmla="*/ 539212 h 1321561"/>
                <a:gd name="connsiteX77" fmla="*/ 790510 w 1321516"/>
                <a:gd name="connsiteY77" fmla="*/ 542686 h 1321561"/>
                <a:gd name="connsiteX78" fmla="*/ 877055 w 1321516"/>
                <a:gd name="connsiteY78" fmla="*/ 456124 h 1321561"/>
                <a:gd name="connsiteX79" fmla="*/ 868885 w 1321516"/>
                <a:gd name="connsiteY79" fmla="*/ 452771 h 1321561"/>
                <a:gd name="connsiteX80" fmla="*/ 868780 w 1321516"/>
                <a:gd name="connsiteY80" fmla="*/ 436307 h 1321561"/>
                <a:gd name="connsiteX81" fmla="*/ 868902 w 1321516"/>
                <a:gd name="connsiteY81" fmla="*/ 436185 h 1321561"/>
                <a:gd name="connsiteX82" fmla="*/ 885366 w 1321516"/>
                <a:gd name="connsiteY82" fmla="*/ 436080 h 1321561"/>
                <a:gd name="connsiteX83" fmla="*/ 885471 w 1321516"/>
                <a:gd name="connsiteY83" fmla="*/ 452544 h 1321561"/>
                <a:gd name="connsiteX84" fmla="*/ 885348 w 1321516"/>
                <a:gd name="connsiteY84" fmla="*/ 452667 h 1321561"/>
                <a:gd name="connsiteX85" fmla="*/ 877055 w 1321516"/>
                <a:gd name="connsiteY85" fmla="*/ 456141 h 1321561"/>
                <a:gd name="connsiteX86" fmla="*/ 963601 w 1321516"/>
                <a:gd name="connsiteY86" fmla="*/ 369578 h 1321561"/>
                <a:gd name="connsiteX87" fmla="*/ 955308 w 1321516"/>
                <a:gd name="connsiteY87" fmla="*/ 366103 h 1321561"/>
                <a:gd name="connsiteX88" fmla="*/ 955413 w 1321516"/>
                <a:gd name="connsiteY88" fmla="*/ 349640 h 1321561"/>
                <a:gd name="connsiteX89" fmla="*/ 955535 w 1321516"/>
                <a:gd name="connsiteY89" fmla="*/ 349517 h 1321561"/>
                <a:gd name="connsiteX90" fmla="*/ 971999 w 1321516"/>
                <a:gd name="connsiteY90" fmla="*/ 349622 h 1321561"/>
                <a:gd name="connsiteX91" fmla="*/ 971895 w 1321516"/>
                <a:gd name="connsiteY91" fmla="*/ 366086 h 1321561"/>
                <a:gd name="connsiteX92" fmla="*/ 971772 w 1321516"/>
                <a:gd name="connsiteY92" fmla="*/ 366208 h 1321561"/>
                <a:gd name="connsiteX93" fmla="*/ 963601 w 1321516"/>
                <a:gd name="connsiteY93" fmla="*/ 369560 h 1321561"/>
                <a:gd name="connsiteX94" fmla="*/ 1050147 w 1321516"/>
                <a:gd name="connsiteY94" fmla="*/ 283032 h 1321561"/>
                <a:gd name="connsiteX95" fmla="*/ 1041854 w 1321516"/>
                <a:gd name="connsiteY95" fmla="*/ 279558 h 1321561"/>
                <a:gd name="connsiteX96" fmla="*/ 1041958 w 1321516"/>
                <a:gd name="connsiteY96" fmla="*/ 263094 h 1321561"/>
                <a:gd name="connsiteX97" fmla="*/ 1042080 w 1321516"/>
                <a:gd name="connsiteY97" fmla="*/ 262971 h 1321561"/>
                <a:gd name="connsiteX98" fmla="*/ 1058545 w 1321516"/>
                <a:gd name="connsiteY98" fmla="*/ 263076 h 1321561"/>
                <a:gd name="connsiteX99" fmla="*/ 1058440 w 1321516"/>
                <a:gd name="connsiteY99" fmla="*/ 279540 h 1321561"/>
                <a:gd name="connsiteX100" fmla="*/ 1058318 w 1321516"/>
                <a:gd name="connsiteY100" fmla="*/ 279663 h 1321561"/>
                <a:gd name="connsiteX101" fmla="*/ 1050147 w 1321516"/>
                <a:gd name="connsiteY101" fmla="*/ 283015 h 1321561"/>
                <a:gd name="connsiteX102" fmla="*/ 1136727 w 1321516"/>
                <a:gd name="connsiteY102" fmla="*/ 196399 h 1321561"/>
                <a:gd name="connsiteX103" fmla="*/ 1128522 w 1321516"/>
                <a:gd name="connsiteY103" fmla="*/ 193013 h 1321561"/>
                <a:gd name="connsiteX104" fmla="*/ 1128452 w 1321516"/>
                <a:gd name="connsiteY104" fmla="*/ 176618 h 1321561"/>
                <a:gd name="connsiteX105" fmla="*/ 1128574 w 1321516"/>
                <a:gd name="connsiteY105" fmla="*/ 176496 h 1321561"/>
                <a:gd name="connsiteX106" fmla="*/ 1145038 w 1321516"/>
                <a:gd name="connsiteY106" fmla="*/ 176496 h 1321561"/>
                <a:gd name="connsiteX107" fmla="*/ 1145038 w 1321516"/>
                <a:gd name="connsiteY107" fmla="*/ 192960 h 1321561"/>
                <a:gd name="connsiteX108" fmla="*/ 1136710 w 1321516"/>
                <a:gd name="connsiteY108" fmla="*/ 196399 h 1321561"/>
                <a:gd name="connsiteX109" fmla="*/ 1223255 w 1321516"/>
                <a:gd name="connsiteY109" fmla="*/ 109854 h 1321561"/>
                <a:gd name="connsiteX110" fmla="*/ 1215050 w 1321516"/>
                <a:gd name="connsiteY110" fmla="*/ 106467 h 1321561"/>
                <a:gd name="connsiteX111" fmla="*/ 1214980 w 1321516"/>
                <a:gd name="connsiteY111" fmla="*/ 90072 h 1321561"/>
                <a:gd name="connsiteX112" fmla="*/ 1215102 w 1321516"/>
                <a:gd name="connsiteY112" fmla="*/ 89950 h 1321561"/>
                <a:gd name="connsiteX113" fmla="*/ 1231566 w 1321516"/>
                <a:gd name="connsiteY113" fmla="*/ 89950 h 1321561"/>
                <a:gd name="connsiteX114" fmla="*/ 1231566 w 1321516"/>
                <a:gd name="connsiteY114" fmla="*/ 106414 h 1321561"/>
                <a:gd name="connsiteX115" fmla="*/ 1223238 w 1321516"/>
                <a:gd name="connsiteY115" fmla="*/ 109854 h 1321561"/>
                <a:gd name="connsiteX116" fmla="*/ 1309801 w 1321516"/>
                <a:gd name="connsiteY116" fmla="*/ 23308 h 1321561"/>
                <a:gd name="connsiteX117" fmla="*/ 1301595 w 1321516"/>
                <a:gd name="connsiteY117" fmla="*/ 19921 h 1321561"/>
                <a:gd name="connsiteX118" fmla="*/ 1301525 w 1321516"/>
                <a:gd name="connsiteY118" fmla="*/ 3527 h 1321561"/>
                <a:gd name="connsiteX119" fmla="*/ 1301648 w 1321516"/>
                <a:gd name="connsiteY119" fmla="*/ 3405 h 1321561"/>
                <a:gd name="connsiteX120" fmla="*/ 1318112 w 1321516"/>
                <a:gd name="connsiteY120" fmla="*/ 3405 h 1321561"/>
                <a:gd name="connsiteX121" fmla="*/ 1318112 w 1321516"/>
                <a:gd name="connsiteY121" fmla="*/ 19869 h 1321561"/>
                <a:gd name="connsiteX122" fmla="*/ 1309783 w 1321516"/>
                <a:gd name="connsiteY122" fmla="*/ 23308 h 132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1321516" h="1321561">
                  <a:moveTo>
                    <a:pt x="11635" y="1321544"/>
                  </a:moveTo>
                  <a:cubicBezTo>
                    <a:pt x="8684" y="1321544"/>
                    <a:pt x="5733" y="1320427"/>
                    <a:pt x="3464" y="1318192"/>
                  </a:cubicBezTo>
                  <a:cubicBezTo>
                    <a:pt x="-1111" y="1313688"/>
                    <a:pt x="-1163" y="1306303"/>
                    <a:pt x="3359" y="1301728"/>
                  </a:cubicBezTo>
                  <a:lnTo>
                    <a:pt x="3481" y="1301606"/>
                  </a:lnTo>
                  <a:cubicBezTo>
                    <a:pt x="8003" y="1297032"/>
                    <a:pt x="15371" y="1296979"/>
                    <a:pt x="19945" y="1301501"/>
                  </a:cubicBezTo>
                  <a:cubicBezTo>
                    <a:pt x="24520" y="1306023"/>
                    <a:pt x="24572" y="1313391"/>
                    <a:pt x="20050" y="1317965"/>
                  </a:cubicBezTo>
                  <a:lnTo>
                    <a:pt x="19928" y="1318088"/>
                  </a:lnTo>
                  <a:cubicBezTo>
                    <a:pt x="17658" y="1320392"/>
                    <a:pt x="14655" y="1321562"/>
                    <a:pt x="11635" y="1321562"/>
                  </a:cubicBezTo>
                  <a:close/>
                  <a:moveTo>
                    <a:pt x="98215" y="1234911"/>
                  </a:moveTo>
                  <a:cubicBezTo>
                    <a:pt x="95247" y="1234911"/>
                    <a:pt x="92279" y="1233794"/>
                    <a:pt x="90009" y="1231524"/>
                  </a:cubicBezTo>
                  <a:cubicBezTo>
                    <a:pt x="85470" y="1226985"/>
                    <a:pt x="85400" y="1219669"/>
                    <a:pt x="89939" y="1215130"/>
                  </a:cubicBezTo>
                  <a:lnTo>
                    <a:pt x="90062" y="1215008"/>
                  </a:lnTo>
                  <a:cubicBezTo>
                    <a:pt x="94601" y="1210468"/>
                    <a:pt x="101969" y="1210468"/>
                    <a:pt x="106526" y="1215008"/>
                  </a:cubicBezTo>
                  <a:cubicBezTo>
                    <a:pt x="111065" y="1219548"/>
                    <a:pt x="111065" y="1226915"/>
                    <a:pt x="106526" y="1231472"/>
                  </a:cubicBezTo>
                  <a:cubicBezTo>
                    <a:pt x="104238" y="1233759"/>
                    <a:pt x="101218" y="1234911"/>
                    <a:pt x="98198" y="1234911"/>
                  </a:cubicBezTo>
                  <a:close/>
                  <a:moveTo>
                    <a:pt x="184726" y="1148453"/>
                  </a:moveTo>
                  <a:cubicBezTo>
                    <a:pt x="181723" y="1148453"/>
                    <a:pt x="178720" y="1147301"/>
                    <a:pt x="176433" y="1144979"/>
                  </a:cubicBezTo>
                  <a:cubicBezTo>
                    <a:pt x="171911" y="1140405"/>
                    <a:pt x="171963" y="1133037"/>
                    <a:pt x="176538" y="1128515"/>
                  </a:cubicBezTo>
                  <a:lnTo>
                    <a:pt x="176659" y="1128393"/>
                  </a:lnTo>
                  <a:cubicBezTo>
                    <a:pt x="181234" y="1123871"/>
                    <a:pt x="188602" y="1123923"/>
                    <a:pt x="193124" y="1128497"/>
                  </a:cubicBezTo>
                  <a:cubicBezTo>
                    <a:pt x="197646" y="1133072"/>
                    <a:pt x="197593" y="1140439"/>
                    <a:pt x="193019" y="1144962"/>
                  </a:cubicBezTo>
                  <a:lnTo>
                    <a:pt x="192897" y="1145084"/>
                  </a:lnTo>
                  <a:cubicBezTo>
                    <a:pt x="190627" y="1147318"/>
                    <a:pt x="187676" y="1148436"/>
                    <a:pt x="184726" y="1148436"/>
                  </a:cubicBezTo>
                  <a:close/>
                  <a:moveTo>
                    <a:pt x="271272" y="1061908"/>
                  </a:moveTo>
                  <a:cubicBezTo>
                    <a:pt x="268269" y="1061908"/>
                    <a:pt x="265265" y="1060755"/>
                    <a:pt x="262978" y="1058433"/>
                  </a:cubicBezTo>
                  <a:cubicBezTo>
                    <a:pt x="258456" y="1053859"/>
                    <a:pt x="258509" y="1046491"/>
                    <a:pt x="263083" y="1041969"/>
                  </a:cubicBezTo>
                  <a:lnTo>
                    <a:pt x="263205" y="1041847"/>
                  </a:lnTo>
                  <a:cubicBezTo>
                    <a:pt x="267780" y="1037325"/>
                    <a:pt x="275147" y="1037377"/>
                    <a:pt x="279669" y="1041952"/>
                  </a:cubicBezTo>
                  <a:cubicBezTo>
                    <a:pt x="284191" y="1046526"/>
                    <a:pt x="284139" y="1053894"/>
                    <a:pt x="279565" y="1058416"/>
                  </a:cubicBezTo>
                  <a:lnTo>
                    <a:pt x="279442" y="1058538"/>
                  </a:lnTo>
                  <a:cubicBezTo>
                    <a:pt x="277173" y="1060773"/>
                    <a:pt x="274222" y="1061890"/>
                    <a:pt x="271272" y="1061890"/>
                  </a:cubicBezTo>
                  <a:close/>
                  <a:moveTo>
                    <a:pt x="357834" y="975275"/>
                  </a:moveTo>
                  <a:cubicBezTo>
                    <a:pt x="354866" y="975275"/>
                    <a:pt x="351898" y="974157"/>
                    <a:pt x="349629" y="971888"/>
                  </a:cubicBezTo>
                  <a:cubicBezTo>
                    <a:pt x="345089" y="967348"/>
                    <a:pt x="345019" y="960033"/>
                    <a:pt x="349559" y="955494"/>
                  </a:cubicBezTo>
                  <a:lnTo>
                    <a:pt x="349681" y="955371"/>
                  </a:lnTo>
                  <a:cubicBezTo>
                    <a:pt x="354221" y="950832"/>
                    <a:pt x="361588" y="950832"/>
                    <a:pt x="366145" y="955371"/>
                  </a:cubicBezTo>
                  <a:cubicBezTo>
                    <a:pt x="370685" y="959911"/>
                    <a:pt x="370685" y="967279"/>
                    <a:pt x="366145" y="971835"/>
                  </a:cubicBezTo>
                  <a:cubicBezTo>
                    <a:pt x="363858" y="974122"/>
                    <a:pt x="360837" y="975275"/>
                    <a:pt x="357817" y="975275"/>
                  </a:cubicBezTo>
                  <a:close/>
                  <a:moveTo>
                    <a:pt x="444345" y="888834"/>
                  </a:moveTo>
                  <a:cubicBezTo>
                    <a:pt x="441395" y="888834"/>
                    <a:pt x="438444" y="887717"/>
                    <a:pt x="436174" y="885482"/>
                  </a:cubicBezTo>
                  <a:cubicBezTo>
                    <a:pt x="431600" y="880977"/>
                    <a:pt x="431547" y="873592"/>
                    <a:pt x="436069" y="869018"/>
                  </a:cubicBezTo>
                  <a:lnTo>
                    <a:pt x="436192" y="868895"/>
                  </a:lnTo>
                  <a:cubicBezTo>
                    <a:pt x="440696" y="864321"/>
                    <a:pt x="448082" y="864269"/>
                    <a:pt x="452656" y="868791"/>
                  </a:cubicBezTo>
                  <a:cubicBezTo>
                    <a:pt x="457230" y="873313"/>
                    <a:pt x="457283" y="880680"/>
                    <a:pt x="452761" y="885255"/>
                  </a:cubicBezTo>
                  <a:lnTo>
                    <a:pt x="452638" y="885377"/>
                  </a:lnTo>
                  <a:cubicBezTo>
                    <a:pt x="450368" y="887682"/>
                    <a:pt x="447365" y="888851"/>
                    <a:pt x="444345" y="888851"/>
                  </a:cubicBezTo>
                  <a:close/>
                  <a:moveTo>
                    <a:pt x="530891" y="802289"/>
                  </a:moveTo>
                  <a:cubicBezTo>
                    <a:pt x="527940" y="802289"/>
                    <a:pt x="524989" y="801171"/>
                    <a:pt x="522720" y="798936"/>
                  </a:cubicBezTo>
                  <a:cubicBezTo>
                    <a:pt x="518145" y="794432"/>
                    <a:pt x="518093" y="787047"/>
                    <a:pt x="522615" y="782472"/>
                  </a:cubicBezTo>
                  <a:lnTo>
                    <a:pt x="522737" y="782350"/>
                  </a:lnTo>
                  <a:cubicBezTo>
                    <a:pt x="527242" y="777776"/>
                    <a:pt x="534627" y="777723"/>
                    <a:pt x="539201" y="782245"/>
                  </a:cubicBezTo>
                  <a:cubicBezTo>
                    <a:pt x="543776" y="786767"/>
                    <a:pt x="543828" y="794135"/>
                    <a:pt x="539306" y="798709"/>
                  </a:cubicBezTo>
                  <a:lnTo>
                    <a:pt x="539184" y="798832"/>
                  </a:lnTo>
                  <a:cubicBezTo>
                    <a:pt x="536914" y="801136"/>
                    <a:pt x="533894" y="802306"/>
                    <a:pt x="530891" y="802306"/>
                  </a:cubicBezTo>
                  <a:close/>
                  <a:moveTo>
                    <a:pt x="617436" y="715743"/>
                  </a:moveTo>
                  <a:cubicBezTo>
                    <a:pt x="614433" y="715743"/>
                    <a:pt x="611430" y="714591"/>
                    <a:pt x="609143" y="712268"/>
                  </a:cubicBezTo>
                  <a:cubicBezTo>
                    <a:pt x="604621" y="707694"/>
                    <a:pt x="604674" y="700326"/>
                    <a:pt x="609248" y="695804"/>
                  </a:cubicBezTo>
                  <a:lnTo>
                    <a:pt x="609370" y="695682"/>
                  </a:lnTo>
                  <a:cubicBezTo>
                    <a:pt x="613945" y="691160"/>
                    <a:pt x="621312" y="691212"/>
                    <a:pt x="625834" y="695787"/>
                  </a:cubicBezTo>
                  <a:cubicBezTo>
                    <a:pt x="630356" y="700361"/>
                    <a:pt x="630304" y="707729"/>
                    <a:pt x="625730" y="712251"/>
                  </a:cubicBezTo>
                  <a:lnTo>
                    <a:pt x="625607" y="712373"/>
                  </a:lnTo>
                  <a:cubicBezTo>
                    <a:pt x="623338" y="714608"/>
                    <a:pt x="620387" y="715725"/>
                    <a:pt x="617436" y="715725"/>
                  </a:cubicBezTo>
                  <a:close/>
                  <a:moveTo>
                    <a:pt x="703982" y="629197"/>
                  </a:moveTo>
                  <a:cubicBezTo>
                    <a:pt x="700979" y="629197"/>
                    <a:pt x="697976" y="628045"/>
                    <a:pt x="695689" y="625723"/>
                  </a:cubicBezTo>
                  <a:cubicBezTo>
                    <a:pt x="691167" y="621149"/>
                    <a:pt x="691219" y="613781"/>
                    <a:pt x="695793" y="609259"/>
                  </a:cubicBezTo>
                  <a:lnTo>
                    <a:pt x="695916" y="609136"/>
                  </a:lnTo>
                  <a:cubicBezTo>
                    <a:pt x="700490" y="604615"/>
                    <a:pt x="707858" y="604667"/>
                    <a:pt x="712380" y="609241"/>
                  </a:cubicBezTo>
                  <a:cubicBezTo>
                    <a:pt x="716902" y="613815"/>
                    <a:pt x="716849" y="621184"/>
                    <a:pt x="712275" y="625705"/>
                  </a:cubicBezTo>
                  <a:lnTo>
                    <a:pt x="712153" y="625828"/>
                  </a:lnTo>
                  <a:cubicBezTo>
                    <a:pt x="709883" y="628062"/>
                    <a:pt x="706933" y="629180"/>
                    <a:pt x="703982" y="629180"/>
                  </a:cubicBezTo>
                  <a:close/>
                  <a:moveTo>
                    <a:pt x="790510" y="542669"/>
                  </a:moveTo>
                  <a:cubicBezTo>
                    <a:pt x="787559" y="542669"/>
                    <a:pt x="784609" y="541552"/>
                    <a:pt x="782339" y="539317"/>
                  </a:cubicBezTo>
                  <a:cubicBezTo>
                    <a:pt x="777765" y="534812"/>
                    <a:pt x="777712" y="527427"/>
                    <a:pt x="782235" y="522853"/>
                  </a:cubicBezTo>
                  <a:lnTo>
                    <a:pt x="782357" y="522731"/>
                  </a:lnTo>
                  <a:cubicBezTo>
                    <a:pt x="786861" y="518156"/>
                    <a:pt x="794247" y="518104"/>
                    <a:pt x="798821" y="522626"/>
                  </a:cubicBezTo>
                  <a:cubicBezTo>
                    <a:pt x="803395" y="527130"/>
                    <a:pt x="803448" y="534516"/>
                    <a:pt x="798925" y="539090"/>
                  </a:cubicBezTo>
                  <a:lnTo>
                    <a:pt x="798803" y="539212"/>
                  </a:lnTo>
                  <a:cubicBezTo>
                    <a:pt x="796534" y="541517"/>
                    <a:pt x="793530" y="542686"/>
                    <a:pt x="790510" y="542686"/>
                  </a:cubicBezTo>
                  <a:close/>
                  <a:moveTo>
                    <a:pt x="877055" y="456124"/>
                  </a:moveTo>
                  <a:cubicBezTo>
                    <a:pt x="874105" y="456124"/>
                    <a:pt x="871154" y="455006"/>
                    <a:pt x="868885" y="452771"/>
                  </a:cubicBezTo>
                  <a:cubicBezTo>
                    <a:pt x="864310" y="448267"/>
                    <a:pt x="864258" y="440882"/>
                    <a:pt x="868780" y="436307"/>
                  </a:cubicBezTo>
                  <a:lnTo>
                    <a:pt x="868902" y="436185"/>
                  </a:lnTo>
                  <a:cubicBezTo>
                    <a:pt x="873407" y="431611"/>
                    <a:pt x="880792" y="431558"/>
                    <a:pt x="885366" y="436080"/>
                  </a:cubicBezTo>
                  <a:cubicBezTo>
                    <a:pt x="889941" y="440585"/>
                    <a:pt x="889993" y="447970"/>
                    <a:pt x="885471" y="452544"/>
                  </a:cubicBezTo>
                  <a:lnTo>
                    <a:pt x="885348" y="452667"/>
                  </a:lnTo>
                  <a:cubicBezTo>
                    <a:pt x="883079" y="454971"/>
                    <a:pt x="880076" y="456141"/>
                    <a:pt x="877055" y="456141"/>
                  </a:cubicBezTo>
                  <a:close/>
                  <a:moveTo>
                    <a:pt x="963601" y="369578"/>
                  </a:moveTo>
                  <a:cubicBezTo>
                    <a:pt x="960598" y="369578"/>
                    <a:pt x="957596" y="368426"/>
                    <a:pt x="955308" y="366103"/>
                  </a:cubicBezTo>
                  <a:cubicBezTo>
                    <a:pt x="950786" y="361529"/>
                    <a:pt x="950839" y="354161"/>
                    <a:pt x="955413" y="349640"/>
                  </a:cubicBezTo>
                  <a:lnTo>
                    <a:pt x="955535" y="349517"/>
                  </a:lnTo>
                  <a:cubicBezTo>
                    <a:pt x="960110" y="344995"/>
                    <a:pt x="967477" y="345048"/>
                    <a:pt x="971999" y="349622"/>
                  </a:cubicBezTo>
                  <a:cubicBezTo>
                    <a:pt x="976521" y="354196"/>
                    <a:pt x="976469" y="361564"/>
                    <a:pt x="971895" y="366086"/>
                  </a:cubicBezTo>
                  <a:lnTo>
                    <a:pt x="971772" y="366208"/>
                  </a:lnTo>
                  <a:cubicBezTo>
                    <a:pt x="969502" y="368443"/>
                    <a:pt x="966552" y="369560"/>
                    <a:pt x="963601" y="369560"/>
                  </a:cubicBezTo>
                  <a:close/>
                  <a:moveTo>
                    <a:pt x="1050147" y="283032"/>
                  </a:moveTo>
                  <a:cubicBezTo>
                    <a:pt x="1047144" y="283032"/>
                    <a:pt x="1044141" y="281880"/>
                    <a:pt x="1041854" y="279558"/>
                  </a:cubicBezTo>
                  <a:cubicBezTo>
                    <a:pt x="1037332" y="274984"/>
                    <a:pt x="1037384" y="267616"/>
                    <a:pt x="1041958" y="263094"/>
                  </a:cubicBezTo>
                  <a:lnTo>
                    <a:pt x="1042080" y="262971"/>
                  </a:lnTo>
                  <a:cubicBezTo>
                    <a:pt x="1046655" y="258450"/>
                    <a:pt x="1054023" y="258502"/>
                    <a:pt x="1058545" y="263076"/>
                  </a:cubicBezTo>
                  <a:cubicBezTo>
                    <a:pt x="1063066" y="267651"/>
                    <a:pt x="1063014" y="275019"/>
                    <a:pt x="1058440" y="279540"/>
                  </a:cubicBezTo>
                  <a:lnTo>
                    <a:pt x="1058318" y="279663"/>
                  </a:lnTo>
                  <a:cubicBezTo>
                    <a:pt x="1056048" y="281897"/>
                    <a:pt x="1053097" y="283015"/>
                    <a:pt x="1050147" y="283015"/>
                  </a:cubicBezTo>
                  <a:close/>
                  <a:moveTo>
                    <a:pt x="1136727" y="196399"/>
                  </a:moveTo>
                  <a:cubicBezTo>
                    <a:pt x="1133759" y="196399"/>
                    <a:pt x="1130791" y="195282"/>
                    <a:pt x="1128522" y="193013"/>
                  </a:cubicBezTo>
                  <a:cubicBezTo>
                    <a:pt x="1123982" y="188473"/>
                    <a:pt x="1123912" y="181158"/>
                    <a:pt x="1128452" y="176618"/>
                  </a:cubicBezTo>
                  <a:lnTo>
                    <a:pt x="1128574" y="176496"/>
                  </a:lnTo>
                  <a:cubicBezTo>
                    <a:pt x="1133113" y="171957"/>
                    <a:pt x="1140481" y="171957"/>
                    <a:pt x="1145038" y="176496"/>
                  </a:cubicBezTo>
                  <a:cubicBezTo>
                    <a:pt x="1149595" y="181035"/>
                    <a:pt x="1149578" y="188403"/>
                    <a:pt x="1145038" y="192960"/>
                  </a:cubicBezTo>
                  <a:cubicBezTo>
                    <a:pt x="1142751" y="195247"/>
                    <a:pt x="1139730" y="196399"/>
                    <a:pt x="1136710" y="196399"/>
                  </a:cubicBezTo>
                  <a:close/>
                  <a:moveTo>
                    <a:pt x="1223255" y="109854"/>
                  </a:moveTo>
                  <a:cubicBezTo>
                    <a:pt x="1220288" y="109854"/>
                    <a:pt x="1217319" y="108737"/>
                    <a:pt x="1215050" y="106467"/>
                  </a:cubicBezTo>
                  <a:cubicBezTo>
                    <a:pt x="1210510" y="101927"/>
                    <a:pt x="1210440" y="94612"/>
                    <a:pt x="1214980" y="90072"/>
                  </a:cubicBezTo>
                  <a:lnTo>
                    <a:pt x="1215102" y="89950"/>
                  </a:lnTo>
                  <a:cubicBezTo>
                    <a:pt x="1219641" y="85411"/>
                    <a:pt x="1227010" y="85411"/>
                    <a:pt x="1231566" y="89950"/>
                  </a:cubicBezTo>
                  <a:cubicBezTo>
                    <a:pt x="1236106" y="94490"/>
                    <a:pt x="1236106" y="101857"/>
                    <a:pt x="1231566" y="106414"/>
                  </a:cubicBezTo>
                  <a:cubicBezTo>
                    <a:pt x="1229279" y="108702"/>
                    <a:pt x="1226259" y="109854"/>
                    <a:pt x="1223238" y="109854"/>
                  </a:cubicBezTo>
                  <a:close/>
                  <a:moveTo>
                    <a:pt x="1309801" y="23308"/>
                  </a:moveTo>
                  <a:cubicBezTo>
                    <a:pt x="1306833" y="23308"/>
                    <a:pt x="1303864" y="22191"/>
                    <a:pt x="1301595" y="19921"/>
                  </a:cubicBezTo>
                  <a:cubicBezTo>
                    <a:pt x="1297056" y="15382"/>
                    <a:pt x="1296986" y="8066"/>
                    <a:pt x="1301525" y="3527"/>
                  </a:cubicBezTo>
                  <a:lnTo>
                    <a:pt x="1301648" y="3405"/>
                  </a:lnTo>
                  <a:cubicBezTo>
                    <a:pt x="1306187" y="-1135"/>
                    <a:pt x="1313555" y="-1135"/>
                    <a:pt x="1318112" y="3405"/>
                  </a:cubicBezTo>
                  <a:cubicBezTo>
                    <a:pt x="1322651" y="7944"/>
                    <a:pt x="1322651" y="15312"/>
                    <a:pt x="1318112" y="19869"/>
                  </a:cubicBezTo>
                  <a:cubicBezTo>
                    <a:pt x="1315824" y="22156"/>
                    <a:pt x="1312804" y="23308"/>
                    <a:pt x="1309783" y="23308"/>
                  </a:cubicBezTo>
                  <a:close/>
                </a:path>
              </a:pathLst>
            </a:custGeom>
            <a:grpFill/>
            <a:ln w="0"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C6C30C5A-C578-F674-4A56-7EB73A275215}"/>
                </a:ext>
              </a:extLst>
            </p:cNvPr>
            <p:cNvSpPr/>
            <p:nvPr/>
          </p:nvSpPr>
          <p:spPr>
            <a:xfrm>
              <a:off x="7679055" y="3988191"/>
              <a:ext cx="1236114" cy="1236092"/>
            </a:xfrm>
            <a:custGeom>
              <a:avLst/>
              <a:gdLst>
                <a:gd name="connsiteX0" fmla="*/ 12215 w 1236114"/>
                <a:gd name="connsiteY0" fmla="*/ 1236075 h 1236092"/>
                <a:gd name="connsiteX1" fmla="*/ 3608 w 1236114"/>
                <a:gd name="connsiteY1" fmla="*/ 1232531 h 1236092"/>
                <a:gd name="connsiteX2" fmla="*/ 3555 w 1236114"/>
                <a:gd name="connsiteY2" fmla="*/ 1215316 h 1236092"/>
                <a:gd name="connsiteX3" fmla="*/ 3678 w 1236114"/>
                <a:gd name="connsiteY3" fmla="*/ 1215194 h 1236092"/>
                <a:gd name="connsiteX4" fmla="*/ 20962 w 1236114"/>
                <a:gd name="connsiteY4" fmla="*/ 1215194 h 1236092"/>
                <a:gd name="connsiteX5" fmla="*/ 20962 w 1236114"/>
                <a:gd name="connsiteY5" fmla="*/ 1232478 h 1236092"/>
                <a:gd name="connsiteX6" fmla="*/ 12232 w 1236114"/>
                <a:gd name="connsiteY6" fmla="*/ 1236092 h 1236092"/>
                <a:gd name="connsiteX7" fmla="*/ 98761 w 1236114"/>
                <a:gd name="connsiteY7" fmla="*/ 1149529 h 1236092"/>
                <a:gd name="connsiteX8" fmla="*/ 90153 w 1236114"/>
                <a:gd name="connsiteY8" fmla="*/ 1145985 h 1236092"/>
                <a:gd name="connsiteX9" fmla="*/ 90083 w 1236114"/>
                <a:gd name="connsiteY9" fmla="*/ 1128770 h 1236092"/>
                <a:gd name="connsiteX10" fmla="*/ 90205 w 1236114"/>
                <a:gd name="connsiteY10" fmla="*/ 1128648 h 1236092"/>
                <a:gd name="connsiteX11" fmla="*/ 107490 w 1236114"/>
                <a:gd name="connsiteY11" fmla="*/ 1128648 h 1236092"/>
                <a:gd name="connsiteX12" fmla="*/ 107490 w 1236114"/>
                <a:gd name="connsiteY12" fmla="*/ 1145932 h 1236092"/>
                <a:gd name="connsiteX13" fmla="*/ 98761 w 1236114"/>
                <a:gd name="connsiteY13" fmla="*/ 1149547 h 1236092"/>
                <a:gd name="connsiteX14" fmla="*/ 185271 w 1236114"/>
                <a:gd name="connsiteY14" fmla="*/ 1063088 h 1236092"/>
                <a:gd name="connsiteX15" fmla="*/ 176577 w 1236114"/>
                <a:gd name="connsiteY15" fmla="*/ 1059440 h 1236092"/>
                <a:gd name="connsiteX16" fmla="*/ 176699 w 1236114"/>
                <a:gd name="connsiteY16" fmla="*/ 1042155 h 1236092"/>
                <a:gd name="connsiteX17" fmla="*/ 176821 w 1236114"/>
                <a:gd name="connsiteY17" fmla="*/ 1042033 h 1236092"/>
                <a:gd name="connsiteX18" fmla="*/ 194106 w 1236114"/>
                <a:gd name="connsiteY18" fmla="*/ 1042155 h 1236092"/>
                <a:gd name="connsiteX19" fmla="*/ 193984 w 1236114"/>
                <a:gd name="connsiteY19" fmla="*/ 1059440 h 1236092"/>
                <a:gd name="connsiteX20" fmla="*/ 193861 w 1236114"/>
                <a:gd name="connsiteY20" fmla="*/ 1059562 h 1236092"/>
                <a:gd name="connsiteX21" fmla="*/ 185271 w 1236114"/>
                <a:gd name="connsiteY21" fmla="*/ 1063088 h 1236092"/>
                <a:gd name="connsiteX22" fmla="*/ 271817 w 1236114"/>
                <a:gd name="connsiteY22" fmla="*/ 976543 h 1236092"/>
                <a:gd name="connsiteX23" fmla="*/ 263122 w 1236114"/>
                <a:gd name="connsiteY23" fmla="*/ 972911 h 1236092"/>
                <a:gd name="connsiteX24" fmla="*/ 263244 w 1236114"/>
                <a:gd name="connsiteY24" fmla="*/ 955626 h 1236092"/>
                <a:gd name="connsiteX25" fmla="*/ 263367 w 1236114"/>
                <a:gd name="connsiteY25" fmla="*/ 955505 h 1236092"/>
                <a:gd name="connsiteX26" fmla="*/ 280651 w 1236114"/>
                <a:gd name="connsiteY26" fmla="*/ 955626 h 1236092"/>
                <a:gd name="connsiteX27" fmla="*/ 280529 w 1236114"/>
                <a:gd name="connsiteY27" fmla="*/ 972911 h 1236092"/>
                <a:gd name="connsiteX28" fmla="*/ 280407 w 1236114"/>
                <a:gd name="connsiteY28" fmla="*/ 973034 h 1236092"/>
                <a:gd name="connsiteX29" fmla="*/ 271817 w 1236114"/>
                <a:gd name="connsiteY29" fmla="*/ 976561 h 1236092"/>
                <a:gd name="connsiteX30" fmla="*/ 358362 w 1236114"/>
                <a:gd name="connsiteY30" fmla="*/ 889997 h 1236092"/>
                <a:gd name="connsiteX31" fmla="*/ 349773 w 1236114"/>
                <a:gd name="connsiteY31" fmla="*/ 886471 h 1236092"/>
                <a:gd name="connsiteX32" fmla="*/ 349650 w 1236114"/>
                <a:gd name="connsiteY32" fmla="*/ 869186 h 1236092"/>
                <a:gd name="connsiteX33" fmla="*/ 349773 w 1236114"/>
                <a:gd name="connsiteY33" fmla="*/ 869064 h 1236092"/>
                <a:gd name="connsiteX34" fmla="*/ 367057 w 1236114"/>
                <a:gd name="connsiteY34" fmla="*/ 868941 h 1236092"/>
                <a:gd name="connsiteX35" fmla="*/ 367179 w 1236114"/>
                <a:gd name="connsiteY35" fmla="*/ 886226 h 1236092"/>
                <a:gd name="connsiteX36" fmla="*/ 367057 w 1236114"/>
                <a:gd name="connsiteY36" fmla="*/ 886348 h 1236092"/>
                <a:gd name="connsiteX37" fmla="*/ 358362 w 1236114"/>
                <a:gd name="connsiteY37" fmla="*/ 889980 h 1236092"/>
                <a:gd name="connsiteX38" fmla="*/ 444891 w 1236114"/>
                <a:gd name="connsiteY38" fmla="*/ 803452 h 1236092"/>
                <a:gd name="connsiteX39" fmla="*/ 436301 w 1236114"/>
                <a:gd name="connsiteY39" fmla="*/ 799925 h 1236092"/>
                <a:gd name="connsiteX40" fmla="*/ 436179 w 1236114"/>
                <a:gd name="connsiteY40" fmla="*/ 782640 h 1236092"/>
                <a:gd name="connsiteX41" fmla="*/ 436301 w 1236114"/>
                <a:gd name="connsiteY41" fmla="*/ 782518 h 1236092"/>
                <a:gd name="connsiteX42" fmla="*/ 453585 w 1236114"/>
                <a:gd name="connsiteY42" fmla="*/ 782396 h 1236092"/>
                <a:gd name="connsiteX43" fmla="*/ 453708 w 1236114"/>
                <a:gd name="connsiteY43" fmla="*/ 799681 h 1236092"/>
                <a:gd name="connsiteX44" fmla="*/ 453585 w 1236114"/>
                <a:gd name="connsiteY44" fmla="*/ 799802 h 1236092"/>
                <a:gd name="connsiteX45" fmla="*/ 444891 w 1236114"/>
                <a:gd name="connsiteY45" fmla="*/ 803452 h 1236092"/>
                <a:gd name="connsiteX46" fmla="*/ 531471 w 1236114"/>
                <a:gd name="connsiteY46" fmla="*/ 716819 h 1236092"/>
                <a:gd name="connsiteX47" fmla="*/ 522864 w 1236114"/>
                <a:gd name="connsiteY47" fmla="*/ 713275 h 1236092"/>
                <a:gd name="connsiteX48" fmla="*/ 522794 w 1236114"/>
                <a:gd name="connsiteY48" fmla="*/ 696060 h 1236092"/>
                <a:gd name="connsiteX49" fmla="*/ 522916 w 1236114"/>
                <a:gd name="connsiteY49" fmla="*/ 695937 h 1236092"/>
                <a:gd name="connsiteX50" fmla="*/ 540201 w 1236114"/>
                <a:gd name="connsiteY50" fmla="*/ 695937 h 1236092"/>
                <a:gd name="connsiteX51" fmla="*/ 540201 w 1236114"/>
                <a:gd name="connsiteY51" fmla="*/ 713222 h 1236092"/>
                <a:gd name="connsiteX52" fmla="*/ 531471 w 1236114"/>
                <a:gd name="connsiteY52" fmla="*/ 716836 h 1236092"/>
                <a:gd name="connsiteX53" fmla="*/ 618017 w 1236114"/>
                <a:gd name="connsiteY53" fmla="*/ 630273 h 1236092"/>
                <a:gd name="connsiteX54" fmla="*/ 609409 w 1236114"/>
                <a:gd name="connsiteY54" fmla="*/ 626729 h 1236092"/>
                <a:gd name="connsiteX55" fmla="*/ 609339 w 1236114"/>
                <a:gd name="connsiteY55" fmla="*/ 609514 h 1236092"/>
                <a:gd name="connsiteX56" fmla="*/ 609462 w 1236114"/>
                <a:gd name="connsiteY56" fmla="*/ 609392 h 1236092"/>
                <a:gd name="connsiteX57" fmla="*/ 626746 w 1236114"/>
                <a:gd name="connsiteY57" fmla="*/ 609392 h 1236092"/>
                <a:gd name="connsiteX58" fmla="*/ 626746 w 1236114"/>
                <a:gd name="connsiteY58" fmla="*/ 626677 h 1236092"/>
                <a:gd name="connsiteX59" fmla="*/ 618017 w 1236114"/>
                <a:gd name="connsiteY59" fmla="*/ 630291 h 1236092"/>
                <a:gd name="connsiteX60" fmla="*/ 704528 w 1236114"/>
                <a:gd name="connsiteY60" fmla="*/ 543832 h 1236092"/>
                <a:gd name="connsiteX61" fmla="*/ 695885 w 1236114"/>
                <a:gd name="connsiteY61" fmla="*/ 540253 h 1236092"/>
                <a:gd name="connsiteX62" fmla="*/ 695885 w 1236114"/>
                <a:gd name="connsiteY62" fmla="*/ 522969 h 1236092"/>
                <a:gd name="connsiteX63" fmla="*/ 696007 w 1236114"/>
                <a:gd name="connsiteY63" fmla="*/ 522846 h 1236092"/>
                <a:gd name="connsiteX64" fmla="*/ 713292 w 1236114"/>
                <a:gd name="connsiteY64" fmla="*/ 522846 h 1236092"/>
                <a:gd name="connsiteX65" fmla="*/ 713292 w 1236114"/>
                <a:gd name="connsiteY65" fmla="*/ 540131 h 1236092"/>
                <a:gd name="connsiteX66" fmla="*/ 713170 w 1236114"/>
                <a:gd name="connsiteY66" fmla="*/ 540253 h 1236092"/>
                <a:gd name="connsiteX67" fmla="*/ 704528 w 1236114"/>
                <a:gd name="connsiteY67" fmla="*/ 543832 h 1236092"/>
                <a:gd name="connsiteX68" fmla="*/ 791073 w 1236114"/>
                <a:gd name="connsiteY68" fmla="*/ 457287 h 1236092"/>
                <a:gd name="connsiteX69" fmla="*/ 782430 w 1236114"/>
                <a:gd name="connsiteY69" fmla="*/ 453707 h 1236092"/>
                <a:gd name="connsiteX70" fmla="*/ 782430 w 1236114"/>
                <a:gd name="connsiteY70" fmla="*/ 436423 h 1236092"/>
                <a:gd name="connsiteX71" fmla="*/ 782553 w 1236114"/>
                <a:gd name="connsiteY71" fmla="*/ 436301 h 1236092"/>
                <a:gd name="connsiteX72" fmla="*/ 799838 w 1236114"/>
                <a:gd name="connsiteY72" fmla="*/ 436301 h 1236092"/>
                <a:gd name="connsiteX73" fmla="*/ 799838 w 1236114"/>
                <a:gd name="connsiteY73" fmla="*/ 453586 h 1236092"/>
                <a:gd name="connsiteX74" fmla="*/ 799715 w 1236114"/>
                <a:gd name="connsiteY74" fmla="*/ 453707 h 1236092"/>
                <a:gd name="connsiteX75" fmla="*/ 791073 w 1236114"/>
                <a:gd name="connsiteY75" fmla="*/ 457287 h 1236092"/>
                <a:gd name="connsiteX76" fmla="*/ 877601 w 1236114"/>
                <a:gd name="connsiteY76" fmla="*/ 370741 h 1236092"/>
                <a:gd name="connsiteX77" fmla="*/ 869029 w 1236114"/>
                <a:gd name="connsiteY77" fmla="*/ 367215 h 1236092"/>
                <a:gd name="connsiteX78" fmla="*/ 868907 w 1236114"/>
                <a:gd name="connsiteY78" fmla="*/ 349930 h 1236092"/>
                <a:gd name="connsiteX79" fmla="*/ 869029 w 1236114"/>
                <a:gd name="connsiteY79" fmla="*/ 349807 h 1236092"/>
                <a:gd name="connsiteX80" fmla="*/ 886313 w 1236114"/>
                <a:gd name="connsiteY80" fmla="*/ 349685 h 1236092"/>
                <a:gd name="connsiteX81" fmla="*/ 886436 w 1236114"/>
                <a:gd name="connsiteY81" fmla="*/ 366970 h 1236092"/>
                <a:gd name="connsiteX82" fmla="*/ 886313 w 1236114"/>
                <a:gd name="connsiteY82" fmla="*/ 367092 h 1236092"/>
                <a:gd name="connsiteX83" fmla="*/ 877618 w 1236114"/>
                <a:gd name="connsiteY83" fmla="*/ 370741 h 1236092"/>
                <a:gd name="connsiteX84" fmla="*/ 964182 w 1236114"/>
                <a:gd name="connsiteY84" fmla="*/ 284108 h 1236092"/>
                <a:gd name="connsiteX85" fmla="*/ 955574 w 1236114"/>
                <a:gd name="connsiteY85" fmla="*/ 280564 h 1236092"/>
                <a:gd name="connsiteX86" fmla="*/ 955522 w 1236114"/>
                <a:gd name="connsiteY86" fmla="*/ 263349 h 1236092"/>
                <a:gd name="connsiteX87" fmla="*/ 955644 w 1236114"/>
                <a:gd name="connsiteY87" fmla="*/ 263227 h 1236092"/>
                <a:gd name="connsiteX88" fmla="*/ 972929 w 1236114"/>
                <a:gd name="connsiteY88" fmla="*/ 263227 h 1236092"/>
                <a:gd name="connsiteX89" fmla="*/ 972929 w 1236114"/>
                <a:gd name="connsiteY89" fmla="*/ 280512 h 1236092"/>
                <a:gd name="connsiteX90" fmla="*/ 964199 w 1236114"/>
                <a:gd name="connsiteY90" fmla="*/ 284126 h 1236092"/>
                <a:gd name="connsiteX91" fmla="*/ 1050692 w 1236114"/>
                <a:gd name="connsiteY91" fmla="*/ 197667 h 1236092"/>
                <a:gd name="connsiteX92" fmla="*/ 1041997 w 1236114"/>
                <a:gd name="connsiteY92" fmla="*/ 194036 h 1236092"/>
                <a:gd name="connsiteX93" fmla="*/ 1042120 w 1236114"/>
                <a:gd name="connsiteY93" fmla="*/ 176751 h 1236092"/>
                <a:gd name="connsiteX94" fmla="*/ 1042242 w 1236114"/>
                <a:gd name="connsiteY94" fmla="*/ 176629 h 1236092"/>
                <a:gd name="connsiteX95" fmla="*/ 1059526 w 1236114"/>
                <a:gd name="connsiteY95" fmla="*/ 176751 h 1236092"/>
                <a:gd name="connsiteX96" fmla="*/ 1059404 w 1236114"/>
                <a:gd name="connsiteY96" fmla="*/ 194036 h 1236092"/>
                <a:gd name="connsiteX97" fmla="*/ 1059283 w 1236114"/>
                <a:gd name="connsiteY97" fmla="*/ 194158 h 1236092"/>
                <a:gd name="connsiteX98" fmla="*/ 1050692 w 1236114"/>
                <a:gd name="connsiteY98" fmla="*/ 197685 h 1236092"/>
                <a:gd name="connsiteX99" fmla="*/ 1137238 w 1236114"/>
                <a:gd name="connsiteY99" fmla="*/ 111122 h 1236092"/>
                <a:gd name="connsiteX100" fmla="*/ 1128543 w 1236114"/>
                <a:gd name="connsiteY100" fmla="*/ 107473 h 1236092"/>
                <a:gd name="connsiteX101" fmla="*/ 1128665 w 1236114"/>
                <a:gd name="connsiteY101" fmla="*/ 90188 h 1236092"/>
                <a:gd name="connsiteX102" fmla="*/ 1128788 w 1236114"/>
                <a:gd name="connsiteY102" fmla="*/ 90066 h 1236092"/>
                <a:gd name="connsiteX103" fmla="*/ 1146073 w 1236114"/>
                <a:gd name="connsiteY103" fmla="*/ 90188 h 1236092"/>
                <a:gd name="connsiteX104" fmla="*/ 1145950 w 1236114"/>
                <a:gd name="connsiteY104" fmla="*/ 107473 h 1236092"/>
                <a:gd name="connsiteX105" fmla="*/ 1145828 w 1236114"/>
                <a:gd name="connsiteY105" fmla="*/ 107595 h 1236092"/>
                <a:gd name="connsiteX106" fmla="*/ 1137238 w 1236114"/>
                <a:gd name="connsiteY106" fmla="*/ 111122 h 1236092"/>
                <a:gd name="connsiteX107" fmla="*/ 1223783 w 1236114"/>
                <a:gd name="connsiteY107" fmla="*/ 24576 h 1236092"/>
                <a:gd name="connsiteX108" fmla="*/ 1215193 w 1236114"/>
                <a:gd name="connsiteY108" fmla="*/ 21050 h 1236092"/>
                <a:gd name="connsiteX109" fmla="*/ 1215072 w 1236114"/>
                <a:gd name="connsiteY109" fmla="*/ 3765 h 1236092"/>
                <a:gd name="connsiteX110" fmla="*/ 1215193 w 1236114"/>
                <a:gd name="connsiteY110" fmla="*/ 3643 h 1236092"/>
                <a:gd name="connsiteX111" fmla="*/ 1232478 w 1236114"/>
                <a:gd name="connsiteY111" fmla="*/ 3521 h 1236092"/>
                <a:gd name="connsiteX112" fmla="*/ 1232601 w 1236114"/>
                <a:gd name="connsiteY112" fmla="*/ 20805 h 1236092"/>
                <a:gd name="connsiteX113" fmla="*/ 1232478 w 1236114"/>
                <a:gd name="connsiteY113" fmla="*/ 20927 h 1236092"/>
                <a:gd name="connsiteX114" fmla="*/ 1223783 w 1236114"/>
                <a:gd name="connsiteY114" fmla="*/ 24559 h 123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236114" h="1236092">
                  <a:moveTo>
                    <a:pt x="12215" y="1236075"/>
                  </a:moveTo>
                  <a:cubicBezTo>
                    <a:pt x="9090" y="1236075"/>
                    <a:pt x="5982" y="1234905"/>
                    <a:pt x="3608" y="1232531"/>
                  </a:cubicBezTo>
                  <a:cubicBezTo>
                    <a:pt x="-1159" y="1227764"/>
                    <a:pt x="-1229" y="1220082"/>
                    <a:pt x="3555" y="1215316"/>
                  </a:cubicBezTo>
                  <a:lnTo>
                    <a:pt x="3678" y="1215194"/>
                  </a:lnTo>
                  <a:cubicBezTo>
                    <a:pt x="8444" y="1210427"/>
                    <a:pt x="16196" y="1210427"/>
                    <a:pt x="20962" y="1215194"/>
                  </a:cubicBezTo>
                  <a:cubicBezTo>
                    <a:pt x="25728" y="1219960"/>
                    <a:pt x="25728" y="1227712"/>
                    <a:pt x="20962" y="1232478"/>
                  </a:cubicBezTo>
                  <a:cubicBezTo>
                    <a:pt x="18553" y="1234888"/>
                    <a:pt x="15393" y="1236092"/>
                    <a:pt x="12232" y="1236092"/>
                  </a:cubicBezTo>
                  <a:close/>
                  <a:moveTo>
                    <a:pt x="98761" y="1149529"/>
                  </a:moveTo>
                  <a:cubicBezTo>
                    <a:pt x="95635" y="1149529"/>
                    <a:pt x="92528" y="1148360"/>
                    <a:pt x="90153" y="1145985"/>
                  </a:cubicBezTo>
                  <a:cubicBezTo>
                    <a:pt x="85387" y="1141219"/>
                    <a:pt x="85317" y="1133537"/>
                    <a:pt x="90083" y="1128770"/>
                  </a:cubicBezTo>
                  <a:lnTo>
                    <a:pt x="90205" y="1128648"/>
                  </a:lnTo>
                  <a:cubicBezTo>
                    <a:pt x="94972" y="1123882"/>
                    <a:pt x="102724" y="1123882"/>
                    <a:pt x="107490" y="1128648"/>
                  </a:cubicBezTo>
                  <a:cubicBezTo>
                    <a:pt x="112257" y="1133414"/>
                    <a:pt x="112257" y="1141166"/>
                    <a:pt x="107490" y="1145932"/>
                  </a:cubicBezTo>
                  <a:cubicBezTo>
                    <a:pt x="105081" y="1148342"/>
                    <a:pt x="101921" y="1149547"/>
                    <a:pt x="98761" y="1149547"/>
                  </a:cubicBezTo>
                  <a:close/>
                  <a:moveTo>
                    <a:pt x="185271" y="1063088"/>
                  </a:moveTo>
                  <a:cubicBezTo>
                    <a:pt x="182111" y="1063088"/>
                    <a:pt x="178968" y="1061866"/>
                    <a:pt x="176577" y="1059440"/>
                  </a:cubicBezTo>
                  <a:cubicBezTo>
                    <a:pt x="171845" y="1054638"/>
                    <a:pt x="171897" y="1046904"/>
                    <a:pt x="176699" y="1042155"/>
                  </a:cubicBezTo>
                  <a:lnTo>
                    <a:pt x="176821" y="1042033"/>
                  </a:lnTo>
                  <a:cubicBezTo>
                    <a:pt x="181622" y="1037283"/>
                    <a:pt x="189374" y="1037336"/>
                    <a:pt x="194106" y="1042155"/>
                  </a:cubicBezTo>
                  <a:cubicBezTo>
                    <a:pt x="198837" y="1046956"/>
                    <a:pt x="198785" y="1054691"/>
                    <a:pt x="193984" y="1059440"/>
                  </a:cubicBezTo>
                  <a:lnTo>
                    <a:pt x="193861" y="1059562"/>
                  </a:lnTo>
                  <a:cubicBezTo>
                    <a:pt x="191487" y="1061919"/>
                    <a:pt x="188379" y="1063088"/>
                    <a:pt x="185271" y="1063088"/>
                  </a:cubicBezTo>
                  <a:close/>
                  <a:moveTo>
                    <a:pt x="271817" y="976543"/>
                  </a:moveTo>
                  <a:cubicBezTo>
                    <a:pt x="268657" y="976543"/>
                    <a:pt x="265514" y="975321"/>
                    <a:pt x="263122" y="972911"/>
                  </a:cubicBezTo>
                  <a:cubicBezTo>
                    <a:pt x="258391" y="968110"/>
                    <a:pt x="258443" y="960376"/>
                    <a:pt x="263244" y="955626"/>
                  </a:cubicBezTo>
                  <a:lnTo>
                    <a:pt x="263367" y="955505"/>
                  </a:lnTo>
                  <a:cubicBezTo>
                    <a:pt x="268168" y="950756"/>
                    <a:pt x="275902" y="950808"/>
                    <a:pt x="280651" y="955626"/>
                  </a:cubicBezTo>
                  <a:cubicBezTo>
                    <a:pt x="285383" y="960428"/>
                    <a:pt x="285330" y="968163"/>
                    <a:pt x="280529" y="972911"/>
                  </a:cubicBezTo>
                  <a:lnTo>
                    <a:pt x="280407" y="973034"/>
                  </a:lnTo>
                  <a:cubicBezTo>
                    <a:pt x="278032" y="975390"/>
                    <a:pt x="274925" y="976561"/>
                    <a:pt x="271817" y="976561"/>
                  </a:cubicBezTo>
                  <a:close/>
                  <a:moveTo>
                    <a:pt x="358362" y="889997"/>
                  </a:moveTo>
                  <a:cubicBezTo>
                    <a:pt x="355255" y="889997"/>
                    <a:pt x="352164" y="888828"/>
                    <a:pt x="349773" y="886471"/>
                  </a:cubicBezTo>
                  <a:cubicBezTo>
                    <a:pt x="344971" y="881739"/>
                    <a:pt x="344919" y="873987"/>
                    <a:pt x="349650" y="869186"/>
                  </a:cubicBezTo>
                  <a:lnTo>
                    <a:pt x="349773" y="869064"/>
                  </a:lnTo>
                  <a:cubicBezTo>
                    <a:pt x="354504" y="864262"/>
                    <a:pt x="362256" y="864192"/>
                    <a:pt x="367057" y="868941"/>
                  </a:cubicBezTo>
                  <a:cubicBezTo>
                    <a:pt x="371858" y="873673"/>
                    <a:pt x="371911" y="881425"/>
                    <a:pt x="367179" y="886226"/>
                  </a:cubicBezTo>
                  <a:lnTo>
                    <a:pt x="367057" y="886348"/>
                  </a:lnTo>
                  <a:cubicBezTo>
                    <a:pt x="364665" y="888775"/>
                    <a:pt x="361505" y="889980"/>
                    <a:pt x="358362" y="889980"/>
                  </a:cubicBezTo>
                  <a:close/>
                  <a:moveTo>
                    <a:pt x="444891" y="803452"/>
                  </a:moveTo>
                  <a:cubicBezTo>
                    <a:pt x="441783" y="803452"/>
                    <a:pt x="438693" y="802282"/>
                    <a:pt x="436301" y="799925"/>
                  </a:cubicBezTo>
                  <a:cubicBezTo>
                    <a:pt x="431500" y="795193"/>
                    <a:pt x="431447" y="787442"/>
                    <a:pt x="436179" y="782640"/>
                  </a:cubicBezTo>
                  <a:lnTo>
                    <a:pt x="436301" y="782518"/>
                  </a:lnTo>
                  <a:cubicBezTo>
                    <a:pt x="441032" y="777717"/>
                    <a:pt x="448784" y="777664"/>
                    <a:pt x="453585" y="782396"/>
                  </a:cubicBezTo>
                  <a:cubicBezTo>
                    <a:pt x="458387" y="787127"/>
                    <a:pt x="458439" y="794879"/>
                    <a:pt x="453708" y="799681"/>
                  </a:cubicBezTo>
                  <a:lnTo>
                    <a:pt x="453585" y="799802"/>
                  </a:lnTo>
                  <a:cubicBezTo>
                    <a:pt x="451193" y="802230"/>
                    <a:pt x="448033" y="803452"/>
                    <a:pt x="444891" y="803452"/>
                  </a:cubicBezTo>
                  <a:close/>
                  <a:moveTo>
                    <a:pt x="531471" y="716819"/>
                  </a:moveTo>
                  <a:cubicBezTo>
                    <a:pt x="528346" y="716819"/>
                    <a:pt x="525221" y="715649"/>
                    <a:pt x="522864" y="713275"/>
                  </a:cubicBezTo>
                  <a:cubicBezTo>
                    <a:pt x="518097" y="708508"/>
                    <a:pt x="518027" y="700826"/>
                    <a:pt x="522794" y="696060"/>
                  </a:cubicBezTo>
                  <a:lnTo>
                    <a:pt x="522916" y="695937"/>
                  </a:lnTo>
                  <a:cubicBezTo>
                    <a:pt x="527682" y="691171"/>
                    <a:pt x="535434" y="691171"/>
                    <a:pt x="540201" y="695937"/>
                  </a:cubicBezTo>
                  <a:cubicBezTo>
                    <a:pt x="544967" y="700704"/>
                    <a:pt x="544967" y="708456"/>
                    <a:pt x="540201" y="713222"/>
                  </a:cubicBezTo>
                  <a:cubicBezTo>
                    <a:pt x="537791" y="715631"/>
                    <a:pt x="534631" y="716836"/>
                    <a:pt x="531471" y="716836"/>
                  </a:cubicBezTo>
                  <a:close/>
                  <a:moveTo>
                    <a:pt x="618017" y="630273"/>
                  </a:moveTo>
                  <a:cubicBezTo>
                    <a:pt x="614891" y="630273"/>
                    <a:pt x="611766" y="629104"/>
                    <a:pt x="609409" y="626729"/>
                  </a:cubicBezTo>
                  <a:cubicBezTo>
                    <a:pt x="604643" y="621963"/>
                    <a:pt x="604573" y="614281"/>
                    <a:pt x="609339" y="609514"/>
                  </a:cubicBezTo>
                  <a:lnTo>
                    <a:pt x="609462" y="609392"/>
                  </a:lnTo>
                  <a:cubicBezTo>
                    <a:pt x="614228" y="604626"/>
                    <a:pt x="621980" y="604626"/>
                    <a:pt x="626746" y="609392"/>
                  </a:cubicBezTo>
                  <a:cubicBezTo>
                    <a:pt x="631513" y="614158"/>
                    <a:pt x="631513" y="621910"/>
                    <a:pt x="626746" y="626677"/>
                  </a:cubicBezTo>
                  <a:cubicBezTo>
                    <a:pt x="624337" y="629086"/>
                    <a:pt x="621177" y="630291"/>
                    <a:pt x="618017" y="630291"/>
                  </a:cubicBezTo>
                  <a:close/>
                  <a:moveTo>
                    <a:pt x="704528" y="543832"/>
                  </a:moveTo>
                  <a:cubicBezTo>
                    <a:pt x="701403" y="543832"/>
                    <a:pt x="698277" y="542645"/>
                    <a:pt x="695885" y="540253"/>
                  </a:cubicBezTo>
                  <a:cubicBezTo>
                    <a:pt x="691119" y="535487"/>
                    <a:pt x="691119" y="527735"/>
                    <a:pt x="695885" y="522969"/>
                  </a:cubicBezTo>
                  <a:lnTo>
                    <a:pt x="696007" y="522846"/>
                  </a:lnTo>
                  <a:cubicBezTo>
                    <a:pt x="700791" y="518080"/>
                    <a:pt x="708525" y="518080"/>
                    <a:pt x="713292" y="522846"/>
                  </a:cubicBezTo>
                  <a:cubicBezTo>
                    <a:pt x="718059" y="527613"/>
                    <a:pt x="718059" y="535365"/>
                    <a:pt x="713292" y="540131"/>
                  </a:cubicBezTo>
                  <a:lnTo>
                    <a:pt x="713170" y="540253"/>
                  </a:lnTo>
                  <a:cubicBezTo>
                    <a:pt x="710778" y="542645"/>
                    <a:pt x="707652" y="543832"/>
                    <a:pt x="704528" y="543832"/>
                  </a:cubicBezTo>
                  <a:close/>
                  <a:moveTo>
                    <a:pt x="791073" y="457287"/>
                  </a:moveTo>
                  <a:cubicBezTo>
                    <a:pt x="787948" y="457287"/>
                    <a:pt x="784823" y="456100"/>
                    <a:pt x="782430" y="453707"/>
                  </a:cubicBezTo>
                  <a:cubicBezTo>
                    <a:pt x="777664" y="448941"/>
                    <a:pt x="777664" y="441189"/>
                    <a:pt x="782430" y="436423"/>
                  </a:cubicBezTo>
                  <a:lnTo>
                    <a:pt x="782553" y="436301"/>
                  </a:lnTo>
                  <a:cubicBezTo>
                    <a:pt x="787320" y="431534"/>
                    <a:pt x="795071" y="431534"/>
                    <a:pt x="799838" y="436301"/>
                  </a:cubicBezTo>
                  <a:cubicBezTo>
                    <a:pt x="804604" y="441067"/>
                    <a:pt x="804604" y="448819"/>
                    <a:pt x="799838" y="453586"/>
                  </a:cubicBezTo>
                  <a:lnTo>
                    <a:pt x="799715" y="453707"/>
                  </a:lnTo>
                  <a:cubicBezTo>
                    <a:pt x="797324" y="456100"/>
                    <a:pt x="794198" y="457287"/>
                    <a:pt x="791073" y="457287"/>
                  </a:cubicBezTo>
                  <a:close/>
                  <a:moveTo>
                    <a:pt x="877601" y="370741"/>
                  </a:moveTo>
                  <a:cubicBezTo>
                    <a:pt x="874511" y="370741"/>
                    <a:pt x="871403" y="369571"/>
                    <a:pt x="869029" y="367215"/>
                  </a:cubicBezTo>
                  <a:cubicBezTo>
                    <a:pt x="864227" y="362483"/>
                    <a:pt x="864175" y="354731"/>
                    <a:pt x="868907" y="349930"/>
                  </a:cubicBezTo>
                  <a:lnTo>
                    <a:pt x="869029" y="349807"/>
                  </a:lnTo>
                  <a:cubicBezTo>
                    <a:pt x="873760" y="345006"/>
                    <a:pt x="881512" y="344954"/>
                    <a:pt x="886313" y="349685"/>
                  </a:cubicBezTo>
                  <a:cubicBezTo>
                    <a:pt x="891114" y="354417"/>
                    <a:pt x="891167" y="362169"/>
                    <a:pt x="886436" y="366970"/>
                  </a:cubicBezTo>
                  <a:lnTo>
                    <a:pt x="886313" y="367092"/>
                  </a:lnTo>
                  <a:cubicBezTo>
                    <a:pt x="883922" y="369519"/>
                    <a:pt x="880762" y="370741"/>
                    <a:pt x="877618" y="370741"/>
                  </a:cubicBezTo>
                  <a:close/>
                  <a:moveTo>
                    <a:pt x="964182" y="284108"/>
                  </a:moveTo>
                  <a:cubicBezTo>
                    <a:pt x="961056" y="284108"/>
                    <a:pt x="957949" y="282939"/>
                    <a:pt x="955574" y="280564"/>
                  </a:cubicBezTo>
                  <a:cubicBezTo>
                    <a:pt x="950807" y="275798"/>
                    <a:pt x="950738" y="268116"/>
                    <a:pt x="955522" y="263349"/>
                  </a:cubicBezTo>
                  <a:lnTo>
                    <a:pt x="955644" y="263227"/>
                  </a:lnTo>
                  <a:cubicBezTo>
                    <a:pt x="960410" y="258461"/>
                    <a:pt x="968163" y="258461"/>
                    <a:pt x="972929" y="263227"/>
                  </a:cubicBezTo>
                  <a:cubicBezTo>
                    <a:pt x="977695" y="267993"/>
                    <a:pt x="977695" y="275745"/>
                    <a:pt x="972929" y="280512"/>
                  </a:cubicBezTo>
                  <a:cubicBezTo>
                    <a:pt x="970519" y="282921"/>
                    <a:pt x="967359" y="284126"/>
                    <a:pt x="964199" y="284126"/>
                  </a:cubicBezTo>
                  <a:close/>
                  <a:moveTo>
                    <a:pt x="1050692" y="197667"/>
                  </a:moveTo>
                  <a:cubicBezTo>
                    <a:pt x="1047532" y="197667"/>
                    <a:pt x="1044389" y="196445"/>
                    <a:pt x="1041997" y="194036"/>
                  </a:cubicBezTo>
                  <a:cubicBezTo>
                    <a:pt x="1037266" y="189235"/>
                    <a:pt x="1037319" y="181500"/>
                    <a:pt x="1042120" y="176751"/>
                  </a:cubicBezTo>
                  <a:lnTo>
                    <a:pt x="1042242" y="176629"/>
                  </a:lnTo>
                  <a:cubicBezTo>
                    <a:pt x="1047043" y="171880"/>
                    <a:pt x="1054778" y="171933"/>
                    <a:pt x="1059526" y="176751"/>
                  </a:cubicBezTo>
                  <a:cubicBezTo>
                    <a:pt x="1064258" y="181553"/>
                    <a:pt x="1064206" y="189287"/>
                    <a:pt x="1059404" y="194036"/>
                  </a:cubicBezTo>
                  <a:lnTo>
                    <a:pt x="1059283" y="194158"/>
                  </a:lnTo>
                  <a:cubicBezTo>
                    <a:pt x="1056908" y="196515"/>
                    <a:pt x="1053800" y="197685"/>
                    <a:pt x="1050692" y="197685"/>
                  </a:cubicBezTo>
                  <a:close/>
                  <a:moveTo>
                    <a:pt x="1137238" y="111122"/>
                  </a:moveTo>
                  <a:cubicBezTo>
                    <a:pt x="1134078" y="111122"/>
                    <a:pt x="1130935" y="109900"/>
                    <a:pt x="1128543" y="107473"/>
                  </a:cubicBezTo>
                  <a:cubicBezTo>
                    <a:pt x="1123812" y="102672"/>
                    <a:pt x="1123864" y="94937"/>
                    <a:pt x="1128665" y="90188"/>
                  </a:cubicBezTo>
                  <a:lnTo>
                    <a:pt x="1128788" y="90066"/>
                  </a:lnTo>
                  <a:cubicBezTo>
                    <a:pt x="1133589" y="85317"/>
                    <a:pt x="1141341" y="85369"/>
                    <a:pt x="1146073" y="90188"/>
                  </a:cubicBezTo>
                  <a:cubicBezTo>
                    <a:pt x="1150804" y="94989"/>
                    <a:pt x="1150751" y="102724"/>
                    <a:pt x="1145950" y="107473"/>
                  </a:cubicBezTo>
                  <a:lnTo>
                    <a:pt x="1145828" y="107595"/>
                  </a:lnTo>
                  <a:cubicBezTo>
                    <a:pt x="1143454" y="109952"/>
                    <a:pt x="1140345" y="111122"/>
                    <a:pt x="1137238" y="111122"/>
                  </a:cubicBezTo>
                  <a:close/>
                  <a:moveTo>
                    <a:pt x="1223783" y="24576"/>
                  </a:moveTo>
                  <a:cubicBezTo>
                    <a:pt x="1220676" y="24576"/>
                    <a:pt x="1217586" y="23406"/>
                    <a:pt x="1215193" y="21050"/>
                  </a:cubicBezTo>
                  <a:cubicBezTo>
                    <a:pt x="1210392" y="16318"/>
                    <a:pt x="1210340" y="8566"/>
                    <a:pt x="1215072" y="3765"/>
                  </a:cubicBezTo>
                  <a:lnTo>
                    <a:pt x="1215193" y="3643"/>
                  </a:lnTo>
                  <a:cubicBezTo>
                    <a:pt x="1219925" y="-1158"/>
                    <a:pt x="1227677" y="-1228"/>
                    <a:pt x="1232478" y="3521"/>
                  </a:cubicBezTo>
                  <a:cubicBezTo>
                    <a:pt x="1237279" y="8252"/>
                    <a:pt x="1237332" y="16004"/>
                    <a:pt x="1232601" y="20805"/>
                  </a:cubicBezTo>
                  <a:lnTo>
                    <a:pt x="1232478" y="20927"/>
                  </a:lnTo>
                  <a:cubicBezTo>
                    <a:pt x="1230086" y="23354"/>
                    <a:pt x="1226926" y="24559"/>
                    <a:pt x="1223783" y="24559"/>
                  </a:cubicBezTo>
                  <a:close/>
                </a:path>
              </a:pathLst>
            </a:custGeom>
            <a:grpFill/>
            <a:ln w="0"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B97A1AD8-8E6E-8CF0-F427-1EF525B45B71}"/>
                </a:ext>
              </a:extLst>
            </p:cNvPr>
            <p:cNvSpPr/>
            <p:nvPr/>
          </p:nvSpPr>
          <p:spPr>
            <a:xfrm>
              <a:off x="7827548" y="4134371"/>
              <a:ext cx="1064203" cy="1064142"/>
            </a:xfrm>
            <a:custGeom>
              <a:avLst/>
              <a:gdLst>
                <a:gd name="connsiteX0" fmla="*/ 12807 w 1064203"/>
                <a:gd name="connsiteY0" fmla="*/ 1064143 h 1064142"/>
                <a:gd name="connsiteX1" fmla="*/ 3780 w 1064203"/>
                <a:gd name="connsiteY1" fmla="*/ 1060424 h 1064142"/>
                <a:gd name="connsiteX2" fmla="*/ 3710 w 1064203"/>
                <a:gd name="connsiteY2" fmla="*/ 1042371 h 1064142"/>
                <a:gd name="connsiteX3" fmla="*/ 3832 w 1064203"/>
                <a:gd name="connsiteY3" fmla="*/ 1042249 h 1064142"/>
                <a:gd name="connsiteX4" fmla="*/ 21938 w 1064203"/>
                <a:gd name="connsiteY4" fmla="*/ 1042249 h 1064142"/>
                <a:gd name="connsiteX5" fmla="*/ 21938 w 1064203"/>
                <a:gd name="connsiteY5" fmla="*/ 1060354 h 1064142"/>
                <a:gd name="connsiteX6" fmla="*/ 12789 w 1064203"/>
                <a:gd name="connsiteY6" fmla="*/ 1064143 h 1064142"/>
                <a:gd name="connsiteX7" fmla="*/ 99317 w 1064203"/>
                <a:gd name="connsiteY7" fmla="*/ 977684 h 1064142"/>
                <a:gd name="connsiteX8" fmla="*/ 90203 w 1064203"/>
                <a:gd name="connsiteY8" fmla="*/ 973878 h 1064142"/>
                <a:gd name="connsiteX9" fmla="*/ 90326 w 1064203"/>
                <a:gd name="connsiteY9" fmla="*/ 955773 h 1064142"/>
                <a:gd name="connsiteX10" fmla="*/ 90448 w 1064203"/>
                <a:gd name="connsiteY10" fmla="*/ 955651 h 1064142"/>
                <a:gd name="connsiteX11" fmla="*/ 108553 w 1064203"/>
                <a:gd name="connsiteY11" fmla="*/ 955773 h 1064142"/>
                <a:gd name="connsiteX12" fmla="*/ 108431 w 1064203"/>
                <a:gd name="connsiteY12" fmla="*/ 973878 h 1064142"/>
                <a:gd name="connsiteX13" fmla="*/ 108309 w 1064203"/>
                <a:gd name="connsiteY13" fmla="*/ 974000 h 1064142"/>
                <a:gd name="connsiteX14" fmla="*/ 99317 w 1064203"/>
                <a:gd name="connsiteY14" fmla="*/ 977684 h 1064142"/>
                <a:gd name="connsiteX15" fmla="*/ 185863 w 1064203"/>
                <a:gd name="connsiteY15" fmla="*/ 891156 h 1064142"/>
                <a:gd name="connsiteX16" fmla="*/ 176749 w 1064203"/>
                <a:gd name="connsiteY16" fmla="*/ 887350 h 1064142"/>
                <a:gd name="connsiteX17" fmla="*/ 176871 w 1064203"/>
                <a:gd name="connsiteY17" fmla="*/ 869245 h 1064142"/>
                <a:gd name="connsiteX18" fmla="*/ 176993 w 1064203"/>
                <a:gd name="connsiteY18" fmla="*/ 869123 h 1064142"/>
                <a:gd name="connsiteX19" fmla="*/ 195099 w 1064203"/>
                <a:gd name="connsiteY19" fmla="*/ 869245 h 1064142"/>
                <a:gd name="connsiteX20" fmla="*/ 194976 w 1064203"/>
                <a:gd name="connsiteY20" fmla="*/ 887350 h 1064142"/>
                <a:gd name="connsiteX21" fmla="*/ 194855 w 1064203"/>
                <a:gd name="connsiteY21" fmla="*/ 887472 h 1064142"/>
                <a:gd name="connsiteX22" fmla="*/ 185863 w 1064203"/>
                <a:gd name="connsiteY22" fmla="*/ 891156 h 1064142"/>
                <a:gd name="connsiteX23" fmla="*/ 272408 w 1064203"/>
                <a:gd name="connsiteY23" fmla="*/ 804611 h 1064142"/>
                <a:gd name="connsiteX24" fmla="*/ 263417 w 1064203"/>
                <a:gd name="connsiteY24" fmla="*/ 800927 h 1064142"/>
                <a:gd name="connsiteX25" fmla="*/ 263295 w 1064203"/>
                <a:gd name="connsiteY25" fmla="*/ 782821 h 1064142"/>
                <a:gd name="connsiteX26" fmla="*/ 263417 w 1064203"/>
                <a:gd name="connsiteY26" fmla="*/ 782699 h 1064142"/>
                <a:gd name="connsiteX27" fmla="*/ 281522 w 1064203"/>
                <a:gd name="connsiteY27" fmla="*/ 782577 h 1064142"/>
                <a:gd name="connsiteX28" fmla="*/ 281644 w 1064203"/>
                <a:gd name="connsiteY28" fmla="*/ 800682 h 1064142"/>
                <a:gd name="connsiteX29" fmla="*/ 281522 w 1064203"/>
                <a:gd name="connsiteY29" fmla="*/ 800804 h 1064142"/>
                <a:gd name="connsiteX30" fmla="*/ 272408 w 1064203"/>
                <a:gd name="connsiteY30" fmla="*/ 804611 h 1064142"/>
                <a:gd name="connsiteX31" fmla="*/ 358954 w 1064203"/>
                <a:gd name="connsiteY31" fmla="*/ 718065 h 1064142"/>
                <a:gd name="connsiteX32" fmla="*/ 349962 w 1064203"/>
                <a:gd name="connsiteY32" fmla="*/ 714381 h 1064142"/>
                <a:gd name="connsiteX33" fmla="*/ 349840 w 1064203"/>
                <a:gd name="connsiteY33" fmla="*/ 696276 h 1064142"/>
                <a:gd name="connsiteX34" fmla="*/ 349962 w 1064203"/>
                <a:gd name="connsiteY34" fmla="*/ 696154 h 1064142"/>
                <a:gd name="connsiteX35" fmla="*/ 368068 w 1064203"/>
                <a:gd name="connsiteY35" fmla="*/ 696031 h 1064142"/>
                <a:gd name="connsiteX36" fmla="*/ 368190 w 1064203"/>
                <a:gd name="connsiteY36" fmla="*/ 714137 h 1064142"/>
                <a:gd name="connsiteX37" fmla="*/ 368068 w 1064203"/>
                <a:gd name="connsiteY37" fmla="*/ 714259 h 1064142"/>
                <a:gd name="connsiteX38" fmla="*/ 358954 w 1064203"/>
                <a:gd name="connsiteY38" fmla="*/ 718065 h 1064142"/>
                <a:gd name="connsiteX39" fmla="*/ 445517 w 1064203"/>
                <a:gd name="connsiteY39" fmla="*/ 631432 h 1064142"/>
                <a:gd name="connsiteX40" fmla="*/ 436491 w 1064203"/>
                <a:gd name="connsiteY40" fmla="*/ 627713 h 1064142"/>
                <a:gd name="connsiteX41" fmla="*/ 436421 w 1064203"/>
                <a:gd name="connsiteY41" fmla="*/ 609660 h 1064142"/>
                <a:gd name="connsiteX42" fmla="*/ 436543 w 1064203"/>
                <a:gd name="connsiteY42" fmla="*/ 609538 h 1064142"/>
                <a:gd name="connsiteX43" fmla="*/ 454648 w 1064203"/>
                <a:gd name="connsiteY43" fmla="*/ 609538 h 1064142"/>
                <a:gd name="connsiteX44" fmla="*/ 454648 w 1064203"/>
                <a:gd name="connsiteY44" fmla="*/ 627643 h 1064142"/>
                <a:gd name="connsiteX45" fmla="*/ 445499 w 1064203"/>
                <a:gd name="connsiteY45" fmla="*/ 631414 h 1064142"/>
                <a:gd name="connsiteX46" fmla="*/ 532063 w 1064203"/>
                <a:gd name="connsiteY46" fmla="*/ 544887 h 1064142"/>
                <a:gd name="connsiteX47" fmla="*/ 523036 w 1064203"/>
                <a:gd name="connsiteY47" fmla="*/ 541168 h 1064142"/>
                <a:gd name="connsiteX48" fmla="*/ 522966 w 1064203"/>
                <a:gd name="connsiteY48" fmla="*/ 523115 h 1064142"/>
                <a:gd name="connsiteX49" fmla="*/ 523089 w 1064203"/>
                <a:gd name="connsiteY49" fmla="*/ 522993 h 1064142"/>
                <a:gd name="connsiteX50" fmla="*/ 541194 w 1064203"/>
                <a:gd name="connsiteY50" fmla="*/ 522993 h 1064142"/>
                <a:gd name="connsiteX51" fmla="*/ 541194 w 1064203"/>
                <a:gd name="connsiteY51" fmla="*/ 541098 h 1064142"/>
                <a:gd name="connsiteX52" fmla="*/ 532045 w 1064203"/>
                <a:gd name="connsiteY52" fmla="*/ 544887 h 1064142"/>
                <a:gd name="connsiteX53" fmla="*/ 618573 w 1064203"/>
                <a:gd name="connsiteY53" fmla="*/ 458446 h 1064142"/>
                <a:gd name="connsiteX54" fmla="*/ 609512 w 1064203"/>
                <a:gd name="connsiteY54" fmla="*/ 454692 h 1064142"/>
                <a:gd name="connsiteX55" fmla="*/ 609512 w 1064203"/>
                <a:gd name="connsiteY55" fmla="*/ 436587 h 1064142"/>
                <a:gd name="connsiteX56" fmla="*/ 609634 w 1064203"/>
                <a:gd name="connsiteY56" fmla="*/ 436464 h 1064142"/>
                <a:gd name="connsiteX57" fmla="*/ 627740 w 1064203"/>
                <a:gd name="connsiteY57" fmla="*/ 436464 h 1064142"/>
                <a:gd name="connsiteX58" fmla="*/ 627740 w 1064203"/>
                <a:gd name="connsiteY58" fmla="*/ 454570 h 1064142"/>
                <a:gd name="connsiteX59" fmla="*/ 627618 w 1064203"/>
                <a:gd name="connsiteY59" fmla="*/ 454692 h 1064142"/>
                <a:gd name="connsiteX60" fmla="*/ 618555 w 1064203"/>
                <a:gd name="connsiteY60" fmla="*/ 458446 h 1064142"/>
                <a:gd name="connsiteX61" fmla="*/ 705119 w 1064203"/>
                <a:gd name="connsiteY61" fmla="*/ 371900 h 1064142"/>
                <a:gd name="connsiteX62" fmla="*/ 696057 w 1064203"/>
                <a:gd name="connsiteY62" fmla="*/ 368147 h 1064142"/>
                <a:gd name="connsiteX63" fmla="*/ 696057 w 1064203"/>
                <a:gd name="connsiteY63" fmla="*/ 350041 h 1064142"/>
                <a:gd name="connsiteX64" fmla="*/ 696179 w 1064203"/>
                <a:gd name="connsiteY64" fmla="*/ 349919 h 1064142"/>
                <a:gd name="connsiteX65" fmla="*/ 714285 w 1064203"/>
                <a:gd name="connsiteY65" fmla="*/ 349919 h 1064142"/>
                <a:gd name="connsiteX66" fmla="*/ 714285 w 1064203"/>
                <a:gd name="connsiteY66" fmla="*/ 368024 h 1064142"/>
                <a:gd name="connsiteX67" fmla="*/ 714163 w 1064203"/>
                <a:gd name="connsiteY67" fmla="*/ 368147 h 1064142"/>
                <a:gd name="connsiteX68" fmla="*/ 705102 w 1064203"/>
                <a:gd name="connsiteY68" fmla="*/ 371900 h 1064142"/>
                <a:gd name="connsiteX69" fmla="*/ 791665 w 1064203"/>
                <a:gd name="connsiteY69" fmla="*/ 285354 h 1064142"/>
                <a:gd name="connsiteX70" fmla="*/ 782673 w 1064203"/>
                <a:gd name="connsiteY70" fmla="*/ 281671 h 1064142"/>
                <a:gd name="connsiteX71" fmla="*/ 782551 w 1064203"/>
                <a:gd name="connsiteY71" fmla="*/ 263565 h 1064142"/>
                <a:gd name="connsiteX72" fmla="*/ 782673 w 1064203"/>
                <a:gd name="connsiteY72" fmla="*/ 263443 h 1064142"/>
                <a:gd name="connsiteX73" fmla="*/ 800778 w 1064203"/>
                <a:gd name="connsiteY73" fmla="*/ 263321 h 1064142"/>
                <a:gd name="connsiteX74" fmla="*/ 800901 w 1064203"/>
                <a:gd name="connsiteY74" fmla="*/ 281426 h 1064142"/>
                <a:gd name="connsiteX75" fmla="*/ 800778 w 1064203"/>
                <a:gd name="connsiteY75" fmla="*/ 281548 h 1064142"/>
                <a:gd name="connsiteX76" fmla="*/ 791665 w 1064203"/>
                <a:gd name="connsiteY76" fmla="*/ 285354 h 1064142"/>
                <a:gd name="connsiteX77" fmla="*/ 878227 w 1064203"/>
                <a:gd name="connsiteY77" fmla="*/ 198722 h 1064142"/>
                <a:gd name="connsiteX78" fmla="*/ 869201 w 1064203"/>
                <a:gd name="connsiteY78" fmla="*/ 195003 h 1064142"/>
                <a:gd name="connsiteX79" fmla="*/ 869131 w 1064203"/>
                <a:gd name="connsiteY79" fmla="*/ 176950 h 1064142"/>
                <a:gd name="connsiteX80" fmla="*/ 869254 w 1064203"/>
                <a:gd name="connsiteY80" fmla="*/ 176828 h 1064142"/>
                <a:gd name="connsiteX81" fmla="*/ 887358 w 1064203"/>
                <a:gd name="connsiteY81" fmla="*/ 176828 h 1064142"/>
                <a:gd name="connsiteX82" fmla="*/ 887358 w 1064203"/>
                <a:gd name="connsiteY82" fmla="*/ 194933 h 1064142"/>
                <a:gd name="connsiteX83" fmla="*/ 878210 w 1064203"/>
                <a:gd name="connsiteY83" fmla="*/ 198704 h 1064142"/>
                <a:gd name="connsiteX84" fmla="*/ 964738 w 1064203"/>
                <a:gd name="connsiteY84" fmla="*/ 112263 h 1064142"/>
                <a:gd name="connsiteX85" fmla="*/ 955624 w 1064203"/>
                <a:gd name="connsiteY85" fmla="*/ 108457 h 1064142"/>
                <a:gd name="connsiteX86" fmla="*/ 955747 w 1064203"/>
                <a:gd name="connsiteY86" fmla="*/ 90352 h 1064142"/>
                <a:gd name="connsiteX87" fmla="*/ 955869 w 1064203"/>
                <a:gd name="connsiteY87" fmla="*/ 90230 h 1064142"/>
                <a:gd name="connsiteX88" fmla="*/ 973974 w 1064203"/>
                <a:gd name="connsiteY88" fmla="*/ 90352 h 1064142"/>
                <a:gd name="connsiteX89" fmla="*/ 973852 w 1064203"/>
                <a:gd name="connsiteY89" fmla="*/ 108457 h 1064142"/>
                <a:gd name="connsiteX90" fmla="*/ 973730 w 1064203"/>
                <a:gd name="connsiteY90" fmla="*/ 108579 h 1064142"/>
                <a:gd name="connsiteX91" fmla="*/ 964738 w 1064203"/>
                <a:gd name="connsiteY91" fmla="*/ 112263 h 1064142"/>
                <a:gd name="connsiteX92" fmla="*/ 1051284 w 1064203"/>
                <a:gd name="connsiteY92" fmla="*/ 25718 h 1064142"/>
                <a:gd name="connsiteX93" fmla="*/ 1042170 w 1064203"/>
                <a:gd name="connsiteY93" fmla="*/ 21912 h 1064142"/>
                <a:gd name="connsiteX94" fmla="*/ 1042292 w 1064203"/>
                <a:gd name="connsiteY94" fmla="*/ 3806 h 1064142"/>
                <a:gd name="connsiteX95" fmla="*/ 1042414 w 1064203"/>
                <a:gd name="connsiteY95" fmla="*/ 3684 h 1064142"/>
                <a:gd name="connsiteX96" fmla="*/ 1060520 w 1064203"/>
                <a:gd name="connsiteY96" fmla="*/ 3806 h 1064142"/>
                <a:gd name="connsiteX97" fmla="*/ 1060398 w 1064203"/>
                <a:gd name="connsiteY97" fmla="*/ 21912 h 1064142"/>
                <a:gd name="connsiteX98" fmla="*/ 1060275 w 1064203"/>
                <a:gd name="connsiteY98" fmla="*/ 22034 h 1064142"/>
                <a:gd name="connsiteX99" fmla="*/ 1051284 w 1064203"/>
                <a:gd name="connsiteY99" fmla="*/ 25718 h 1064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064203" h="1064142">
                  <a:moveTo>
                    <a:pt x="12807" y="1064143"/>
                  </a:moveTo>
                  <a:cubicBezTo>
                    <a:pt x="9542" y="1064143"/>
                    <a:pt x="6259" y="1062903"/>
                    <a:pt x="3780" y="1060424"/>
                  </a:cubicBezTo>
                  <a:cubicBezTo>
                    <a:pt x="-1213" y="1055430"/>
                    <a:pt x="-1283" y="1047382"/>
                    <a:pt x="3710" y="1042371"/>
                  </a:cubicBezTo>
                  <a:lnTo>
                    <a:pt x="3832" y="1042249"/>
                  </a:lnTo>
                  <a:cubicBezTo>
                    <a:pt x="8826" y="1037255"/>
                    <a:pt x="16944" y="1037255"/>
                    <a:pt x="21938" y="1042249"/>
                  </a:cubicBezTo>
                  <a:cubicBezTo>
                    <a:pt x="26931" y="1047242"/>
                    <a:pt x="26931" y="1055361"/>
                    <a:pt x="21938" y="1060354"/>
                  </a:cubicBezTo>
                  <a:cubicBezTo>
                    <a:pt x="19423" y="1062868"/>
                    <a:pt x="16106" y="1064143"/>
                    <a:pt x="12789" y="1064143"/>
                  </a:cubicBezTo>
                  <a:close/>
                  <a:moveTo>
                    <a:pt x="99317" y="977684"/>
                  </a:moveTo>
                  <a:cubicBezTo>
                    <a:pt x="96017" y="977684"/>
                    <a:pt x="92700" y="976410"/>
                    <a:pt x="90203" y="973878"/>
                  </a:cubicBezTo>
                  <a:cubicBezTo>
                    <a:pt x="85245" y="968850"/>
                    <a:pt x="85298" y="960731"/>
                    <a:pt x="90326" y="955773"/>
                  </a:cubicBezTo>
                  <a:lnTo>
                    <a:pt x="90448" y="955651"/>
                  </a:lnTo>
                  <a:cubicBezTo>
                    <a:pt x="95476" y="950692"/>
                    <a:pt x="103595" y="950745"/>
                    <a:pt x="108553" y="955773"/>
                  </a:cubicBezTo>
                  <a:cubicBezTo>
                    <a:pt x="113512" y="960801"/>
                    <a:pt x="113459" y="968920"/>
                    <a:pt x="108431" y="973878"/>
                  </a:cubicBezTo>
                  <a:lnTo>
                    <a:pt x="108309" y="974000"/>
                  </a:lnTo>
                  <a:cubicBezTo>
                    <a:pt x="105812" y="976462"/>
                    <a:pt x="102565" y="977684"/>
                    <a:pt x="99317" y="977684"/>
                  </a:cubicBezTo>
                  <a:close/>
                  <a:moveTo>
                    <a:pt x="185863" y="891156"/>
                  </a:moveTo>
                  <a:cubicBezTo>
                    <a:pt x="182563" y="891156"/>
                    <a:pt x="179246" y="889882"/>
                    <a:pt x="176749" y="887350"/>
                  </a:cubicBezTo>
                  <a:cubicBezTo>
                    <a:pt x="171790" y="882322"/>
                    <a:pt x="171843" y="874203"/>
                    <a:pt x="176871" y="869245"/>
                  </a:cubicBezTo>
                  <a:lnTo>
                    <a:pt x="176993" y="869123"/>
                  </a:lnTo>
                  <a:cubicBezTo>
                    <a:pt x="182022" y="864164"/>
                    <a:pt x="190140" y="864216"/>
                    <a:pt x="195099" y="869245"/>
                  </a:cubicBezTo>
                  <a:cubicBezTo>
                    <a:pt x="200057" y="874273"/>
                    <a:pt x="200005" y="882391"/>
                    <a:pt x="194976" y="887350"/>
                  </a:cubicBezTo>
                  <a:lnTo>
                    <a:pt x="194855" y="887472"/>
                  </a:lnTo>
                  <a:cubicBezTo>
                    <a:pt x="192358" y="889934"/>
                    <a:pt x="189110" y="891156"/>
                    <a:pt x="185863" y="891156"/>
                  </a:cubicBezTo>
                  <a:close/>
                  <a:moveTo>
                    <a:pt x="272408" y="804611"/>
                  </a:moveTo>
                  <a:cubicBezTo>
                    <a:pt x="269161" y="804611"/>
                    <a:pt x="265914" y="803388"/>
                    <a:pt x="263417" y="800927"/>
                  </a:cubicBezTo>
                  <a:cubicBezTo>
                    <a:pt x="258389" y="795968"/>
                    <a:pt x="258319" y="787850"/>
                    <a:pt x="263295" y="782821"/>
                  </a:cubicBezTo>
                  <a:lnTo>
                    <a:pt x="263417" y="782699"/>
                  </a:lnTo>
                  <a:cubicBezTo>
                    <a:pt x="268375" y="777671"/>
                    <a:pt x="276494" y="777601"/>
                    <a:pt x="281522" y="782577"/>
                  </a:cubicBezTo>
                  <a:cubicBezTo>
                    <a:pt x="286550" y="787536"/>
                    <a:pt x="286620" y="795654"/>
                    <a:pt x="281644" y="800682"/>
                  </a:cubicBezTo>
                  <a:lnTo>
                    <a:pt x="281522" y="800804"/>
                  </a:lnTo>
                  <a:cubicBezTo>
                    <a:pt x="279026" y="803353"/>
                    <a:pt x="275708" y="804611"/>
                    <a:pt x="272408" y="804611"/>
                  </a:cubicBezTo>
                  <a:close/>
                  <a:moveTo>
                    <a:pt x="358954" y="718065"/>
                  </a:moveTo>
                  <a:cubicBezTo>
                    <a:pt x="355707" y="718065"/>
                    <a:pt x="352459" y="716843"/>
                    <a:pt x="349962" y="714381"/>
                  </a:cubicBezTo>
                  <a:cubicBezTo>
                    <a:pt x="344934" y="709423"/>
                    <a:pt x="344864" y="701304"/>
                    <a:pt x="349840" y="696276"/>
                  </a:cubicBezTo>
                  <a:lnTo>
                    <a:pt x="349962" y="696154"/>
                  </a:lnTo>
                  <a:cubicBezTo>
                    <a:pt x="354921" y="691126"/>
                    <a:pt x="363039" y="691056"/>
                    <a:pt x="368068" y="696031"/>
                  </a:cubicBezTo>
                  <a:cubicBezTo>
                    <a:pt x="373096" y="700990"/>
                    <a:pt x="373166" y="709108"/>
                    <a:pt x="368190" y="714137"/>
                  </a:cubicBezTo>
                  <a:lnTo>
                    <a:pt x="368068" y="714259"/>
                  </a:lnTo>
                  <a:cubicBezTo>
                    <a:pt x="365571" y="716808"/>
                    <a:pt x="362254" y="718065"/>
                    <a:pt x="358954" y="718065"/>
                  </a:cubicBezTo>
                  <a:close/>
                  <a:moveTo>
                    <a:pt x="445517" y="631432"/>
                  </a:moveTo>
                  <a:cubicBezTo>
                    <a:pt x="442252" y="631432"/>
                    <a:pt x="438970" y="630192"/>
                    <a:pt x="436491" y="627713"/>
                  </a:cubicBezTo>
                  <a:cubicBezTo>
                    <a:pt x="431497" y="622720"/>
                    <a:pt x="431428" y="614671"/>
                    <a:pt x="436421" y="609660"/>
                  </a:cubicBezTo>
                  <a:lnTo>
                    <a:pt x="436543" y="609538"/>
                  </a:lnTo>
                  <a:cubicBezTo>
                    <a:pt x="441536" y="604545"/>
                    <a:pt x="449655" y="604545"/>
                    <a:pt x="454648" y="609538"/>
                  </a:cubicBezTo>
                  <a:cubicBezTo>
                    <a:pt x="459642" y="614532"/>
                    <a:pt x="459642" y="622650"/>
                    <a:pt x="454648" y="627643"/>
                  </a:cubicBezTo>
                  <a:cubicBezTo>
                    <a:pt x="452134" y="630157"/>
                    <a:pt x="448817" y="631414"/>
                    <a:pt x="445499" y="631414"/>
                  </a:cubicBezTo>
                  <a:close/>
                  <a:moveTo>
                    <a:pt x="532063" y="544887"/>
                  </a:moveTo>
                  <a:cubicBezTo>
                    <a:pt x="528798" y="544887"/>
                    <a:pt x="525515" y="543647"/>
                    <a:pt x="523036" y="541168"/>
                  </a:cubicBezTo>
                  <a:cubicBezTo>
                    <a:pt x="518043" y="536175"/>
                    <a:pt x="517973" y="528126"/>
                    <a:pt x="522966" y="523115"/>
                  </a:cubicBezTo>
                  <a:lnTo>
                    <a:pt x="523089" y="522993"/>
                  </a:lnTo>
                  <a:cubicBezTo>
                    <a:pt x="528082" y="517999"/>
                    <a:pt x="536200" y="517999"/>
                    <a:pt x="541194" y="522993"/>
                  </a:cubicBezTo>
                  <a:cubicBezTo>
                    <a:pt x="546187" y="527986"/>
                    <a:pt x="546187" y="536105"/>
                    <a:pt x="541194" y="541098"/>
                  </a:cubicBezTo>
                  <a:cubicBezTo>
                    <a:pt x="538680" y="543612"/>
                    <a:pt x="535362" y="544887"/>
                    <a:pt x="532045" y="544887"/>
                  </a:cubicBezTo>
                  <a:close/>
                  <a:moveTo>
                    <a:pt x="618573" y="458446"/>
                  </a:moveTo>
                  <a:cubicBezTo>
                    <a:pt x="615291" y="458446"/>
                    <a:pt x="612026" y="457189"/>
                    <a:pt x="609512" y="454692"/>
                  </a:cubicBezTo>
                  <a:cubicBezTo>
                    <a:pt x="604518" y="449699"/>
                    <a:pt x="604518" y="441580"/>
                    <a:pt x="609512" y="436587"/>
                  </a:cubicBezTo>
                  <a:lnTo>
                    <a:pt x="609634" y="436464"/>
                  </a:lnTo>
                  <a:cubicBezTo>
                    <a:pt x="614627" y="431471"/>
                    <a:pt x="622746" y="431471"/>
                    <a:pt x="627740" y="436464"/>
                  </a:cubicBezTo>
                  <a:cubicBezTo>
                    <a:pt x="632733" y="441458"/>
                    <a:pt x="632733" y="449576"/>
                    <a:pt x="627740" y="454570"/>
                  </a:cubicBezTo>
                  <a:lnTo>
                    <a:pt x="627618" y="454692"/>
                  </a:lnTo>
                  <a:cubicBezTo>
                    <a:pt x="625121" y="457189"/>
                    <a:pt x="621838" y="458446"/>
                    <a:pt x="618555" y="458446"/>
                  </a:cubicBezTo>
                  <a:close/>
                  <a:moveTo>
                    <a:pt x="705119" y="371900"/>
                  </a:moveTo>
                  <a:cubicBezTo>
                    <a:pt x="701837" y="371900"/>
                    <a:pt x="698571" y="370643"/>
                    <a:pt x="696057" y="368147"/>
                  </a:cubicBezTo>
                  <a:cubicBezTo>
                    <a:pt x="691064" y="363153"/>
                    <a:pt x="691064" y="355035"/>
                    <a:pt x="696057" y="350041"/>
                  </a:cubicBezTo>
                  <a:lnTo>
                    <a:pt x="696179" y="349919"/>
                  </a:lnTo>
                  <a:cubicBezTo>
                    <a:pt x="701173" y="344926"/>
                    <a:pt x="709292" y="344926"/>
                    <a:pt x="714285" y="349919"/>
                  </a:cubicBezTo>
                  <a:cubicBezTo>
                    <a:pt x="719279" y="354912"/>
                    <a:pt x="719279" y="363031"/>
                    <a:pt x="714285" y="368024"/>
                  </a:cubicBezTo>
                  <a:lnTo>
                    <a:pt x="714163" y="368147"/>
                  </a:lnTo>
                  <a:cubicBezTo>
                    <a:pt x="711666" y="370643"/>
                    <a:pt x="708384" y="371900"/>
                    <a:pt x="705102" y="371900"/>
                  </a:cubicBezTo>
                  <a:close/>
                  <a:moveTo>
                    <a:pt x="791665" y="285354"/>
                  </a:moveTo>
                  <a:cubicBezTo>
                    <a:pt x="788417" y="285354"/>
                    <a:pt x="785170" y="284132"/>
                    <a:pt x="782673" y="281671"/>
                  </a:cubicBezTo>
                  <a:cubicBezTo>
                    <a:pt x="777645" y="276712"/>
                    <a:pt x="777575" y="268594"/>
                    <a:pt x="782551" y="263565"/>
                  </a:cubicBezTo>
                  <a:lnTo>
                    <a:pt x="782673" y="263443"/>
                  </a:lnTo>
                  <a:cubicBezTo>
                    <a:pt x="787632" y="258415"/>
                    <a:pt x="795750" y="258345"/>
                    <a:pt x="800778" y="263321"/>
                  </a:cubicBezTo>
                  <a:cubicBezTo>
                    <a:pt x="805806" y="268279"/>
                    <a:pt x="805876" y="276398"/>
                    <a:pt x="800901" y="281426"/>
                  </a:cubicBezTo>
                  <a:lnTo>
                    <a:pt x="800778" y="281548"/>
                  </a:lnTo>
                  <a:cubicBezTo>
                    <a:pt x="798264" y="284097"/>
                    <a:pt x="794964" y="285354"/>
                    <a:pt x="791665" y="285354"/>
                  </a:cubicBezTo>
                  <a:close/>
                  <a:moveTo>
                    <a:pt x="878227" y="198722"/>
                  </a:moveTo>
                  <a:cubicBezTo>
                    <a:pt x="874963" y="198722"/>
                    <a:pt x="871680" y="197482"/>
                    <a:pt x="869201" y="195003"/>
                  </a:cubicBezTo>
                  <a:cubicBezTo>
                    <a:pt x="864208" y="190010"/>
                    <a:pt x="864138" y="181961"/>
                    <a:pt x="869131" y="176950"/>
                  </a:cubicBezTo>
                  <a:lnTo>
                    <a:pt x="869254" y="176828"/>
                  </a:lnTo>
                  <a:cubicBezTo>
                    <a:pt x="874247" y="171834"/>
                    <a:pt x="882365" y="171834"/>
                    <a:pt x="887358" y="176828"/>
                  </a:cubicBezTo>
                  <a:cubicBezTo>
                    <a:pt x="892352" y="181821"/>
                    <a:pt x="892352" y="189940"/>
                    <a:pt x="887358" y="194933"/>
                  </a:cubicBezTo>
                  <a:cubicBezTo>
                    <a:pt x="884844" y="197447"/>
                    <a:pt x="881527" y="198704"/>
                    <a:pt x="878210" y="198704"/>
                  </a:cubicBezTo>
                  <a:close/>
                  <a:moveTo>
                    <a:pt x="964738" y="112263"/>
                  </a:moveTo>
                  <a:cubicBezTo>
                    <a:pt x="961438" y="112263"/>
                    <a:pt x="958121" y="110989"/>
                    <a:pt x="955624" y="108457"/>
                  </a:cubicBezTo>
                  <a:cubicBezTo>
                    <a:pt x="950666" y="103429"/>
                    <a:pt x="950718" y="95311"/>
                    <a:pt x="955747" y="90352"/>
                  </a:cubicBezTo>
                  <a:lnTo>
                    <a:pt x="955869" y="90230"/>
                  </a:lnTo>
                  <a:cubicBezTo>
                    <a:pt x="960897" y="85271"/>
                    <a:pt x="969015" y="85323"/>
                    <a:pt x="973974" y="90352"/>
                  </a:cubicBezTo>
                  <a:cubicBezTo>
                    <a:pt x="978933" y="95380"/>
                    <a:pt x="978880" y="103499"/>
                    <a:pt x="973852" y="108457"/>
                  </a:cubicBezTo>
                  <a:lnTo>
                    <a:pt x="973730" y="108579"/>
                  </a:lnTo>
                  <a:cubicBezTo>
                    <a:pt x="971233" y="111041"/>
                    <a:pt x="967986" y="112263"/>
                    <a:pt x="964738" y="112263"/>
                  </a:cubicBezTo>
                  <a:close/>
                  <a:moveTo>
                    <a:pt x="1051284" y="25718"/>
                  </a:moveTo>
                  <a:cubicBezTo>
                    <a:pt x="1047984" y="25718"/>
                    <a:pt x="1044666" y="24443"/>
                    <a:pt x="1042170" y="21912"/>
                  </a:cubicBezTo>
                  <a:cubicBezTo>
                    <a:pt x="1037211" y="16883"/>
                    <a:pt x="1037264" y="8765"/>
                    <a:pt x="1042292" y="3806"/>
                  </a:cubicBezTo>
                  <a:lnTo>
                    <a:pt x="1042414" y="3684"/>
                  </a:lnTo>
                  <a:cubicBezTo>
                    <a:pt x="1047443" y="-1274"/>
                    <a:pt x="1055561" y="-1222"/>
                    <a:pt x="1060520" y="3806"/>
                  </a:cubicBezTo>
                  <a:cubicBezTo>
                    <a:pt x="1065478" y="8835"/>
                    <a:pt x="1065426" y="16953"/>
                    <a:pt x="1060398" y="21912"/>
                  </a:cubicBezTo>
                  <a:lnTo>
                    <a:pt x="1060275" y="22034"/>
                  </a:lnTo>
                  <a:cubicBezTo>
                    <a:pt x="1057779" y="24496"/>
                    <a:pt x="1054531" y="25718"/>
                    <a:pt x="1051284" y="25718"/>
                  </a:cubicBezTo>
                  <a:close/>
                </a:path>
              </a:pathLst>
            </a:custGeom>
            <a:grpFill/>
            <a:ln w="0"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52EB0273-92A3-B4B9-5929-24B8C1E3EE75}"/>
                </a:ext>
              </a:extLst>
            </p:cNvPr>
            <p:cNvSpPr/>
            <p:nvPr/>
          </p:nvSpPr>
          <p:spPr>
            <a:xfrm>
              <a:off x="7976061" y="4193999"/>
              <a:ext cx="978801" cy="978762"/>
            </a:xfrm>
            <a:custGeom>
              <a:avLst/>
              <a:gdLst>
                <a:gd name="connsiteX0" fmla="*/ 13378 w 978801"/>
                <a:gd name="connsiteY0" fmla="*/ 978763 h 978762"/>
                <a:gd name="connsiteX1" fmla="*/ 3950 w 978801"/>
                <a:gd name="connsiteY1" fmla="*/ 974869 h 978762"/>
                <a:gd name="connsiteX2" fmla="*/ 3880 w 978801"/>
                <a:gd name="connsiteY2" fmla="*/ 955996 h 978762"/>
                <a:gd name="connsiteX3" fmla="*/ 4003 w 978801"/>
                <a:gd name="connsiteY3" fmla="*/ 955873 h 978762"/>
                <a:gd name="connsiteX4" fmla="*/ 22928 w 978801"/>
                <a:gd name="connsiteY4" fmla="*/ 955873 h 978762"/>
                <a:gd name="connsiteX5" fmla="*/ 22928 w 978801"/>
                <a:gd name="connsiteY5" fmla="*/ 974799 h 978762"/>
                <a:gd name="connsiteX6" fmla="*/ 13378 w 978801"/>
                <a:gd name="connsiteY6" fmla="*/ 978745 h 978762"/>
                <a:gd name="connsiteX7" fmla="*/ 99889 w 978801"/>
                <a:gd name="connsiteY7" fmla="*/ 892304 h 978762"/>
                <a:gd name="connsiteX8" fmla="*/ 90426 w 978801"/>
                <a:gd name="connsiteY8" fmla="*/ 888376 h 978762"/>
                <a:gd name="connsiteX9" fmla="*/ 90426 w 978801"/>
                <a:gd name="connsiteY9" fmla="*/ 869450 h 978762"/>
                <a:gd name="connsiteX10" fmla="*/ 90548 w 978801"/>
                <a:gd name="connsiteY10" fmla="*/ 869328 h 978762"/>
                <a:gd name="connsiteX11" fmla="*/ 109474 w 978801"/>
                <a:gd name="connsiteY11" fmla="*/ 869328 h 978762"/>
                <a:gd name="connsiteX12" fmla="*/ 109474 w 978801"/>
                <a:gd name="connsiteY12" fmla="*/ 888254 h 978762"/>
                <a:gd name="connsiteX13" fmla="*/ 109352 w 978801"/>
                <a:gd name="connsiteY13" fmla="*/ 888376 h 978762"/>
                <a:gd name="connsiteX14" fmla="*/ 99889 w 978801"/>
                <a:gd name="connsiteY14" fmla="*/ 892304 h 978762"/>
                <a:gd name="connsiteX15" fmla="*/ 186435 w 978801"/>
                <a:gd name="connsiteY15" fmla="*/ 805759 h 978762"/>
                <a:gd name="connsiteX16" fmla="*/ 176971 w 978801"/>
                <a:gd name="connsiteY16" fmla="*/ 801830 h 978762"/>
                <a:gd name="connsiteX17" fmla="*/ 176971 w 978801"/>
                <a:gd name="connsiteY17" fmla="*/ 782905 h 978762"/>
                <a:gd name="connsiteX18" fmla="*/ 177094 w 978801"/>
                <a:gd name="connsiteY18" fmla="*/ 782782 h 978762"/>
                <a:gd name="connsiteX19" fmla="*/ 196020 w 978801"/>
                <a:gd name="connsiteY19" fmla="*/ 782782 h 978762"/>
                <a:gd name="connsiteX20" fmla="*/ 196020 w 978801"/>
                <a:gd name="connsiteY20" fmla="*/ 801708 h 978762"/>
                <a:gd name="connsiteX21" fmla="*/ 195897 w 978801"/>
                <a:gd name="connsiteY21" fmla="*/ 801830 h 978762"/>
                <a:gd name="connsiteX22" fmla="*/ 186435 w 978801"/>
                <a:gd name="connsiteY22" fmla="*/ 805759 h 978762"/>
                <a:gd name="connsiteX23" fmla="*/ 273015 w 978801"/>
                <a:gd name="connsiteY23" fmla="*/ 719126 h 978762"/>
                <a:gd name="connsiteX24" fmla="*/ 263587 w 978801"/>
                <a:gd name="connsiteY24" fmla="*/ 715232 h 978762"/>
                <a:gd name="connsiteX25" fmla="*/ 263517 w 978801"/>
                <a:gd name="connsiteY25" fmla="*/ 696359 h 978762"/>
                <a:gd name="connsiteX26" fmla="*/ 263639 w 978801"/>
                <a:gd name="connsiteY26" fmla="*/ 696237 h 978762"/>
                <a:gd name="connsiteX27" fmla="*/ 282565 w 978801"/>
                <a:gd name="connsiteY27" fmla="*/ 696237 h 978762"/>
                <a:gd name="connsiteX28" fmla="*/ 282565 w 978801"/>
                <a:gd name="connsiteY28" fmla="*/ 715163 h 978762"/>
                <a:gd name="connsiteX29" fmla="*/ 273015 w 978801"/>
                <a:gd name="connsiteY29" fmla="*/ 719108 h 978762"/>
                <a:gd name="connsiteX30" fmla="*/ 359561 w 978801"/>
                <a:gd name="connsiteY30" fmla="*/ 632580 h 978762"/>
                <a:gd name="connsiteX31" fmla="*/ 350133 w 978801"/>
                <a:gd name="connsiteY31" fmla="*/ 628687 h 978762"/>
                <a:gd name="connsiteX32" fmla="*/ 350063 w 978801"/>
                <a:gd name="connsiteY32" fmla="*/ 609813 h 978762"/>
                <a:gd name="connsiteX33" fmla="*/ 350185 w 978801"/>
                <a:gd name="connsiteY33" fmla="*/ 609691 h 978762"/>
                <a:gd name="connsiteX34" fmla="*/ 369111 w 978801"/>
                <a:gd name="connsiteY34" fmla="*/ 609691 h 978762"/>
                <a:gd name="connsiteX35" fmla="*/ 369111 w 978801"/>
                <a:gd name="connsiteY35" fmla="*/ 628617 h 978762"/>
                <a:gd name="connsiteX36" fmla="*/ 359561 w 978801"/>
                <a:gd name="connsiteY36" fmla="*/ 632563 h 978762"/>
                <a:gd name="connsiteX37" fmla="*/ 446089 w 978801"/>
                <a:gd name="connsiteY37" fmla="*/ 546052 h 978762"/>
                <a:gd name="connsiteX38" fmla="*/ 436661 w 978801"/>
                <a:gd name="connsiteY38" fmla="*/ 542159 h 978762"/>
                <a:gd name="connsiteX39" fmla="*/ 436591 w 978801"/>
                <a:gd name="connsiteY39" fmla="*/ 523285 h 978762"/>
                <a:gd name="connsiteX40" fmla="*/ 436713 w 978801"/>
                <a:gd name="connsiteY40" fmla="*/ 523163 h 978762"/>
                <a:gd name="connsiteX41" fmla="*/ 455639 w 978801"/>
                <a:gd name="connsiteY41" fmla="*/ 523163 h 978762"/>
                <a:gd name="connsiteX42" fmla="*/ 455639 w 978801"/>
                <a:gd name="connsiteY42" fmla="*/ 542089 h 978762"/>
                <a:gd name="connsiteX43" fmla="*/ 446089 w 978801"/>
                <a:gd name="connsiteY43" fmla="*/ 546034 h 978762"/>
                <a:gd name="connsiteX44" fmla="*/ 532599 w 978801"/>
                <a:gd name="connsiteY44" fmla="*/ 459594 h 978762"/>
                <a:gd name="connsiteX45" fmla="*/ 523136 w 978801"/>
                <a:gd name="connsiteY45" fmla="*/ 455665 h 978762"/>
                <a:gd name="connsiteX46" fmla="*/ 523136 w 978801"/>
                <a:gd name="connsiteY46" fmla="*/ 436740 h 978762"/>
                <a:gd name="connsiteX47" fmla="*/ 523258 w 978801"/>
                <a:gd name="connsiteY47" fmla="*/ 436617 h 978762"/>
                <a:gd name="connsiteX48" fmla="*/ 542185 w 978801"/>
                <a:gd name="connsiteY48" fmla="*/ 436617 h 978762"/>
                <a:gd name="connsiteX49" fmla="*/ 542185 w 978801"/>
                <a:gd name="connsiteY49" fmla="*/ 455543 h 978762"/>
                <a:gd name="connsiteX50" fmla="*/ 542062 w 978801"/>
                <a:gd name="connsiteY50" fmla="*/ 455665 h 978762"/>
                <a:gd name="connsiteX51" fmla="*/ 532599 w 978801"/>
                <a:gd name="connsiteY51" fmla="*/ 459594 h 978762"/>
                <a:gd name="connsiteX52" fmla="*/ 619145 w 978801"/>
                <a:gd name="connsiteY52" fmla="*/ 373048 h 978762"/>
                <a:gd name="connsiteX53" fmla="*/ 609682 w 978801"/>
                <a:gd name="connsiteY53" fmla="*/ 369120 h 978762"/>
                <a:gd name="connsiteX54" fmla="*/ 609682 w 978801"/>
                <a:gd name="connsiteY54" fmla="*/ 350194 h 978762"/>
                <a:gd name="connsiteX55" fmla="*/ 609804 w 978801"/>
                <a:gd name="connsiteY55" fmla="*/ 350072 h 978762"/>
                <a:gd name="connsiteX56" fmla="*/ 628730 w 978801"/>
                <a:gd name="connsiteY56" fmla="*/ 350072 h 978762"/>
                <a:gd name="connsiteX57" fmla="*/ 628730 w 978801"/>
                <a:gd name="connsiteY57" fmla="*/ 368998 h 978762"/>
                <a:gd name="connsiteX58" fmla="*/ 628608 w 978801"/>
                <a:gd name="connsiteY58" fmla="*/ 369120 h 978762"/>
                <a:gd name="connsiteX59" fmla="*/ 619145 w 978801"/>
                <a:gd name="connsiteY59" fmla="*/ 373048 h 978762"/>
                <a:gd name="connsiteX60" fmla="*/ 705691 w 978801"/>
                <a:gd name="connsiteY60" fmla="*/ 286503 h 978762"/>
                <a:gd name="connsiteX61" fmla="*/ 696158 w 978801"/>
                <a:gd name="connsiteY61" fmla="*/ 282522 h 978762"/>
                <a:gd name="connsiteX62" fmla="*/ 696280 w 978801"/>
                <a:gd name="connsiteY62" fmla="*/ 263596 h 978762"/>
                <a:gd name="connsiteX63" fmla="*/ 696403 w 978801"/>
                <a:gd name="connsiteY63" fmla="*/ 263474 h 978762"/>
                <a:gd name="connsiteX64" fmla="*/ 715328 w 978801"/>
                <a:gd name="connsiteY64" fmla="*/ 263596 h 978762"/>
                <a:gd name="connsiteX65" fmla="*/ 715206 w 978801"/>
                <a:gd name="connsiteY65" fmla="*/ 282522 h 978762"/>
                <a:gd name="connsiteX66" fmla="*/ 715083 w 978801"/>
                <a:gd name="connsiteY66" fmla="*/ 282644 h 978762"/>
                <a:gd name="connsiteX67" fmla="*/ 705691 w 978801"/>
                <a:gd name="connsiteY67" fmla="*/ 286503 h 978762"/>
                <a:gd name="connsiteX68" fmla="*/ 792271 w 978801"/>
                <a:gd name="connsiteY68" fmla="*/ 199870 h 978762"/>
                <a:gd name="connsiteX69" fmla="*/ 782843 w 978801"/>
                <a:gd name="connsiteY69" fmla="*/ 195976 h 978762"/>
                <a:gd name="connsiteX70" fmla="*/ 782773 w 978801"/>
                <a:gd name="connsiteY70" fmla="*/ 177103 h 978762"/>
                <a:gd name="connsiteX71" fmla="*/ 782896 w 978801"/>
                <a:gd name="connsiteY71" fmla="*/ 176981 h 978762"/>
                <a:gd name="connsiteX72" fmla="*/ 801821 w 978801"/>
                <a:gd name="connsiteY72" fmla="*/ 176981 h 978762"/>
                <a:gd name="connsiteX73" fmla="*/ 801821 w 978801"/>
                <a:gd name="connsiteY73" fmla="*/ 195907 h 978762"/>
                <a:gd name="connsiteX74" fmla="*/ 792271 w 978801"/>
                <a:gd name="connsiteY74" fmla="*/ 199852 h 978762"/>
                <a:gd name="connsiteX75" fmla="*/ 878799 w 978801"/>
                <a:gd name="connsiteY75" fmla="*/ 113342 h 978762"/>
                <a:gd name="connsiteX76" fmla="*/ 869371 w 978801"/>
                <a:gd name="connsiteY76" fmla="*/ 109448 h 978762"/>
                <a:gd name="connsiteX77" fmla="*/ 869301 w 978801"/>
                <a:gd name="connsiteY77" fmla="*/ 90575 h 978762"/>
                <a:gd name="connsiteX78" fmla="*/ 869423 w 978801"/>
                <a:gd name="connsiteY78" fmla="*/ 90452 h 978762"/>
                <a:gd name="connsiteX79" fmla="*/ 888350 w 978801"/>
                <a:gd name="connsiteY79" fmla="*/ 90452 h 978762"/>
                <a:gd name="connsiteX80" fmla="*/ 888350 w 978801"/>
                <a:gd name="connsiteY80" fmla="*/ 109378 h 978762"/>
                <a:gd name="connsiteX81" fmla="*/ 878799 w 978801"/>
                <a:gd name="connsiteY81" fmla="*/ 113324 h 978762"/>
                <a:gd name="connsiteX82" fmla="*/ 965310 w 978801"/>
                <a:gd name="connsiteY82" fmla="*/ 26883 h 978762"/>
                <a:gd name="connsiteX83" fmla="*/ 955777 w 978801"/>
                <a:gd name="connsiteY83" fmla="*/ 22903 h 978762"/>
                <a:gd name="connsiteX84" fmla="*/ 955899 w 978801"/>
                <a:gd name="connsiteY84" fmla="*/ 3977 h 978762"/>
                <a:gd name="connsiteX85" fmla="*/ 956021 w 978801"/>
                <a:gd name="connsiteY85" fmla="*/ 3855 h 978762"/>
                <a:gd name="connsiteX86" fmla="*/ 974948 w 978801"/>
                <a:gd name="connsiteY86" fmla="*/ 3977 h 978762"/>
                <a:gd name="connsiteX87" fmla="*/ 974825 w 978801"/>
                <a:gd name="connsiteY87" fmla="*/ 22903 h 978762"/>
                <a:gd name="connsiteX88" fmla="*/ 974703 w 978801"/>
                <a:gd name="connsiteY88" fmla="*/ 23025 h 978762"/>
                <a:gd name="connsiteX89" fmla="*/ 965310 w 978801"/>
                <a:gd name="connsiteY89" fmla="*/ 26883 h 97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978801" h="978762">
                  <a:moveTo>
                    <a:pt x="13378" y="978763"/>
                  </a:moveTo>
                  <a:cubicBezTo>
                    <a:pt x="9956" y="978763"/>
                    <a:pt x="6534" y="977471"/>
                    <a:pt x="3950" y="974869"/>
                  </a:cubicBezTo>
                  <a:cubicBezTo>
                    <a:pt x="-1270" y="969649"/>
                    <a:pt x="-1340" y="961233"/>
                    <a:pt x="3880" y="955996"/>
                  </a:cubicBezTo>
                  <a:lnTo>
                    <a:pt x="4003" y="955873"/>
                  </a:lnTo>
                  <a:cubicBezTo>
                    <a:pt x="9223" y="950653"/>
                    <a:pt x="17708" y="950653"/>
                    <a:pt x="22928" y="955873"/>
                  </a:cubicBezTo>
                  <a:cubicBezTo>
                    <a:pt x="28149" y="961094"/>
                    <a:pt x="28149" y="969579"/>
                    <a:pt x="22928" y="974799"/>
                  </a:cubicBezTo>
                  <a:cubicBezTo>
                    <a:pt x="20292" y="977436"/>
                    <a:pt x="16835" y="978745"/>
                    <a:pt x="13378" y="978745"/>
                  </a:cubicBezTo>
                  <a:close/>
                  <a:moveTo>
                    <a:pt x="99889" y="892304"/>
                  </a:moveTo>
                  <a:cubicBezTo>
                    <a:pt x="96467" y="892304"/>
                    <a:pt x="93045" y="890995"/>
                    <a:pt x="90426" y="888376"/>
                  </a:cubicBezTo>
                  <a:cubicBezTo>
                    <a:pt x="85205" y="883156"/>
                    <a:pt x="85205" y="874670"/>
                    <a:pt x="90426" y="869450"/>
                  </a:cubicBezTo>
                  <a:lnTo>
                    <a:pt x="90548" y="869328"/>
                  </a:lnTo>
                  <a:cubicBezTo>
                    <a:pt x="95768" y="864108"/>
                    <a:pt x="104254" y="864108"/>
                    <a:pt x="109474" y="869328"/>
                  </a:cubicBezTo>
                  <a:cubicBezTo>
                    <a:pt x="114694" y="874548"/>
                    <a:pt x="114694" y="883033"/>
                    <a:pt x="109474" y="888254"/>
                  </a:cubicBezTo>
                  <a:lnTo>
                    <a:pt x="109352" y="888376"/>
                  </a:lnTo>
                  <a:cubicBezTo>
                    <a:pt x="106733" y="890995"/>
                    <a:pt x="103311" y="892304"/>
                    <a:pt x="99889" y="892304"/>
                  </a:cubicBezTo>
                  <a:close/>
                  <a:moveTo>
                    <a:pt x="186435" y="805759"/>
                  </a:moveTo>
                  <a:cubicBezTo>
                    <a:pt x="183012" y="805759"/>
                    <a:pt x="179590" y="804449"/>
                    <a:pt x="176971" y="801830"/>
                  </a:cubicBezTo>
                  <a:cubicBezTo>
                    <a:pt x="171751" y="796610"/>
                    <a:pt x="171751" y="788125"/>
                    <a:pt x="176971" y="782905"/>
                  </a:cubicBezTo>
                  <a:lnTo>
                    <a:pt x="177094" y="782782"/>
                  </a:lnTo>
                  <a:cubicBezTo>
                    <a:pt x="182314" y="777562"/>
                    <a:pt x="190799" y="777562"/>
                    <a:pt x="196020" y="782782"/>
                  </a:cubicBezTo>
                  <a:cubicBezTo>
                    <a:pt x="201240" y="788003"/>
                    <a:pt x="201240" y="796488"/>
                    <a:pt x="196020" y="801708"/>
                  </a:cubicBezTo>
                  <a:lnTo>
                    <a:pt x="195897" y="801830"/>
                  </a:lnTo>
                  <a:cubicBezTo>
                    <a:pt x="193279" y="804449"/>
                    <a:pt x="189857" y="805759"/>
                    <a:pt x="186435" y="805759"/>
                  </a:cubicBezTo>
                  <a:close/>
                  <a:moveTo>
                    <a:pt x="273015" y="719126"/>
                  </a:moveTo>
                  <a:cubicBezTo>
                    <a:pt x="269593" y="719126"/>
                    <a:pt x="266188" y="717834"/>
                    <a:pt x="263587" y="715232"/>
                  </a:cubicBezTo>
                  <a:cubicBezTo>
                    <a:pt x="258367" y="710012"/>
                    <a:pt x="258297" y="701597"/>
                    <a:pt x="263517" y="696359"/>
                  </a:cubicBezTo>
                  <a:lnTo>
                    <a:pt x="263639" y="696237"/>
                  </a:lnTo>
                  <a:cubicBezTo>
                    <a:pt x="268860" y="691016"/>
                    <a:pt x="277345" y="691016"/>
                    <a:pt x="282565" y="696237"/>
                  </a:cubicBezTo>
                  <a:cubicBezTo>
                    <a:pt x="287785" y="701457"/>
                    <a:pt x="287785" y="709942"/>
                    <a:pt x="282565" y="715163"/>
                  </a:cubicBezTo>
                  <a:cubicBezTo>
                    <a:pt x="279929" y="717799"/>
                    <a:pt x="276472" y="719108"/>
                    <a:pt x="273015" y="719108"/>
                  </a:cubicBezTo>
                  <a:close/>
                  <a:moveTo>
                    <a:pt x="359561" y="632580"/>
                  </a:moveTo>
                  <a:cubicBezTo>
                    <a:pt x="356139" y="632580"/>
                    <a:pt x="352717" y="631288"/>
                    <a:pt x="350133" y="628687"/>
                  </a:cubicBezTo>
                  <a:cubicBezTo>
                    <a:pt x="344912" y="623466"/>
                    <a:pt x="344843" y="615051"/>
                    <a:pt x="350063" y="609813"/>
                  </a:cubicBezTo>
                  <a:lnTo>
                    <a:pt x="350185" y="609691"/>
                  </a:lnTo>
                  <a:cubicBezTo>
                    <a:pt x="355405" y="604471"/>
                    <a:pt x="363890" y="604471"/>
                    <a:pt x="369111" y="609691"/>
                  </a:cubicBezTo>
                  <a:cubicBezTo>
                    <a:pt x="374331" y="614912"/>
                    <a:pt x="374331" y="623397"/>
                    <a:pt x="369111" y="628617"/>
                  </a:cubicBezTo>
                  <a:cubicBezTo>
                    <a:pt x="366492" y="631253"/>
                    <a:pt x="363018" y="632563"/>
                    <a:pt x="359561" y="632563"/>
                  </a:cubicBezTo>
                  <a:close/>
                  <a:moveTo>
                    <a:pt x="446089" y="546052"/>
                  </a:moveTo>
                  <a:cubicBezTo>
                    <a:pt x="442667" y="546052"/>
                    <a:pt x="439245" y="544760"/>
                    <a:pt x="436661" y="542159"/>
                  </a:cubicBezTo>
                  <a:cubicBezTo>
                    <a:pt x="431440" y="536938"/>
                    <a:pt x="431370" y="528523"/>
                    <a:pt x="436591" y="523285"/>
                  </a:cubicBezTo>
                  <a:lnTo>
                    <a:pt x="436713" y="523163"/>
                  </a:lnTo>
                  <a:cubicBezTo>
                    <a:pt x="441934" y="517943"/>
                    <a:pt x="450419" y="517943"/>
                    <a:pt x="455639" y="523163"/>
                  </a:cubicBezTo>
                  <a:cubicBezTo>
                    <a:pt x="460859" y="528383"/>
                    <a:pt x="460859" y="536868"/>
                    <a:pt x="455639" y="542089"/>
                  </a:cubicBezTo>
                  <a:cubicBezTo>
                    <a:pt x="453020" y="544725"/>
                    <a:pt x="449546" y="546034"/>
                    <a:pt x="446089" y="546034"/>
                  </a:cubicBezTo>
                  <a:close/>
                  <a:moveTo>
                    <a:pt x="532599" y="459594"/>
                  </a:moveTo>
                  <a:cubicBezTo>
                    <a:pt x="529177" y="459594"/>
                    <a:pt x="525755" y="458284"/>
                    <a:pt x="523136" y="455665"/>
                  </a:cubicBezTo>
                  <a:cubicBezTo>
                    <a:pt x="517916" y="450445"/>
                    <a:pt x="517916" y="441960"/>
                    <a:pt x="523136" y="436740"/>
                  </a:cubicBezTo>
                  <a:lnTo>
                    <a:pt x="523258" y="436617"/>
                  </a:lnTo>
                  <a:cubicBezTo>
                    <a:pt x="528479" y="431397"/>
                    <a:pt x="536964" y="431397"/>
                    <a:pt x="542185" y="436617"/>
                  </a:cubicBezTo>
                  <a:cubicBezTo>
                    <a:pt x="547405" y="441838"/>
                    <a:pt x="547405" y="450323"/>
                    <a:pt x="542185" y="455543"/>
                  </a:cubicBezTo>
                  <a:lnTo>
                    <a:pt x="542062" y="455665"/>
                  </a:lnTo>
                  <a:cubicBezTo>
                    <a:pt x="539443" y="458284"/>
                    <a:pt x="536021" y="459594"/>
                    <a:pt x="532599" y="459594"/>
                  </a:cubicBezTo>
                  <a:close/>
                  <a:moveTo>
                    <a:pt x="619145" y="373048"/>
                  </a:moveTo>
                  <a:cubicBezTo>
                    <a:pt x="615723" y="373048"/>
                    <a:pt x="612301" y="371739"/>
                    <a:pt x="609682" y="369120"/>
                  </a:cubicBezTo>
                  <a:cubicBezTo>
                    <a:pt x="604462" y="363900"/>
                    <a:pt x="604462" y="355414"/>
                    <a:pt x="609682" y="350194"/>
                  </a:cubicBezTo>
                  <a:lnTo>
                    <a:pt x="609804" y="350072"/>
                  </a:lnTo>
                  <a:cubicBezTo>
                    <a:pt x="615024" y="344851"/>
                    <a:pt x="623510" y="344851"/>
                    <a:pt x="628730" y="350072"/>
                  </a:cubicBezTo>
                  <a:cubicBezTo>
                    <a:pt x="633951" y="355292"/>
                    <a:pt x="633951" y="363777"/>
                    <a:pt x="628730" y="368998"/>
                  </a:cubicBezTo>
                  <a:lnTo>
                    <a:pt x="628608" y="369120"/>
                  </a:lnTo>
                  <a:cubicBezTo>
                    <a:pt x="625989" y="371739"/>
                    <a:pt x="622567" y="373048"/>
                    <a:pt x="619145" y="373048"/>
                  </a:cubicBezTo>
                  <a:close/>
                  <a:moveTo>
                    <a:pt x="705691" y="286503"/>
                  </a:moveTo>
                  <a:cubicBezTo>
                    <a:pt x="702234" y="286503"/>
                    <a:pt x="698777" y="285176"/>
                    <a:pt x="696158" y="282522"/>
                  </a:cubicBezTo>
                  <a:cubicBezTo>
                    <a:pt x="690972" y="277267"/>
                    <a:pt x="691025" y="268782"/>
                    <a:pt x="696280" y="263596"/>
                  </a:cubicBezTo>
                  <a:lnTo>
                    <a:pt x="696403" y="263474"/>
                  </a:lnTo>
                  <a:cubicBezTo>
                    <a:pt x="701657" y="258289"/>
                    <a:pt x="710142" y="258341"/>
                    <a:pt x="715328" y="263596"/>
                  </a:cubicBezTo>
                  <a:cubicBezTo>
                    <a:pt x="720513" y="268851"/>
                    <a:pt x="720461" y="277336"/>
                    <a:pt x="715206" y="282522"/>
                  </a:cubicBezTo>
                  <a:lnTo>
                    <a:pt x="715083" y="282644"/>
                  </a:lnTo>
                  <a:cubicBezTo>
                    <a:pt x="712482" y="285211"/>
                    <a:pt x="709078" y="286503"/>
                    <a:pt x="705691" y="286503"/>
                  </a:cubicBezTo>
                  <a:close/>
                  <a:moveTo>
                    <a:pt x="792271" y="199870"/>
                  </a:moveTo>
                  <a:cubicBezTo>
                    <a:pt x="788849" y="199870"/>
                    <a:pt x="785427" y="198578"/>
                    <a:pt x="782843" y="195976"/>
                  </a:cubicBezTo>
                  <a:cubicBezTo>
                    <a:pt x="777623" y="190756"/>
                    <a:pt x="777553" y="182341"/>
                    <a:pt x="782773" y="177103"/>
                  </a:cubicBezTo>
                  <a:lnTo>
                    <a:pt x="782896" y="176981"/>
                  </a:lnTo>
                  <a:cubicBezTo>
                    <a:pt x="788116" y="171760"/>
                    <a:pt x="796601" y="171760"/>
                    <a:pt x="801821" y="176981"/>
                  </a:cubicBezTo>
                  <a:cubicBezTo>
                    <a:pt x="807041" y="182201"/>
                    <a:pt x="807041" y="190686"/>
                    <a:pt x="801821" y="195907"/>
                  </a:cubicBezTo>
                  <a:cubicBezTo>
                    <a:pt x="799185" y="198543"/>
                    <a:pt x="795728" y="199852"/>
                    <a:pt x="792271" y="199852"/>
                  </a:cubicBezTo>
                  <a:close/>
                  <a:moveTo>
                    <a:pt x="878799" y="113342"/>
                  </a:moveTo>
                  <a:cubicBezTo>
                    <a:pt x="875377" y="113342"/>
                    <a:pt x="871955" y="112050"/>
                    <a:pt x="869371" y="109448"/>
                  </a:cubicBezTo>
                  <a:cubicBezTo>
                    <a:pt x="864150" y="104228"/>
                    <a:pt x="864081" y="95813"/>
                    <a:pt x="869301" y="90575"/>
                  </a:cubicBezTo>
                  <a:lnTo>
                    <a:pt x="869423" y="90452"/>
                  </a:lnTo>
                  <a:cubicBezTo>
                    <a:pt x="874644" y="85232"/>
                    <a:pt x="883129" y="85232"/>
                    <a:pt x="888350" y="90452"/>
                  </a:cubicBezTo>
                  <a:cubicBezTo>
                    <a:pt x="893570" y="95673"/>
                    <a:pt x="893570" y="104158"/>
                    <a:pt x="888350" y="109378"/>
                  </a:cubicBezTo>
                  <a:cubicBezTo>
                    <a:pt x="885713" y="112015"/>
                    <a:pt x="882256" y="113324"/>
                    <a:pt x="878799" y="113324"/>
                  </a:cubicBezTo>
                  <a:close/>
                  <a:moveTo>
                    <a:pt x="965310" y="26883"/>
                  </a:moveTo>
                  <a:cubicBezTo>
                    <a:pt x="961853" y="26883"/>
                    <a:pt x="958396" y="25556"/>
                    <a:pt x="955777" y="22903"/>
                  </a:cubicBezTo>
                  <a:cubicBezTo>
                    <a:pt x="950592" y="17647"/>
                    <a:pt x="950644" y="9162"/>
                    <a:pt x="955899" y="3977"/>
                  </a:cubicBezTo>
                  <a:lnTo>
                    <a:pt x="956021" y="3855"/>
                  </a:lnTo>
                  <a:cubicBezTo>
                    <a:pt x="961277" y="-1331"/>
                    <a:pt x="969762" y="-1279"/>
                    <a:pt x="974948" y="3977"/>
                  </a:cubicBezTo>
                  <a:cubicBezTo>
                    <a:pt x="980133" y="9232"/>
                    <a:pt x="980081" y="17717"/>
                    <a:pt x="974825" y="22903"/>
                  </a:cubicBezTo>
                  <a:lnTo>
                    <a:pt x="974703" y="23025"/>
                  </a:lnTo>
                  <a:cubicBezTo>
                    <a:pt x="972101" y="25591"/>
                    <a:pt x="968697" y="26883"/>
                    <a:pt x="965310" y="26883"/>
                  </a:cubicBezTo>
                  <a:close/>
                </a:path>
              </a:pathLst>
            </a:custGeom>
            <a:grpFill/>
            <a:ln w="0"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47CE16DA-5197-8C92-CA56-2FD69FF36F35}"/>
                </a:ext>
              </a:extLst>
            </p:cNvPr>
            <p:cNvSpPr/>
            <p:nvPr/>
          </p:nvSpPr>
          <p:spPr>
            <a:xfrm>
              <a:off x="8124515" y="4340157"/>
              <a:ext cx="806946" cy="806939"/>
            </a:xfrm>
            <a:custGeom>
              <a:avLst/>
              <a:gdLst>
                <a:gd name="connsiteX0" fmla="*/ 13974 w 806946"/>
                <a:gd name="connsiteY0" fmla="*/ 806939 h 806939"/>
                <a:gd name="connsiteX1" fmla="*/ 4022 w 806946"/>
                <a:gd name="connsiteY1" fmla="*/ 802784 h 806939"/>
                <a:gd name="connsiteX2" fmla="*/ 4162 w 806946"/>
                <a:gd name="connsiteY2" fmla="*/ 783038 h 806939"/>
                <a:gd name="connsiteX3" fmla="*/ 4284 w 806946"/>
                <a:gd name="connsiteY3" fmla="*/ 782915 h 806939"/>
                <a:gd name="connsiteX4" fmla="*/ 24031 w 806946"/>
                <a:gd name="connsiteY4" fmla="*/ 783055 h 806939"/>
                <a:gd name="connsiteX5" fmla="*/ 23891 w 806946"/>
                <a:gd name="connsiteY5" fmla="*/ 802801 h 806939"/>
                <a:gd name="connsiteX6" fmla="*/ 23769 w 806946"/>
                <a:gd name="connsiteY6" fmla="*/ 802924 h 806939"/>
                <a:gd name="connsiteX7" fmla="*/ 13957 w 806946"/>
                <a:gd name="connsiteY7" fmla="*/ 806939 h 806939"/>
                <a:gd name="connsiteX8" fmla="*/ 100520 w 806946"/>
                <a:gd name="connsiteY8" fmla="*/ 720394 h 806939"/>
                <a:gd name="connsiteX9" fmla="*/ 90708 w 806946"/>
                <a:gd name="connsiteY9" fmla="*/ 716378 h 806939"/>
                <a:gd name="connsiteX10" fmla="*/ 90568 w 806946"/>
                <a:gd name="connsiteY10" fmla="*/ 696631 h 806939"/>
                <a:gd name="connsiteX11" fmla="*/ 90690 w 806946"/>
                <a:gd name="connsiteY11" fmla="*/ 696509 h 806939"/>
                <a:gd name="connsiteX12" fmla="*/ 110437 w 806946"/>
                <a:gd name="connsiteY12" fmla="*/ 696370 h 806939"/>
                <a:gd name="connsiteX13" fmla="*/ 110576 w 806946"/>
                <a:gd name="connsiteY13" fmla="*/ 716116 h 806939"/>
                <a:gd name="connsiteX14" fmla="*/ 110454 w 806946"/>
                <a:gd name="connsiteY14" fmla="*/ 716238 h 806939"/>
                <a:gd name="connsiteX15" fmla="*/ 100502 w 806946"/>
                <a:gd name="connsiteY15" fmla="*/ 720394 h 806939"/>
                <a:gd name="connsiteX16" fmla="*/ 187065 w 806946"/>
                <a:gd name="connsiteY16" fmla="*/ 633848 h 806939"/>
                <a:gd name="connsiteX17" fmla="*/ 177253 w 806946"/>
                <a:gd name="connsiteY17" fmla="*/ 629833 h 806939"/>
                <a:gd name="connsiteX18" fmla="*/ 177114 w 806946"/>
                <a:gd name="connsiteY18" fmla="*/ 610086 h 806939"/>
                <a:gd name="connsiteX19" fmla="*/ 177236 w 806946"/>
                <a:gd name="connsiteY19" fmla="*/ 609964 h 806939"/>
                <a:gd name="connsiteX20" fmla="*/ 196982 w 806946"/>
                <a:gd name="connsiteY20" fmla="*/ 609824 h 806939"/>
                <a:gd name="connsiteX21" fmla="*/ 197122 w 806946"/>
                <a:gd name="connsiteY21" fmla="*/ 629570 h 806939"/>
                <a:gd name="connsiteX22" fmla="*/ 197000 w 806946"/>
                <a:gd name="connsiteY22" fmla="*/ 629693 h 806939"/>
                <a:gd name="connsiteX23" fmla="*/ 187048 w 806946"/>
                <a:gd name="connsiteY23" fmla="*/ 633848 h 806939"/>
                <a:gd name="connsiteX24" fmla="*/ 273646 w 806946"/>
                <a:gd name="connsiteY24" fmla="*/ 547215 h 806939"/>
                <a:gd name="connsiteX25" fmla="*/ 263799 w 806946"/>
                <a:gd name="connsiteY25" fmla="*/ 543147 h 806939"/>
                <a:gd name="connsiteX26" fmla="*/ 263729 w 806946"/>
                <a:gd name="connsiteY26" fmla="*/ 523453 h 806939"/>
                <a:gd name="connsiteX27" fmla="*/ 263851 w 806946"/>
                <a:gd name="connsiteY27" fmla="*/ 523331 h 806939"/>
                <a:gd name="connsiteX28" fmla="*/ 283598 w 806946"/>
                <a:gd name="connsiteY28" fmla="*/ 523331 h 806939"/>
                <a:gd name="connsiteX29" fmla="*/ 283598 w 806946"/>
                <a:gd name="connsiteY29" fmla="*/ 543077 h 806939"/>
                <a:gd name="connsiteX30" fmla="*/ 273629 w 806946"/>
                <a:gd name="connsiteY30" fmla="*/ 547198 h 806939"/>
                <a:gd name="connsiteX31" fmla="*/ 360157 w 806946"/>
                <a:gd name="connsiteY31" fmla="*/ 460774 h 806939"/>
                <a:gd name="connsiteX32" fmla="*/ 350205 w 806946"/>
                <a:gd name="connsiteY32" fmla="*/ 456619 h 806939"/>
                <a:gd name="connsiteX33" fmla="*/ 350344 w 806946"/>
                <a:gd name="connsiteY33" fmla="*/ 436873 h 806939"/>
                <a:gd name="connsiteX34" fmla="*/ 350466 w 806946"/>
                <a:gd name="connsiteY34" fmla="*/ 436750 h 806939"/>
                <a:gd name="connsiteX35" fmla="*/ 370213 w 806946"/>
                <a:gd name="connsiteY35" fmla="*/ 436890 h 806939"/>
                <a:gd name="connsiteX36" fmla="*/ 370073 w 806946"/>
                <a:gd name="connsiteY36" fmla="*/ 456636 h 806939"/>
                <a:gd name="connsiteX37" fmla="*/ 369951 w 806946"/>
                <a:gd name="connsiteY37" fmla="*/ 456759 h 806939"/>
                <a:gd name="connsiteX38" fmla="*/ 360139 w 806946"/>
                <a:gd name="connsiteY38" fmla="*/ 460774 h 806939"/>
                <a:gd name="connsiteX39" fmla="*/ 446685 w 806946"/>
                <a:gd name="connsiteY39" fmla="*/ 374229 h 806939"/>
                <a:gd name="connsiteX40" fmla="*/ 436733 w 806946"/>
                <a:gd name="connsiteY40" fmla="*/ 370074 h 806939"/>
                <a:gd name="connsiteX41" fmla="*/ 436873 w 806946"/>
                <a:gd name="connsiteY41" fmla="*/ 350327 h 806939"/>
                <a:gd name="connsiteX42" fmla="*/ 436995 w 806946"/>
                <a:gd name="connsiteY42" fmla="*/ 350205 h 806939"/>
                <a:gd name="connsiteX43" fmla="*/ 456741 w 806946"/>
                <a:gd name="connsiteY43" fmla="*/ 350344 h 806939"/>
                <a:gd name="connsiteX44" fmla="*/ 456601 w 806946"/>
                <a:gd name="connsiteY44" fmla="*/ 370091 h 806939"/>
                <a:gd name="connsiteX45" fmla="*/ 456479 w 806946"/>
                <a:gd name="connsiteY45" fmla="*/ 370213 h 806939"/>
                <a:gd name="connsiteX46" fmla="*/ 446667 w 806946"/>
                <a:gd name="connsiteY46" fmla="*/ 374229 h 806939"/>
                <a:gd name="connsiteX47" fmla="*/ 533265 w 806946"/>
                <a:gd name="connsiteY47" fmla="*/ 287596 h 806939"/>
                <a:gd name="connsiteX48" fmla="*/ 523418 w 806946"/>
                <a:gd name="connsiteY48" fmla="*/ 283528 h 806939"/>
                <a:gd name="connsiteX49" fmla="*/ 523348 w 806946"/>
                <a:gd name="connsiteY49" fmla="*/ 263834 h 806939"/>
                <a:gd name="connsiteX50" fmla="*/ 523471 w 806946"/>
                <a:gd name="connsiteY50" fmla="*/ 263711 h 806939"/>
                <a:gd name="connsiteX51" fmla="*/ 543217 w 806946"/>
                <a:gd name="connsiteY51" fmla="*/ 263711 h 806939"/>
                <a:gd name="connsiteX52" fmla="*/ 543217 w 806946"/>
                <a:gd name="connsiteY52" fmla="*/ 283458 h 806939"/>
                <a:gd name="connsiteX53" fmla="*/ 533247 w 806946"/>
                <a:gd name="connsiteY53" fmla="*/ 287579 h 806939"/>
                <a:gd name="connsiteX54" fmla="*/ 619776 w 806946"/>
                <a:gd name="connsiteY54" fmla="*/ 201138 h 806939"/>
                <a:gd name="connsiteX55" fmla="*/ 609964 w 806946"/>
                <a:gd name="connsiteY55" fmla="*/ 197122 h 806939"/>
                <a:gd name="connsiteX56" fmla="*/ 609824 w 806946"/>
                <a:gd name="connsiteY56" fmla="*/ 177375 h 806939"/>
                <a:gd name="connsiteX57" fmla="*/ 609946 w 806946"/>
                <a:gd name="connsiteY57" fmla="*/ 177253 h 806939"/>
                <a:gd name="connsiteX58" fmla="*/ 629693 w 806946"/>
                <a:gd name="connsiteY58" fmla="*/ 177114 h 806939"/>
                <a:gd name="connsiteX59" fmla="*/ 629833 w 806946"/>
                <a:gd name="connsiteY59" fmla="*/ 196860 h 806939"/>
                <a:gd name="connsiteX60" fmla="*/ 629710 w 806946"/>
                <a:gd name="connsiteY60" fmla="*/ 196982 h 806939"/>
                <a:gd name="connsiteX61" fmla="*/ 619759 w 806946"/>
                <a:gd name="connsiteY61" fmla="*/ 201138 h 806939"/>
                <a:gd name="connsiteX62" fmla="*/ 706322 w 806946"/>
                <a:gd name="connsiteY62" fmla="*/ 114592 h 806939"/>
                <a:gd name="connsiteX63" fmla="*/ 696440 w 806946"/>
                <a:gd name="connsiteY63" fmla="*/ 110506 h 806939"/>
                <a:gd name="connsiteX64" fmla="*/ 696440 w 806946"/>
                <a:gd name="connsiteY64" fmla="*/ 90760 h 806939"/>
                <a:gd name="connsiteX65" fmla="*/ 696561 w 806946"/>
                <a:gd name="connsiteY65" fmla="*/ 90638 h 806939"/>
                <a:gd name="connsiteX66" fmla="*/ 716308 w 806946"/>
                <a:gd name="connsiteY66" fmla="*/ 90638 h 806939"/>
                <a:gd name="connsiteX67" fmla="*/ 716308 w 806946"/>
                <a:gd name="connsiteY67" fmla="*/ 110384 h 806939"/>
                <a:gd name="connsiteX68" fmla="*/ 716186 w 806946"/>
                <a:gd name="connsiteY68" fmla="*/ 110506 h 806939"/>
                <a:gd name="connsiteX69" fmla="*/ 706304 w 806946"/>
                <a:gd name="connsiteY69" fmla="*/ 114592 h 806939"/>
                <a:gd name="connsiteX70" fmla="*/ 792867 w 806946"/>
                <a:gd name="connsiteY70" fmla="*/ 28046 h 806939"/>
                <a:gd name="connsiteX71" fmla="*/ 782915 w 806946"/>
                <a:gd name="connsiteY71" fmla="*/ 23891 h 806939"/>
                <a:gd name="connsiteX72" fmla="*/ 783055 w 806946"/>
                <a:gd name="connsiteY72" fmla="*/ 4145 h 806939"/>
                <a:gd name="connsiteX73" fmla="*/ 783177 w 806946"/>
                <a:gd name="connsiteY73" fmla="*/ 4022 h 806939"/>
                <a:gd name="connsiteX74" fmla="*/ 802924 w 806946"/>
                <a:gd name="connsiteY74" fmla="*/ 4162 h 806939"/>
                <a:gd name="connsiteX75" fmla="*/ 802784 w 806946"/>
                <a:gd name="connsiteY75" fmla="*/ 23909 h 806939"/>
                <a:gd name="connsiteX76" fmla="*/ 802661 w 806946"/>
                <a:gd name="connsiteY76" fmla="*/ 24031 h 806939"/>
                <a:gd name="connsiteX77" fmla="*/ 792850 w 806946"/>
                <a:gd name="connsiteY77" fmla="*/ 28046 h 806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06946" h="806939">
                  <a:moveTo>
                    <a:pt x="13974" y="806939"/>
                  </a:moveTo>
                  <a:cubicBezTo>
                    <a:pt x="10360" y="806939"/>
                    <a:pt x="6763" y="805560"/>
                    <a:pt x="4022" y="802784"/>
                  </a:cubicBezTo>
                  <a:cubicBezTo>
                    <a:pt x="-1390" y="797284"/>
                    <a:pt x="-1337" y="788450"/>
                    <a:pt x="4162" y="783038"/>
                  </a:cubicBezTo>
                  <a:lnTo>
                    <a:pt x="4284" y="782915"/>
                  </a:lnTo>
                  <a:cubicBezTo>
                    <a:pt x="9766" y="777503"/>
                    <a:pt x="18618" y="777555"/>
                    <a:pt x="24031" y="783055"/>
                  </a:cubicBezTo>
                  <a:cubicBezTo>
                    <a:pt x="29443" y="788555"/>
                    <a:pt x="29391" y="797389"/>
                    <a:pt x="23891" y="802801"/>
                  </a:cubicBezTo>
                  <a:lnTo>
                    <a:pt x="23769" y="802924"/>
                  </a:lnTo>
                  <a:cubicBezTo>
                    <a:pt x="21045" y="805612"/>
                    <a:pt x="17501" y="806939"/>
                    <a:pt x="13957" y="806939"/>
                  </a:cubicBezTo>
                  <a:close/>
                  <a:moveTo>
                    <a:pt x="100520" y="720394"/>
                  </a:moveTo>
                  <a:cubicBezTo>
                    <a:pt x="96975" y="720394"/>
                    <a:pt x="93432" y="719049"/>
                    <a:pt x="90708" y="716378"/>
                  </a:cubicBezTo>
                  <a:cubicBezTo>
                    <a:pt x="85208" y="710966"/>
                    <a:pt x="85155" y="702114"/>
                    <a:pt x="90568" y="696631"/>
                  </a:cubicBezTo>
                  <a:lnTo>
                    <a:pt x="90690" y="696509"/>
                  </a:lnTo>
                  <a:cubicBezTo>
                    <a:pt x="96102" y="691009"/>
                    <a:pt x="104954" y="690957"/>
                    <a:pt x="110437" y="696370"/>
                  </a:cubicBezTo>
                  <a:cubicBezTo>
                    <a:pt x="115936" y="701782"/>
                    <a:pt x="115989" y="710634"/>
                    <a:pt x="110576" y="716116"/>
                  </a:cubicBezTo>
                  <a:lnTo>
                    <a:pt x="110454" y="716238"/>
                  </a:lnTo>
                  <a:cubicBezTo>
                    <a:pt x="107713" y="719014"/>
                    <a:pt x="104116" y="720394"/>
                    <a:pt x="100502" y="720394"/>
                  </a:cubicBezTo>
                  <a:close/>
                  <a:moveTo>
                    <a:pt x="187065" y="633848"/>
                  </a:moveTo>
                  <a:cubicBezTo>
                    <a:pt x="183521" y="633848"/>
                    <a:pt x="179977" y="632503"/>
                    <a:pt x="177253" y="629833"/>
                  </a:cubicBezTo>
                  <a:cubicBezTo>
                    <a:pt x="171754" y="624420"/>
                    <a:pt x="171701" y="615568"/>
                    <a:pt x="177114" y="610086"/>
                  </a:cubicBezTo>
                  <a:lnTo>
                    <a:pt x="177236" y="609964"/>
                  </a:lnTo>
                  <a:cubicBezTo>
                    <a:pt x="182648" y="604464"/>
                    <a:pt x="191500" y="604412"/>
                    <a:pt x="196982" y="609824"/>
                  </a:cubicBezTo>
                  <a:cubicBezTo>
                    <a:pt x="202482" y="615236"/>
                    <a:pt x="202534" y="624088"/>
                    <a:pt x="197122" y="629570"/>
                  </a:cubicBezTo>
                  <a:lnTo>
                    <a:pt x="197000" y="629693"/>
                  </a:lnTo>
                  <a:cubicBezTo>
                    <a:pt x="194276" y="632469"/>
                    <a:pt x="190662" y="633848"/>
                    <a:pt x="187048" y="633848"/>
                  </a:cubicBezTo>
                  <a:close/>
                  <a:moveTo>
                    <a:pt x="273646" y="547215"/>
                  </a:moveTo>
                  <a:cubicBezTo>
                    <a:pt x="270084" y="547215"/>
                    <a:pt x="266505" y="545871"/>
                    <a:pt x="263799" y="543147"/>
                  </a:cubicBezTo>
                  <a:cubicBezTo>
                    <a:pt x="258352" y="537700"/>
                    <a:pt x="258282" y="528918"/>
                    <a:pt x="263729" y="523453"/>
                  </a:cubicBezTo>
                  <a:lnTo>
                    <a:pt x="263851" y="523331"/>
                  </a:lnTo>
                  <a:cubicBezTo>
                    <a:pt x="269299" y="517884"/>
                    <a:pt x="278150" y="517884"/>
                    <a:pt x="283598" y="523331"/>
                  </a:cubicBezTo>
                  <a:cubicBezTo>
                    <a:pt x="289045" y="528778"/>
                    <a:pt x="289045" y="537630"/>
                    <a:pt x="283598" y="543077"/>
                  </a:cubicBezTo>
                  <a:cubicBezTo>
                    <a:pt x="280857" y="545818"/>
                    <a:pt x="277242" y="547198"/>
                    <a:pt x="273629" y="547198"/>
                  </a:cubicBezTo>
                  <a:close/>
                  <a:moveTo>
                    <a:pt x="360157" y="460774"/>
                  </a:moveTo>
                  <a:cubicBezTo>
                    <a:pt x="356542" y="460774"/>
                    <a:pt x="352945" y="459395"/>
                    <a:pt x="350205" y="456619"/>
                  </a:cubicBezTo>
                  <a:cubicBezTo>
                    <a:pt x="344792" y="451119"/>
                    <a:pt x="344845" y="442285"/>
                    <a:pt x="350344" y="436873"/>
                  </a:cubicBezTo>
                  <a:lnTo>
                    <a:pt x="350466" y="436750"/>
                  </a:lnTo>
                  <a:cubicBezTo>
                    <a:pt x="355949" y="431338"/>
                    <a:pt x="364800" y="431390"/>
                    <a:pt x="370213" y="436890"/>
                  </a:cubicBezTo>
                  <a:cubicBezTo>
                    <a:pt x="375625" y="442390"/>
                    <a:pt x="375573" y="451224"/>
                    <a:pt x="370073" y="456636"/>
                  </a:cubicBezTo>
                  <a:lnTo>
                    <a:pt x="369951" y="456759"/>
                  </a:lnTo>
                  <a:cubicBezTo>
                    <a:pt x="367227" y="459447"/>
                    <a:pt x="363684" y="460774"/>
                    <a:pt x="360139" y="460774"/>
                  </a:cubicBezTo>
                  <a:close/>
                  <a:moveTo>
                    <a:pt x="446685" y="374229"/>
                  </a:moveTo>
                  <a:cubicBezTo>
                    <a:pt x="443070" y="374229"/>
                    <a:pt x="439474" y="372849"/>
                    <a:pt x="436733" y="370074"/>
                  </a:cubicBezTo>
                  <a:cubicBezTo>
                    <a:pt x="431320" y="364574"/>
                    <a:pt x="431373" y="355739"/>
                    <a:pt x="436873" y="350327"/>
                  </a:cubicBezTo>
                  <a:lnTo>
                    <a:pt x="436995" y="350205"/>
                  </a:lnTo>
                  <a:cubicBezTo>
                    <a:pt x="442494" y="344793"/>
                    <a:pt x="451329" y="344845"/>
                    <a:pt x="456741" y="350344"/>
                  </a:cubicBezTo>
                  <a:cubicBezTo>
                    <a:pt x="462154" y="355844"/>
                    <a:pt x="462101" y="364678"/>
                    <a:pt x="456601" y="370091"/>
                  </a:cubicBezTo>
                  <a:lnTo>
                    <a:pt x="456479" y="370213"/>
                  </a:lnTo>
                  <a:cubicBezTo>
                    <a:pt x="453756" y="372902"/>
                    <a:pt x="450212" y="374229"/>
                    <a:pt x="446667" y="374229"/>
                  </a:cubicBezTo>
                  <a:close/>
                  <a:moveTo>
                    <a:pt x="533265" y="287596"/>
                  </a:moveTo>
                  <a:cubicBezTo>
                    <a:pt x="529704" y="287596"/>
                    <a:pt x="526125" y="286252"/>
                    <a:pt x="523418" y="283528"/>
                  </a:cubicBezTo>
                  <a:cubicBezTo>
                    <a:pt x="517971" y="278080"/>
                    <a:pt x="517901" y="269299"/>
                    <a:pt x="523348" y="263834"/>
                  </a:cubicBezTo>
                  <a:lnTo>
                    <a:pt x="523471" y="263711"/>
                  </a:lnTo>
                  <a:cubicBezTo>
                    <a:pt x="528918" y="258264"/>
                    <a:pt x="537770" y="258264"/>
                    <a:pt x="543217" y="263711"/>
                  </a:cubicBezTo>
                  <a:cubicBezTo>
                    <a:pt x="548664" y="269159"/>
                    <a:pt x="548664" y="278011"/>
                    <a:pt x="543217" y="283458"/>
                  </a:cubicBezTo>
                  <a:cubicBezTo>
                    <a:pt x="540476" y="286199"/>
                    <a:pt x="536862" y="287579"/>
                    <a:pt x="533247" y="287579"/>
                  </a:cubicBezTo>
                  <a:close/>
                  <a:moveTo>
                    <a:pt x="619776" y="201138"/>
                  </a:moveTo>
                  <a:cubicBezTo>
                    <a:pt x="616232" y="201138"/>
                    <a:pt x="612687" y="199793"/>
                    <a:pt x="609964" y="197122"/>
                  </a:cubicBezTo>
                  <a:cubicBezTo>
                    <a:pt x="604464" y="191709"/>
                    <a:pt x="604412" y="182858"/>
                    <a:pt x="609824" y="177375"/>
                  </a:cubicBezTo>
                  <a:lnTo>
                    <a:pt x="609946" y="177253"/>
                  </a:lnTo>
                  <a:cubicBezTo>
                    <a:pt x="615359" y="171754"/>
                    <a:pt x="624210" y="171701"/>
                    <a:pt x="629693" y="177114"/>
                  </a:cubicBezTo>
                  <a:cubicBezTo>
                    <a:pt x="635192" y="182526"/>
                    <a:pt x="635245" y="191378"/>
                    <a:pt x="629833" y="196860"/>
                  </a:cubicBezTo>
                  <a:lnTo>
                    <a:pt x="629710" y="196982"/>
                  </a:lnTo>
                  <a:cubicBezTo>
                    <a:pt x="626969" y="199758"/>
                    <a:pt x="623372" y="201138"/>
                    <a:pt x="619759" y="201138"/>
                  </a:cubicBezTo>
                  <a:close/>
                  <a:moveTo>
                    <a:pt x="706322" y="114592"/>
                  </a:moveTo>
                  <a:cubicBezTo>
                    <a:pt x="702742" y="114592"/>
                    <a:pt x="699180" y="113230"/>
                    <a:pt x="696440" y="110506"/>
                  </a:cubicBezTo>
                  <a:cubicBezTo>
                    <a:pt x="690992" y="105059"/>
                    <a:pt x="690992" y="96207"/>
                    <a:pt x="696440" y="90760"/>
                  </a:cubicBezTo>
                  <a:lnTo>
                    <a:pt x="696561" y="90638"/>
                  </a:lnTo>
                  <a:cubicBezTo>
                    <a:pt x="702009" y="85190"/>
                    <a:pt x="710860" y="85190"/>
                    <a:pt x="716308" y="90638"/>
                  </a:cubicBezTo>
                  <a:cubicBezTo>
                    <a:pt x="721755" y="96085"/>
                    <a:pt x="721755" y="104937"/>
                    <a:pt x="716308" y="110384"/>
                  </a:cubicBezTo>
                  <a:lnTo>
                    <a:pt x="716186" y="110506"/>
                  </a:lnTo>
                  <a:cubicBezTo>
                    <a:pt x="713462" y="113230"/>
                    <a:pt x="709884" y="114592"/>
                    <a:pt x="706304" y="114592"/>
                  </a:cubicBezTo>
                  <a:close/>
                  <a:moveTo>
                    <a:pt x="792867" y="28046"/>
                  </a:moveTo>
                  <a:cubicBezTo>
                    <a:pt x="789253" y="28046"/>
                    <a:pt x="785657" y="26667"/>
                    <a:pt x="782915" y="23891"/>
                  </a:cubicBezTo>
                  <a:cubicBezTo>
                    <a:pt x="777503" y="18391"/>
                    <a:pt x="777555" y="9557"/>
                    <a:pt x="783055" y="4145"/>
                  </a:cubicBezTo>
                  <a:lnTo>
                    <a:pt x="783177" y="4022"/>
                  </a:lnTo>
                  <a:cubicBezTo>
                    <a:pt x="788659" y="-1390"/>
                    <a:pt x="797511" y="-1337"/>
                    <a:pt x="802924" y="4162"/>
                  </a:cubicBezTo>
                  <a:cubicBezTo>
                    <a:pt x="808336" y="9662"/>
                    <a:pt x="808284" y="18496"/>
                    <a:pt x="802784" y="23909"/>
                  </a:cubicBezTo>
                  <a:lnTo>
                    <a:pt x="802661" y="24031"/>
                  </a:lnTo>
                  <a:cubicBezTo>
                    <a:pt x="799938" y="26719"/>
                    <a:pt x="796394" y="28046"/>
                    <a:pt x="792850" y="28046"/>
                  </a:cubicBezTo>
                  <a:close/>
                </a:path>
              </a:pathLst>
            </a:custGeom>
            <a:grpFill/>
            <a:ln w="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81D9B8A3-E665-6281-C628-CE10C14C3585}"/>
                </a:ext>
              </a:extLst>
            </p:cNvPr>
            <p:cNvSpPr/>
            <p:nvPr/>
          </p:nvSpPr>
          <p:spPr>
            <a:xfrm>
              <a:off x="8186499" y="4486320"/>
              <a:ext cx="721554" cy="721552"/>
            </a:xfrm>
            <a:custGeom>
              <a:avLst/>
              <a:gdLst>
                <a:gd name="connsiteX0" fmla="*/ 14546 w 721554"/>
                <a:gd name="connsiteY0" fmla="*/ 721552 h 721552"/>
                <a:gd name="connsiteX1" fmla="*/ 4193 w 721554"/>
                <a:gd name="connsiteY1" fmla="*/ 717222 h 721552"/>
                <a:gd name="connsiteX2" fmla="*/ 4332 w 721554"/>
                <a:gd name="connsiteY2" fmla="*/ 696655 h 721552"/>
                <a:gd name="connsiteX3" fmla="*/ 4454 w 721554"/>
                <a:gd name="connsiteY3" fmla="*/ 696533 h 721552"/>
                <a:gd name="connsiteX4" fmla="*/ 25039 w 721554"/>
                <a:gd name="connsiteY4" fmla="*/ 696673 h 721552"/>
                <a:gd name="connsiteX5" fmla="*/ 24900 w 721554"/>
                <a:gd name="connsiteY5" fmla="*/ 717240 h 721552"/>
                <a:gd name="connsiteX6" fmla="*/ 24777 w 721554"/>
                <a:gd name="connsiteY6" fmla="*/ 717362 h 721552"/>
                <a:gd name="connsiteX7" fmla="*/ 14563 w 721554"/>
                <a:gd name="connsiteY7" fmla="*/ 721552 h 721552"/>
                <a:gd name="connsiteX8" fmla="*/ 101074 w 721554"/>
                <a:gd name="connsiteY8" fmla="*/ 635024 h 721552"/>
                <a:gd name="connsiteX9" fmla="*/ 90860 w 721554"/>
                <a:gd name="connsiteY9" fmla="*/ 630834 h 721552"/>
                <a:gd name="connsiteX10" fmla="*/ 90721 w 721554"/>
                <a:gd name="connsiteY10" fmla="*/ 610267 h 721552"/>
                <a:gd name="connsiteX11" fmla="*/ 90843 w 721554"/>
                <a:gd name="connsiteY11" fmla="*/ 610145 h 721552"/>
                <a:gd name="connsiteX12" fmla="*/ 111410 w 721554"/>
                <a:gd name="connsiteY12" fmla="*/ 610005 h 721552"/>
                <a:gd name="connsiteX13" fmla="*/ 111550 w 721554"/>
                <a:gd name="connsiteY13" fmla="*/ 630589 h 721552"/>
                <a:gd name="connsiteX14" fmla="*/ 111427 w 721554"/>
                <a:gd name="connsiteY14" fmla="*/ 630712 h 721552"/>
                <a:gd name="connsiteX15" fmla="*/ 101074 w 721554"/>
                <a:gd name="connsiteY15" fmla="*/ 635042 h 721552"/>
                <a:gd name="connsiteX16" fmla="*/ 187620 w 721554"/>
                <a:gd name="connsiteY16" fmla="*/ 548478 h 721552"/>
                <a:gd name="connsiteX17" fmla="*/ 177406 w 721554"/>
                <a:gd name="connsiteY17" fmla="*/ 544288 h 721552"/>
                <a:gd name="connsiteX18" fmla="*/ 177266 w 721554"/>
                <a:gd name="connsiteY18" fmla="*/ 523721 h 721552"/>
                <a:gd name="connsiteX19" fmla="*/ 177389 w 721554"/>
                <a:gd name="connsiteY19" fmla="*/ 523599 h 721552"/>
                <a:gd name="connsiteX20" fmla="*/ 197956 w 721554"/>
                <a:gd name="connsiteY20" fmla="*/ 523459 h 721552"/>
                <a:gd name="connsiteX21" fmla="*/ 198095 w 721554"/>
                <a:gd name="connsiteY21" fmla="*/ 544026 h 721552"/>
                <a:gd name="connsiteX22" fmla="*/ 197973 w 721554"/>
                <a:gd name="connsiteY22" fmla="*/ 544149 h 721552"/>
                <a:gd name="connsiteX23" fmla="*/ 187620 w 721554"/>
                <a:gd name="connsiteY23" fmla="*/ 548478 h 721552"/>
                <a:gd name="connsiteX24" fmla="*/ 274200 w 721554"/>
                <a:gd name="connsiteY24" fmla="*/ 461846 h 721552"/>
                <a:gd name="connsiteX25" fmla="*/ 263934 w 721554"/>
                <a:gd name="connsiteY25" fmla="*/ 457620 h 721552"/>
                <a:gd name="connsiteX26" fmla="*/ 263865 w 721554"/>
                <a:gd name="connsiteY26" fmla="*/ 437106 h 721552"/>
                <a:gd name="connsiteX27" fmla="*/ 263987 w 721554"/>
                <a:gd name="connsiteY27" fmla="*/ 436983 h 721552"/>
                <a:gd name="connsiteX28" fmla="*/ 284571 w 721554"/>
                <a:gd name="connsiteY28" fmla="*/ 436983 h 721552"/>
                <a:gd name="connsiteX29" fmla="*/ 284571 w 721554"/>
                <a:gd name="connsiteY29" fmla="*/ 457568 h 721552"/>
                <a:gd name="connsiteX30" fmla="*/ 274183 w 721554"/>
                <a:gd name="connsiteY30" fmla="*/ 461863 h 721552"/>
                <a:gd name="connsiteX31" fmla="*/ 360711 w 721554"/>
                <a:gd name="connsiteY31" fmla="*/ 375387 h 721552"/>
                <a:gd name="connsiteX32" fmla="*/ 350357 w 721554"/>
                <a:gd name="connsiteY32" fmla="*/ 371058 h 721552"/>
                <a:gd name="connsiteX33" fmla="*/ 350497 w 721554"/>
                <a:gd name="connsiteY33" fmla="*/ 350473 h 721552"/>
                <a:gd name="connsiteX34" fmla="*/ 350620 w 721554"/>
                <a:gd name="connsiteY34" fmla="*/ 350351 h 721552"/>
                <a:gd name="connsiteX35" fmla="*/ 371186 w 721554"/>
                <a:gd name="connsiteY35" fmla="*/ 350491 h 721552"/>
                <a:gd name="connsiteX36" fmla="*/ 371047 w 721554"/>
                <a:gd name="connsiteY36" fmla="*/ 371075 h 721552"/>
                <a:gd name="connsiteX37" fmla="*/ 370925 w 721554"/>
                <a:gd name="connsiteY37" fmla="*/ 371197 h 721552"/>
                <a:gd name="connsiteX38" fmla="*/ 360711 w 721554"/>
                <a:gd name="connsiteY38" fmla="*/ 375387 h 721552"/>
                <a:gd name="connsiteX39" fmla="*/ 447256 w 721554"/>
                <a:gd name="connsiteY39" fmla="*/ 288842 h 721552"/>
                <a:gd name="connsiteX40" fmla="*/ 436903 w 721554"/>
                <a:gd name="connsiteY40" fmla="*/ 284512 h 721552"/>
                <a:gd name="connsiteX41" fmla="*/ 437043 w 721554"/>
                <a:gd name="connsiteY41" fmla="*/ 263927 h 721552"/>
                <a:gd name="connsiteX42" fmla="*/ 437165 w 721554"/>
                <a:gd name="connsiteY42" fmla="*/ 263805 h 721552"/>
                <a:gd name="connsiteX43" fmla="*/ 457732 w 721554"/>
                <a:gd name="connsiteY43" fmla="*/ 263945 h 721552"/>
                <a:gd name="connsiteX44" fmla="*/ 457593 w 721554"/>
                <a:gd name="connsiteY44" fmla="*/ 284529 h 721552"/>
                <a:gd name="connsiteX45" fmla="*/ 457470 w 721554"/>
                <a:gd name="connsiteY45" fmla="*/ 284651 h 721552"/>
                <a:gd name="connsiteX46" fmla="*/ 447256 w 721554"/>
                <a:gd name="connsiteY46" fmla="*/ 288842 h 721552"/>
                <a:gd name="connsiteX47" fmla="*/ 533819 w 721554"/>
                <a:gd name="connsiteY47" fmla="*/ 202209 h 721552"/>
                <a:gd name="connsiteX48" fmla="*/ 523553 w 721554"/>
                <a:gd name="connsiteY48" fmla="*/ 197984 h 721552"/>
                <a:gd name="connsiteX49" fmla="*/ 523484 w 721554"/>
                <a:gd name="connsiteY49" fmla="*/ 177469 h 721552"/>
                <a:gd name="connsiteX50" fmla="*/ 523605 w 721554"/>
                <a:gd name="connsiteY50" fmla="*/ 177347 h 721552"/>
                <a:gd name="connsiteX51" fmla="*/ 544190 w 721554"/>
                <a:gd name="connsiteY51" fmla="*/ 177347 h 721552"/>
                <a:gd name="connsiteX52" fmla="*/ 544190 w 721554"/>
                <a:gd name="connsiteY52" fmla="*/ 197931 h 721552"/>
                <a:gd name="connsiteX53" fmla="*/ 533819 w 721554"/>
                <a:gd name="connsiteY53" fmla="*/ 202226 h 721552"/>
                <a:gd name="connsiteX54" fmla="*/ 620330 w 721554"/>
                <a:gd name="connsiteY54" fmla="*/ 115768 h 721552"/>
                <a:gd name="connsiteX55" fmla="*/ 610117 w 721554"/>
                <a:gd name="connsiteY55" fmla="*/ 111578 h 721552"/>
                <a:gd name="connsiteX56" fmla="*/ 609977 w 721554"/>
                <a:gd name="connsiteY56" fmla="*/ 91011 h 721552"/>
                <a:gd name="connsiteX57" fmla="*/ 610099 w 721554"/>
                <a:gd name="connsiteY57" fmla="*/ 90888 h 721552"/>
                <a:gd name="connsiteX58" fmla="*/ 630666 w 721554"/>
                <a:gd name="connsiteY58" fmla="*/ 90749 h 721552"/>
                <a:gd name="connsiteX59" fmla="*/ 630806 w 721554"/>
                <a:gd name="connsiteY59" fmla="*/ 111316 h 721552"/>
                <a:gd name="connsiteX60" fmla="*/ 630683 w 721554"/>
                <a:gd name="connsiteY60" fmla="*/ 111438 h 721552"/>
                <a:gd name="connsiteX61" fmla="*/ 620330 w 721554"/>
                <a:gd name="connsiteY61" fmla="*/ 115768 h 721552"/>
                <a:gd name="connsiteX62" fmla="*/ 706876 w 721554"/>
                <a:gd name="connsiteY62" fmla="*/ 29223 h 721552"/>
                <a:gd name="connsiteX63" fmla="*/ 696592 w 721554"/>
                <a:gd name="connsiteY63" fmla="*/ 24962 h 721552"/>
                <a:gd name="connsiteX64" fmla="*/ 696592 w 721554"/>
                <a:gd name="connsiteY64" fmla="*/ 4378 h 721552"/>
                <a:gd name="connsiteX65" fmla="*/ 696715 w 721554"/>
                <a:gd name="connsiteY65" fmla="*/ 4256 h 721552"/>
                <a:gd name="connsiteX66" fmla="*/ 717299 w 721554"/>
                <a:gd name="connsiteY66" fmla="*/ 4256 h 721552"/>
                <a:gd name="connsiteX67" fmla="*/ 717299 w 721554"/>
                <a:gd name="connsiteY67" fmla="*/ 24840 h 721552"/>
                <a:gd name="connsiteX68" fmla="*/ 717177 w 721554"/>
                <a:gd name="connsiteY68" fmla="*/ 24962 h 721552"/>
                <a:gd name="connsiteX69" fmla="*/ 706894 w 721554"/>
                <a:gd name="connsiteY69" fmla="*/ 29223 h 72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21554" h="721552">
                  <a:moveTo>
                    <a:pt x="14546" y="721552"/>
                  </a:moveTo>
                  <a:cubicBezTo>
                    <a:pt x="10792" y="721552"/>
                    <a:pt x="7038" y="720103"/>
                    <a:pt x="4193" y="717222"/>
                  </a:cubicBezTo>
                  <a:cubicBezTo>
                    <a:pt x="-1447" y="711496"/>
                    <a:pt x="-1394" y="702295"/>
                    <a:pt x="4332" y="696655"/>
                  </a:cubicBezTo>
                  <a:lnTo>
                    <a:pt x="4454" y="696533"/>
                  </a:lnTo>
                  <a:cubicBezTo>
                    <a:pt x="10181" y="690894"/>
                    <a:pt x="19382" y="690964"/>
                    <a:pt x="25039" y="696673"/>
                  </a:cubicBezTo>
                  <a:cubicBezTo>
                    <a:pt x="30678" y="702399"/>
                    <a:pt x="30626" y="711600"/>
                    <a:pt x="24900" y="717240"/>
                  </a:cubicBezTo>
                  <a:lnTo>
                    <a:pt x="24777" y="717362"/>
                  </a:lnTo>
                  <a:cubicBezTo>
                    <a:pt x="21949" y="720156"/>
                    <a:pt x="18247" y="721552"/>
                    <a:pt x="14563" y="721552"/>
                  </a:cubicBezTo>
                  <a:close/>
                  <a:moveTo>
                    <a:pt x="101074" y="635024"/>
                  </a:moveTo>
                  <a:cubicBezTo>
                    <a:pt x="97390" y="635024"/>
                    <a:pt x="93689" y="633627"/>
                    <a:pt x="90860" y="630834"/>
                  </a:cubicBezTo>
                  <a:cubicBezTo>
                    <a:pt x="85134" y="625194"/>
                    <a:pt x="85082" y="615976"/>
                    <a:pt x="90721" y="610267"/>
                  </a:cubicBezTo>
                  <a:lnTo>
                    <a:pt x="90843" y="610145"/>
                  </a:lnTo>
                  <a:cubicBezTo>
                    <a:pt x="96483" y="604418"/>
                    <a:pt x="105701" y="604366"/>
                    <a:pt x="111410" y="610005"/>
                  </a:cubicBezTo>
                  <a:cubicBezTo>
                    <a:pt x="117137" y="615644"/>
                    <a:pt x="117189" y="624863"/>
                    <a:pt x="111550" y="630589"/>
                  </a:cubicBezTo>
                  <a:lnTo>
                    <a:pt x="111427" y="630712"/>
                  </a:lnTo>
                  <a:cubicBezTo>
                    <a:pt x="108582" y="633592"/>
                    <a:pt x="104828" y="635042"/>
                    <a:pt x="101074" y="635042"/>
                  </a:cubicBezTo>
                  <a:close/>
                  <a:moveTo>
                    <a:pt x="187620" y="548478"/>
                  </a:moveTo>
                  <a:cubicBezTo>
                    <a:pt x="183936" y="548478"/>
                    <a:pt x="180235" y="547082"/>
                    <a:pt x="177406" y="544288"/>
                  </a:cubicBezTo>
                  <a:cubicBezTo>
                    <a:pt x="171679" y="538649"/>
                    <a:pt x="171627" y="529431"/>
                    <a:pt x="177266" y="523721"/>
                  </a:cubicBezTo>
                  <a:lnTo>
                    <a:pt x="177389" y="523599"/>
                  </a:lnTo>
                  <a:cubicBezTo>
                    <a:pt x="183028" y="517872"/>
                    <a:pt x="192247" y="517820"/>
                    <a:pt x="197956" y="523459"/>
                  </a:cubicBezTo>
                  <a:cubicBezTo>
                    <a:pt x="203682" y="529099"/>
                    <a:pt x="203734" y="538317"/>
                    <a:pt x="198095" y="544026"/>
                  </a:cubicBezTo>
                  <a:lnTo>
                    <a:pt x="197973" y="544149"/>
                  </a:lnTo>
                  <a:cubicBezTo>
                    <a:pt x="195127" y="547029"/>
                    <a:pt x="191374" y="548478"/>
                    <a:pt x="187620" y="548478"/>
                  </a:cubicBezTo>
                  <a:close/>
                  <a:moveTo>
                    <a:pt x="274200" y="461846"/>
                  </a:moveTo>
                  <a:cubicBezTo>
                    <a:pt x="270481" y="461846"/>
                    <a:pt x="266762" y="460449"/>
                    <a:pt x="263934" y="457620"/>
                  </a:cubicBezTo>
                  <a:cubicBezTo>
                    <a:pt x="258260" y="451946"/>
                    <a:pt x="258190" y="442780"/>
                    <a:pt x="263865" y="437106"/>
                  </a:cubicBezTo>
                  <a:lnTo>
                    <a:pt x="263987" y="436983"/>
                  </a:lnTo>
                  <a:cubicBezTo>
                    <a:pt x="269661" y="431309"/>
                    <a:pt x="278879" y="431309"/>
                    <a:pt x="284571" y="436983"/>
                  </a:cubicBezTo>
                  <a:cubicBezTo>
                    <a:pt x="290245" y="442658"/>
                    <a:pt x="290245" y="451876"/>
                    <a:pt x="284571" y="457568"/>
                  </a:cubicBezTo>
                  <a:cubicBezTo>
                    <a:pt x="281708" y="460431"/>
                    <a:pt x="277954" y="461863"/>
                    <a:pt x="274183" y="461863"/>
                  </a:cubicBezTo>
                  <a:close/>
                  <a:moveTo>
                    <a:pt x="360711" y="375387"/>
                  </a:moveTo>
                  <a:cubicBezTo>
                    <a:pt x="356957" y="375387"/>
                    <a:pt x="353204" y="373938"/>
                    <a:pt x="350357" y="371058"/>
                  </a:cubicBezTo>
                  <a:cubicBezTo>
                    <a:pt x="344718" y="365331"/>
                    <a:pt x="344771" y="356130"/>
                    <a:pt x="350497" y="350473"/>
                  </a:cubicBezTo>
                  <a:lnTo>
                    <a:pt x="350620" y="350351"/>
                  </a:lnTo>
                  <a:cubicBezTo>
                    <a:pt x="356346" y="344711"/>
                    <a:pt x="365547" y="344764"/>
                    <a:pt x="371186" y="350491"/>
                  </a:cubicBezTo>
                  <a:cubicBezTo>
                    <a:pt x="376826" y="356217"/>
                    <a:pt x="376774" y="365418"/>
                    <a:pt x="371047" y="371075"/>
                  </a:cubicBezTo>
                  <a:lnTo>
                    <a:pt x="370925" y="371197"/>
                  </a:lnTo>
                  <a:cubicBezTo>
                    <a:pt x="368096" y="373991"/>
                    <a:pt x="364394" y="375387"/>
                    <a:pt x="360711" y="375387"/>
                  </a:cubicBezTo>
                  <a:close/>
                  <a:moveTo>
                    <a:pt x="447256" y="288842"/>
                  </a:moveTo>
                  <a:cubicBezTo>
                    <a:pt x="443503" y="288842"/>
                    <a:pt x="439749" y="287393"/>
                    <a:pt x="436903" y="284512"/>
                  </a:cubicBezTo>
                  <a:cubicBezTo>
                    <a:pt x="431264" y="278785"/>
                    <a:pt x="431316" y="269584"/>
                    <a:pt x="437043" y="263927"/>
                  </a:cubicBezTo>
                  <a:lnTo>
                    <a:pt x="437165" y="263805"/>
                  </a:lnTo>
                  <a:cubicBezTo>
                    <a:pt x="442891" y="258166"/>
                    <a:pt x="452092" y="258218"/>
                    <a:pt x="457732" y="263945"/>
                  </a:cubicBezTo>
                  <a:cubicBezTo>
                    <a:pt x="463371" y="269672"/>
                    <a:pt x="463319" y="278873"/>
                    <a:pt x="457593" y="284529"/>
                  </a:cubicBezTo>
                  <a:lnTo>
                    <a:pt x="457470" y="284651"/>
                  </a:lnTo>
                  <a:cubicBezTo>
                    <a:pt x="454641" y="287445"/>
                    <a:pt x="450941" y="288842"/>
                    <a:pt x="447256" y="288842"/>
                  </a:cubicBezTo>
                  <a:close/>
                  <a:moveTo>
                    <a:pt x="533819" y="202209"/>
                  </a:moveTo>
                  <a:cubicBezTo>
                    <a:pt x="530101" y="202209"/>
                    <a:pt x="526382" y="200812"/>
                    <a:pt x="523553" y="197984"/>
                  </a:cubicBezTo>
                  <a:cubicBezTo>
                    <a:pt x="517879" y="192309"/>
                    <a:pt x="517809" y="183143"/>
                    <a:pt x="523484" y="177469"/>
                  </a:cubicBezTo>
                  <a:lnTo>
                    <a:pt x="523605" y="177347"/>
                  </a:lnTo>
                  <a:cubicBezTo>
                    <a:pt x="529280" y="171672"/>
                    <a:pt x="538499" y="171672"/>
                    <a:pt x="544190" y="177347"/>
                  </a:cubicBezTo>
                  <a:cubicBezTo>
                    <a:pt x="549882" y="183021"/>
                    <a:pt x="549864" y="192239"/>
                    <a:pt x="544190" y="197931"/>
                  </a:cubicBezTo>
                  <a:cubicBezTo>
                    <a:pt x="541327" y="200795"/>
                    <a:pt x="537573" y="202226"/>
                    <a:pt x="533819" y="202226"/>
                  </a:cubicBezTo>
                  <a:close/>
                  <a:moveTo>
                    <a:pt x="620330" y="115768"/>
                  </a:moveTo>
                  <a:cubicBezTo>
                    <a:pt x="616646" y="115768"/>
                    <a:pt x="612945" y="114371"/>
                    <a:pt x="610117" y="111578"/>
                  </a:cubicBezTo>
                  <a:cubicBezTo>
                    <a:pt x="604390" y="105938"/>
                    <a:pt x="604338" y="96720"/>
                    <a:pt x="609977" y="91011"/>
                  </a:cubicBezTo>
                  <a:lnTo>
                    <a:pt x="610099" y="90888"/>
                  </a:lnTo>
                  <a:cubicBezTo>
                    <a:pt x="615738" y="85162"/>
                    <a:pt x="624957" y="85110"/>
                    <a:pt x="630666" y="90749"/>
                  </a:cubicBezTo>
                  <a:cubicBezTo>
                    <a:pt x="636392" y="96388"/>
                    <a:pt x="636445" y="105607"/>
                    <a:pt x="630806" y="111316"/>
                  </a:cubicBezTo>
                  <a:lnTo>
                    <a:pt x="630683" y="111438"/>
                  </a:lnTo>
                  <a:cubicBezTo>
                    <a:pt x="627838" y="114319"/>
                    <a:pt x="624084" y="115768"/>
                    <a:pt x="620330" y="115768"/>
                  </a:cubicBezTo>
                  <a:close/>
                  <a:moveTo>
                    <a:pt x="706876" y="29223"/>
                  </a:moveTo>
                  <a:cubicBezTo>
                    <a:pt x="703157" y="29223"/>
                    <a:pt x="699421" y="27808"/>
                    <a:pt x="696592" y="24962"/>
                  </a:cubicBezTo>
                  <a:cubicBezTo>
                    <a:pt x="690918" y="19288"/>
                    <a:pt x="690918" y="10070"/>
                    <a:pt x="696592" y="4378"/>
                  </a:cubicBezTo>
                  <a:lnTo>
                    <a:pt x="696715" y="4256"/>
                  </a:lnTo>
                  <a:cubicBezTo>
                    <a:pt x="702389" y="-1419"/>
                    <a:pt x="711607" y="-1419"/>
                    <a:pt x="717299" y="4256"/>
                  </a:cubicBezTo>
                  <a:cubicBezTo>
                    <a:pt x="722974" y="9930"/>
                    <a:pt x="722974" y="19149"/>
                    <a:pt x="717299" y="24840"/>
                  </a:cubicBezTo>
                  <a:lnTo>
                    <a:pt x="717177" y="24962"/>
                  </a:lnTo>
                  <a:cubicBezTo>
                    <a:pt x="714331" y="27808"/>
                    <a:pt x="710612" y="29223"/>
                    <a:pt x="706894" y="29223"/>
                  </a:cubicBezTo>
                  <a:close/>
                </a:path>
              </a:pathLst>
            </a:custGeom>
            <a:grpFill/>
            <a:ln w="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AA01906-6670-2C4D-D5CD-BF3E05DB4C2D}"/>
                </a:ext>
              </a:extLst>
            </p:cNvPr>
            <p:cNvSpPr/>
            <p:nvPr/>
          </p:nvSpPr>
          <p:spPr>
            <a:xfrm>
              <a:off x="8335036" y="4632475"/>
              <a:ext cx="549600" cy="549574"/>
            </a:xfrm>
            <a:custGeom>
              <a:avLst/>
              <a:gdLst>
                <a:gd name="connsiteX0" fmla="*/ 15129 w 549600"/>
                <a:gd name="connsiteY0" fmla="*/ 549557 h 549574"/>
                <a:gd name="connsiteX1" fmla="*/ 4461 w 549600"/>
                <a:gd name="connsiteY1" fmla="*/ 545157 h 549574"/>
                <a:gd name="connsiteX2" fmla="*/ 4391 w 549600"/>
                <a:gd name="connsiteY2" fmla="*/ 523822 h 549574"/>
                <a:gd name="connsiteX3" fmla="*/ 4513 w 549600"/>
                <a:gd name="connsiteY3" fmla="*/ 523700 h 549574"/>
                <a:gd name="connsiteX4" fmla="*/ 25918 w 549600"/>
                <a:gd name="connsiteY4" fmla="*/ 523700 h 549574"/>
                <a:gd name="connsiteX5" fmla="*/ 25918 w 549600"/>
                <a:gd name="connsiteY5" fmla="*/ 545105 h 549574"/>
                <a:gd name="connsiteX6" fmla="*/ 15129 w 549600"/>
                <a:gd name="connsiteY6" fmla="*/ 549575 h 549574"/>
                <a:gd name="connsiteX7" fmla="*/ 101622 w 549600"/>
                <a:gd name="connsiteY7" fmla="*/ 463099 h 549574"/>
                <a:gd name="connsiteX8" fmla="*/ 90850 w 549600"/>
                <a:gd name="connsiteY8" fmla="*/ 458594 h 549574"/>
                <a:gd name="connsiteX9" fmla="*/ 90989 w 549600"/>
                <a:gd name="connsiteY9" fmla="*/ 437189 h 549574"/>
                <a:gd name="connsiteX10" fmla="*/ 91111 w 549600"/>
                <a:gd name="connsiteY10" fmla="*/ 437067 h 549574"/>
                <a:gd name="connsiteX11" fmla="*/ 112516 w 549600"/>
                <a:gd name="connsiteY11" fmla="*/ 437207 h 549574"/>
                <a:gd name="connsiteX12" fmla="*/ 112376 w 549600"/>
                <a:gd name="connsiteY12" fmla="*/ 458612 h 549574"/>
                <a:gd name="connsiteX13" fmla="*/ 112254 w 549600"/>
                <a:gd name="connsiteY13" fmla="*/ 458734 h 549574"/>
                <a:gd name="connsiteX14" fmla="*/ 101622 w 549600"/>
                <a:gd name="connsiteY14" fmla="*/ 463099 h 549574"/>
                <a:gd name="connsiteX15" fmla="*/ 188167 w 549600"/>
                <a:gd name="connsiteY15" fmla="*/ 376571 h 549574"/>
                <a:gd name="connsiteX16" fmla="*/ 177395 w 549600"/>
                <a:gd name="connsiteY16" fmla="*/ 372066 h 549574"/>
                <a:gd name="connsiteX17" fmla="*/ 177552 w 549600"/>
                <a:gd name="connsiteY17" fmla="*/ 350661 h 549574"/>
                <a:gd name="connsiteX18" fmla="*/ 177675 w 549600"/>
                <a:gd name="connsiteY18" fmla="*/ 350539 h 549574"/>
                <a:gd name="connsiteX19" fmla="*/ 199079 w 549600"/>
                <a:gd name="connsiteY19" fmla="*/ 350696 h 549574"/>
                <a:gd name="connsiteX20" fmla="*/ 198939 w 549600"/>
                <a:gd name="connsiteY20" fmla="*/ 372101 h 549574"/>
                <a:gd name="connsiteX21" fmla="*/ 198818 w 549600"/>
                <a:gd name="connsiteY21" fmla="*/ 372223 h 549574"/>
                <a:gd name="connsiteX22" fmla="*/ 188185 w 549600"/>
                <a:gd name="connsiteY22" fmla="*/ 376588 h 549574"/>
                <a:gd name="connsiteX23" fmla="*/ 274713 w 549600"/>
                <a:gd name="connsiteY23" fmla="*/ 290025 h 549574"/>
                <a:gd name="connsiteX24" fmla="*/ 264080 w 549600"/>
                <a:gd name="connsiteY24" fmla="*/ 285660 h 549574"/>
                <a:gd name="connsiteX25" fmla="*/ 263940 w 549600"/>
                <a:gd name="connsiteY25" fmla="*/ 264255 h 549574"/>
                <a:gd name="connsiteX26" fmla="*/ 264063 w 549600"/>
                <a:gd name="connsiteY26" fmla="*/ 264133 h 549574"/>
                <a:gd name="connsiteX27" fmla="*/ 285468 w 549600"/>
                <a:gd name="connsiteY27" fmla="*/ 263993 h 549574"/>
                <a:gd name="connsiteX28" fmla="*/ 285608 w 549600"/>
                <a:gd name="connsiteY28" fmla="*/ 285398 h 549574"/>
                <a:gd name="connsiteX29" fmla="*/ 285486 w 549600"/>
                <a:gd name="connsiteY29" fmla="*/ 285521 h 549574"/>
                <a:gd name="connsiteX30" fmla="*/ 274713 w 549600"/>
                <a:gd name="connsiteY30" fmla="*/ 290025 h 549574"/>
                <a:gd name="connsiteX31" fmla="*/ 361259 w 549600"/>
                <a:gd name="connsiteY31" fmla="*/ 203480 h 549574"/>
                <a:gd name="connsiteX32" fmla="*/ 350625 w 549600"/>
                <a:gd name="connsiteY32" fmla="*/ 199115 h 549574"/>
                <a:gd name="connsiteX33" fmla="*/ 350486 w 549600"/>
                <a:gd name="connsiteY33" fmla="*/ 177710 h 549574"/>
                <a:gd name="connsiteX34" fmla="*/ 350608 w 549600"/>
                <a:gd name="connsiteY34" fmla="*/ 177587 h 549574"/>
                <a:gd name="connsiteX35" fmla="*/ 372013 w 549600"/>
                <a:gd name="connsiteY35" fmla="*/ 177448 h 549574"/>
                <a:gd name="connsiteX36" fmla="*/ 372153 w 549600"/>
                <a:gd name="connsiteY36" fmla="*/ 198853 h 549574"/>
                <a:gd name="connsiteX37" fmla="*/ 372031 w 549600"/>
                <a:gd name="connsiteY37" fmla="*/ 198975 h 549574"/>
                <a:gd name="connsiteX38" fmla="*/ 361259 w 549600"/>
                <a:gd name="connsiteY38" fmla="*/ 203480 h 549574"/>
                <a:gd name="connsiteX39" fmla="*/ 447804 w 549600"/>
                <a:gd name="connsiteY39" fmla="*/ 116934 h 549574"/>
                <a:gd name="connsiteX40" fmla="*/ 437032 w 549600"/>
                <a:gd name="connsiteY40" fmla="*/ 112429 h 549574"/>
                <a:gd name="connsiteX41" fmla="*/ 437172 w 549600"/>
                <a:gd name="connsiteY41" fmla="*/ 91024 h 549574"/>
                <a:gd name="connsiteX42" fmla="*/ 437293 w 549600"/>
                <a:gd name="connsiteY42" fmla="*/ 90902 h 549574"/>
                <a:gd name="connsiteX43" fmla="*/ 458699 w 549600"/>
                <a:gd name="connsiteY43" fmla="*/ 91042 h 549574"/>
                <a:gd name="connsiteX44" fmla="*/ 458559 w 549600"/>
                <a:gd name="connsiteY44" fmla="*/ 112447 h 549574"/>
                <a:gd name="connsiteX45" fmla="*/ 458436 w 549600"/>
                <a:gd name="connsiteY45" fmla="*/ 112569 h 549574"/>
                <a:gd name="connsiteX46" fmla="*/ 447804 w 549600"/>
                <a:gd name="connsiteY46" fmla="*/ 116934 h 549574"/>
                <a:gd name="connsiteX47" fmla="*/ 534350 w 549600"/>
                <a:gd name="connsiteY47" fmla="*/ 30388 h 549574"/>
                <a:gd name="connsiteX48" fmla="*/ 523577 w 549600"/>
                <a:gd name="connsiteY48" fmla="*/ 25884 h 549574"/>
                <a:gd name="connsiteX49" fmla="*/ 523717 w 549600"/>
                <a:gd name="connsiteY49" fmla="*/ 4479 h 549574"/>
                <a:gd name="connsiteX50" fmla="*/ 523840 w 549600"/>
                <a:gd name="connsiteY50" fmla="*/ 4357 h 549574"/>
                <a:gd name="connsiteX51" fmla="*/ 545244 w 549600"/>
                <a:gd name="connsiteY51" fmla="*/ 4496 h 549574"/>
                <a:gd name="connsiteX52" fmla="*/ 545104 w 549600"/>
                <a:gd name="connsiteY52" fmla="*/ 25901 h 549574"/>
                <a:gd name="connsiteX53" fmla="*/ 544983 w 549600"/>
                <a:gd name="connsiteY53" fmla="*/ 26023 h 549574"/>
                <a:gd name="connsiteX54" fmla="*/ 534350 w 549600"/>
                <a:gd name="connsiteY54" fmla="*/ 30388 h 54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49600" h="549574">
                  <a:moveTo>
                    <a:pt x="15129" y="549557"/>
                  </a:moveTo>
                  <a:cubicBezTo>
                    <a:pt x="11252" y="549557"/>
                    <a:pt x="7394" y="548090"/>
                    <a:pt x="4461" y="545157"/>
                  </a:cubicBezTo>
                  <a:cubicBezTo>
                    <a:pt x="-1440" y="539256"/>
                    <a:pt x="-1510" y="529723"/>
                    <a:pt x="4391" y="523822"/>
                  </a:cubicBezTo>
                  <a:lnTo>
                    <a:pt x="4513" y="523700"/>
                  </a:lnTo>
                  <a:cubicBezTo>
                    <a:pt x="10414" y="517798"/>
                    <a:pt x="19999" y="517798"/>
                    <a:pt x="25918" y="523700"/>
                  </a:cubicBezTo>
                  <a:cubicBezTo>
                    <a:pt x="31819" y="529601"/>
                    <a:pt x="31819" y="539186"/>
                    <a:pt x="25918" y="545105"/>
                  </a:cubicBezTo>
                  <a:cubicBezTo>
                    <a:pt x="22950" y="548073"/>
                    <a:pt x="19040" y="549575"/>
                    <a:pt x="15129" y="549575"/>
                  </a:cubicBezTo>
                  <a:close/>
                  <a:moveTo>
                    <a:pt x="101622" y="463099"/>
                  </a:moveTo>
                  <a:cubicBezTo>
                    <a:pt x="97711" y="463099"/>
                    <a:pt x="93817" y="461597"/>
                    <a:pt x="90850" y="458594"/>
                  </a:cubicBezTo>
                  <a:cubicBezTo>
                    <a:pt x="84983" y="452641"/>
                    <a:pt x="85053" y="443056"/>
                    <a:pt x="90989" y="437189"/>
                  </a:cubicBezTo>
                  <a:lnTo>
                    <a:pt x="91111" y="437067"/>
                  </a:lnTo>
                  <a:cubicBezTo>
                    <a:pt x="97064" y="431201"/>
                    <a:pt x="106632" y="431271"/>
                    <a:pt x="112516" y="437207"/>
                  </a:cubicBezTo>
                  <a:cubicBezTo>
                    <a:pt x="118383" y="443160"/>
                    <a:pt x="118313" y="452746"/>
                    <a:pt x="112376" y="458612"/>
                  </a:cubicBezTo>
                  <a:lnTo>
                    <a:pt x="112254" y="458734"/>
                  </a:lnTo>
                  <a:cubicBezTo>
                    <a:pt x="109304" y="461650"/>
                    <a:pt x="105462" y="463099"/>
                    <a:pt x="101622" y="463099"/>
                  </a:cubicBezTo>
                  <a:close/>
                  <a:moveTo>
                    <a:pt x="188167" y="376571"/>
                  </a:moveTo>
                  <a:cubicBezTo>
                    <a:pt x="184257" y="376571"/>
                    <a:pt x="180363" y="375069"/>
                    <a:pt x="177395" y="372066"/>
                  </a:cubicBezTo>
                  <a:cubicBezTo>
                    <a:pt x="171529" y="366113"/>
                    <a:pt x="171599" y="356527"/>
                    <a:pt x="177552" y="350661"/>
                  </a:cubicBezTo>
                  <a:lnTo>
                    <a:pt x="177675" y="350539"/>
                  </a:lnTo>
                  <a:cubicBezTo>
                    <a:pt x="183628" y="344672"/>
                    <a:pt x="193195" y="344742"/>
                    <a:pt x="199079" y="350696"/>
                  </a:cubicBezTo>
                  <a:cubicBezTo>
                    <a:pt x="204945" y="356650"/>
                    <a:pt x="204875" y="366235"/>
                    <a:pt x="198939" y="372101"/>
                  </a:cubicBezTo>
                  <a:lnTo>
                    <a:pt x="198818" y="372223"/>
                  </a:lnTo>
                  <a:cubicBezTo>
                    <a:pt x="195867" y="375139"/>
                    <a:pt x="192026" y="376588"/>
                    <a:pt x="188185" y="376588"/>
                  </a:cubicBezTo>
                  <a:close/>
                  <a:moveTo>
                    <a:pt x="274713" y="290025"/>
                  </a:moveTo>
                  <a:cubicBezTo>
                    <a:pt x="270872" y="290025"/>
                    <a:pt x="267031" y="288576"/>
                    <a:pt x="264080" y="285660"/>
                  </a:cubicBezTo>
                  <a:cubicBezTo>
                    <a:pt x="258126" y="279794"/>
                    <a:pt x="258057" y="270209"/>
                    <a:pt x="263940" y="264255"/>
                  </a:cubicBezTo>
                  <a:lnTo>
                    <a:pt x="264063" y="264133"/>
                  </a:lnTo>
                  <a:cubicBezTo>
                    <a:pt x="269929" y="258179"/>
                    <a:pt x="279514" y="258109"/>
                    <a:pt x="285468" y="263993"/>
                  </a:cubicBezTo>
                  <a:cubicBezTo>
                    <a:pt x="291422" y="269860"/>
                    <a:pt x="291492" y="279445"/>
                    <a:pt x="285608" y="285398"/>
                  </a:cubicBezTo>
                  <a:lnTo>
                    <a:pt x="285486" y="285521"/>
                  </a:lnTo>
                  <a:cubicBezTo>
                    <a:pt x="282517" y="288524"/>
                    <a:pt x="278624" y="290025"/>
                    <a:pt x="274713" y="290025"/>
                  </a:cubicBezTo>
                  <a:close/>
                  <a:moveTo>
                    <a:pt x="361259" y="203480"/>
                  </a:moveTo>
                  <a:cubicBezTo>
                    <a:pt x="357417" y="203480"/>
                    <a:pt x="353577" y="202030"/>
                    <a:pt x="350625" y="199115"/>
                  </a:cubicBezTo>
                  <a:cubicBezTo>
                    <a:pt x="344672" y="193248"/>
                    <a:pt x="344602" y="183663"/>
                    <a:pt x="350486" y="177710"/>
                  </a:cubicBezTo>
                  <a:lnTo>
                    <a:pt x="350608" y="177587"/>
                  </a:lnTo>
                  <a:cubicBezTo>
                    <a:pt x="356474" y="171634"/>
                    <a:pt x="366060" y="171564"/>
                    <a:pt x="372013" y="177448"/>
                  </a:cubicBezTo>
                  <a:cubicBezTo>
                    <a:pt x="377967" y="183314"/>
                    <a:pt x="378037" y="192899"/>
                    <a:pt x="372153" y="198853"/>
                  </a:cubicBezTo>
                  <a:lnTo>
                    <a:pt x="372031" y="198975"/>
                  </a:lnTo>
                  <a:cubicBezTo>
                    <a:pt x="369062" y="201978"/>
                    <a:pt x="365169" y="203480"/>
                    <a:pt x="361259" y="203480"/>
                  </a:cubicBezTo>
                  <a:close/>
                  <a:moveTo>
                    <a:pt x="447804" y="116934"/>
                  </a:moveTo>
                  <a:cubicBezTo>
                    <a:pt x="443894" y="116934"/>
                    <a:pt x="440000" y="115432"/>
                    <a:pt x="437032" y="112429"/>
                  </a:cubicBezTo>
                  <a:cubicBezTo>
                    <a:pt x="431166" y="106476"/>
                    <a:pt x="431236" y="96891"/>
                    <a:pt x="437172" y="91024"/>
                  </a:cubicBezTo>
                  <a:lnTo>
                    <a:pt x="437293" y="90902"/>
                  </a:lnTo>
                  <a:cubicBezTo>
                    <a:pt x="443247" y="85036"/>
                    <a:pt x="452832" y="85106"/>
                    <a:pt x="458699" y="91042"/>
                  </a:cubicBezTo>
                  <a:cubicBezTo>
                    <a:pt x="464565" y="96996"/>
                    <a:pt x="464495" y="106581"/>
                    <a:pt x="458559" y="112447"/>
                  </a:cubicBezTo>
                  <a:lnTo>
                    <a:pt x="458436" y="112569"/>
                  </a:lnTo>
                  <a:cubicBezTo>
                    <a:pt x="455486" y="115485"/>
                    <a:pt x="451645" y="116934"/>
                    <a:pt x="447804" y="116934"/>
                  </a:cubicBezTo>
                  <a:close/>
                  <a:moveTo>
                    <a:pt x="534350" y="30388"/>
                  </a:moveTo>
                  <a:cubicBezTo>
                    <a:pt x="530439" y="30388"/>
                    <a:pt x="526545" y="28887"/>
                    <a:pt x="523577" y="25884"/>
                  </a:cubicBezTo>
                  <a:cubicBezTo>
                    <a:pt x="517711" y="19930"/>
                    <a:pt x="517781" y="10345"/>
                    <a:pt x="523717" y="4479"/>
                  </a:cubicBezTo>
                  <a:lnTo>
                    <a:pt x="523840" y="4357"/>
                  </a:lnTo>
                  <a:cubicBezTo>
                    <a:pt x="529793" y="-1510"/>
                    <a:pt x="539378" y="-1440"/>
                    <a:pt x="545244" y="4496"/>
                  </a:cubicBezTo>
                  <a:cubicBezTo>
                    <a:pt x="551110" y="10450"/>
                    <a:pt x="551040" y="20035"/>
                    <a:pt x="545104" y="25901"/>
                  </a:cubicBezTo>
                  <a:lnTo>
                    <a:pt x="544983" y="26023"/>
                  </a:lnTo>
                  <a:cubicBezTo>
                    <a:pt x="542032" y="28939"/>
                    <a:pt x="538191" y="30388"/>
                    <a:pt x="534350" y="30388"/>
                  </a:cubicBezTo>
                  <a:close/>
                </a:path>
              </a:pathLst>
            </a:custGeom>
            <a:grpFill/>
            <a:ln w="0"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53F27448-9190-C0FA-E5D9-882A9E53C151}"/>
                </a:ext>
              </a:extLst>
            </p:cNvPr>
            <p:cNvSpPr/>
            <p:nvPr/>
          </p:nvSpPr>
          <p:spPr>
            <a:xfrm>
              <a:off x="8483499" y="4692105"/>
              <a:ext cx="464264" cy="464262"/>
            </a:xfrm>
            <a:custGeom>
              <a:avLst/>
              <a:gdLst>
                <a:gd name="connsiteX0" fmla="*/ 15717 w 464264"/>
                <a:gd name="connsiteY0" fmla="*/ 464262 h 464262"/>
                <a:gd name="connsiteX1" fmla="*/ 4525 w 464264"/>
                <a:gd name="connsiteY1" fmla="*/ 459583 h 464262"/>
                <a:gd name="connsiteX2" fmla="*/ 4682 w 464264"/>
                <a:gd name="connsiteY2" fmla="*/ 437357 h 464262"/>
                <a:gd name="connsiteX3" fmla="*/ 4804 w 464264"/>
                <a:gd name="connsiteY3" fmla="*/ 437235 h 464262"/>
                <a:gd name="connsiteX4" fmla="*/ 27030 w 464264"/>
                <a:gd name="connsiteY4" fmla="*/ 437392 h 464262"/>
                <a:gd name="connsiteX5" fmla="*/ 26872 w 464264"/>
                <a:gd name="connsiteY5" fmla="*/ 459618 h 464262"/>
                <a:gd name="connsiteX6" fmla="*/ 26750 w 464264"/>
                <a:gd name="connsiteY6" fmla="*/ 459740 h 464262"/>
                <a:gd name="connsiteX7" fmla="*/ 15717 w 464264"/>
                <a:gd name="connsiteY7" fmla="*/ 464262 h 464262"/>
                <a:gd name="connsiteX8" fmla="*/ 102262 w 464264"/>
                <a:gd name="connsiteY8" fmla="*/ 377716 h 464262"/>
                <a:gd name="connsiteX9" fmla="*/ 91070 w 464264"/>
                <a:gd name="connsiteY9" fmla="*/ 373037 h 464262"/>
                <a:gd name="connsiteX10" fmla="*/ 91228 w 464264"/>
                <a:gd name="connsiteY10" fmla="*/ 350811 h 464262"/>
                <a:gd name="connsiteX11" fmla="*/ 91350 w 464264"/>
                <a:gd name="connsiteY11" fmla="*/ 350689 h 464262"/>
                <a:gd name="connsiteX12" fmla="*/ 113575 w 464264"/>
                <a:gd name="connsiteY12" fmla="*/ 350846 h 464262"/>
                <a:gd name="connsiteX13" fmla="*/ 113418 w 464264"/>
                <a:gd name="connsiteY13" fmla="*/ 373072 h 464262"/>
                <a:gd name="connsiteX14" fmla="*/ 113296 w 464264"/>
                <a:gd name="connsiteY14" fmla="*/ 373194 h 464262"/>
                <a:gd name="connsiteX15" fmla="*/ 102262 w 464264"/>
                <a:gd name="connsiteY15" fmla="*/ 377716 h 464262"/>
                <a:gd name="connsiteX16" fmla="*/ 188790 w 464264"/>
                <a:gd name="connsiteY16" fmla="*/ 291171 h 464262"/>
                <a:gd name="connsiteX17" fmla="*/ 177755 w 464264"/>
                <a:gd name="connsiteY17" fmla="*/ 286649 h 464262"/>
                <a:gd name="connsiteX18" fmla="*/ 177598 w 464264"/>
                <a:gd name="connsiteY18" fmla="*/ 264423 h 464262"/>
                <a:gd name="connsiteX19" fmla="*/ 177720 w 464264"/>
                <a:gd name="connsiteY19" fmla="*/ 264301 h 464262"/>
                <a:gd name="connsiteX20" fmla="*/ 199947 w 464264"/>
                <a:gd name="connsiteY20" fmla="*/ 264144 h 464262"/>
                <a:gd name="connsiteX21" fmla="*/ 200104 w 464264"/>
                <a:gd name="connsiteY21" fmla="*/ 286369 h 464262"/>
                <a:gd name="connsiteX22" fmla="*/ 199981 w 464264"/>
                <a:gd name="connsiteY22" fmla="*/ 286492 h 464262"/>
                <a:gd name="connsiteX23" fmla="*/ 188790 w 464264"/>
                <a:gd name="connsiteY23" fmla="*/ 291171 h 464262"/>
                <a:gd name="connsiteX24" fmla="*/ 275335 w 464264"/>
                <a:gd name="connsiteY24" fmla="*/ 204642 h 464262"/>
                <a:gd name="connsiteX25" fmla="*/ 264301 w 464264"/>
                <a:gd name="connsiteY25" fmla="*/ 200121 h 464262"/>
                <a:gd name="connsiteX26" fmla="*/ 264144 w 464264"/>
                <a:gd name="connsiteY26" fmla="*/ 177895 h 464262"/>
                <a:gd name="connsiteX27" fmla="*/ 264266 w 464264"/>
                <a:gd name="connsiteY27" fmla="*/ 177773 h 464262"/>
                <a:gd name="connsiteX28" fmla="*/ 286492 w 464264"/>
                <a:gd name="connsiteY28" fmla="*/ 177616 h 464262"/>
                <a:gd name="connsiteX29" fmla="*/ 286649 w 464264"/>
                <a:gd name="connsiteY29" fmla="*/ 199841 h 464262"/>
                <a:gd name="connsiteX30" fmla="*/ 286527 w 464264"/>
                <a:gd name="connsiteY30" fmla="*/ 199963 h 464262"/>
                <a:gd name="connsiteX31" fmla="*/ 275335 w 464264"/>
                <a:gd name="connsiteY31" fmla="*/ 204642 h 464262"/>
                <a:gd name="connsiteX32" fmla="*/ 361881 w 464264"/>
                <a:gd name="connsiteY32" fmla="*/ 118097 h 464262"/>
                <a:gd name="connsiteX33" fmla="*/ 350690 w 464264"/>
                <a:gd name="connsiteY33" fmla="*/ 113418 h 464262"/>
                <a:gd name="connsiteX34" fmla="*/ 350847 w 464264"/>
                <a:gd name="connsiteY34" fmla="*/ 91192 h 464262"/>
                <a:gd name="connsiteX35" fmla="*/ 350969 w 464264"/>
                <a:gd name="connsiteY35" fmla="*/ 91070 h 464262"/>
                <a:gd name="connsiteX36" fmla="*/ 373195 w 464264"/>
                <a:gd name="connsiteY36" fmla="*/ 91227 h 464262"/>
                <a:gd name="connsiteX37" fmla="*/ 373037 w 464264"/>
                <a:gd name="connsiteY37" fmla="*/ 113453 h 464262"/>
                <a:gd name="connsiteX38" fmla="*/ 372915 w 464264"/>
                <a:gd name="connsiteY38" fmla="*/ 113575 h 464262"/>
                <a:gd name="connsiteX39" fmla="*/ 361881 w 464264"/>
                <a:gd name="connsiteY39" fmla="*/ 118097 h 464262"/>
                <a:gd name="connsiteX40" fmla="*/ 448427 w 464264"/>
                <a:gd name="connsiteY40" fmla="*/ 31551 h 464262"/>
                <a:gd name="connsiteX41" fmla="*/ 437235 w 464264"/>
                <a:gd name="connsiteY41" fmla="*/ 26872 h 464262"/>
                <a:gd name="connsiteX42" fmla="*/ 437393 w 464264"/>
                <a:gd name="connsiteY42" fmla="*/ 4647 h 464262"/>
                <a:gd name="connsiteX43" fmla="*/ 437515 w 464264"/>
                <a:gd name="connsiteY43" fmla="*/ 4525 h 464262"/>
                <a:gd name="connsiteX44" fmla="*/ 459740 w 464264"/>
                <a:gd name="connsiteY44" fmla="*/ 4681 h 464262"/>
                <a:gd name="connsiteX45" fmla="*/ 459583 w 464264"/>
                <a:gd name="connsiteY45" fmla="*/ 26907 h 464262"/>
                <a:gd name="connsiteX46" fmla="*/ 459461 w 464264"/>
                <a:gd name="connsiteY46" fmla="*/ 27029 h 464262"/>
                <a:gd name="connsiteX47" fmla="*/ 448427 w 464264"/>
                <a:gd name="connsiteY47" fmla="*/ 31551 h 46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64264" h="464262">
                  <a:moveTo>
                    <a:pt x="15717" y="464262"/>
                  </a:moveTo>
                  <a:cubicBezTo>
                    <a:pt x="11665" y="464262"/>
                    <a:pt x="7597" y="462708"/>
                    <a:pt x="4525" y="459583"/>
                  </a:cubicBezTo>
                  <a:cubicBezTo>
                    <a:pt x="-1569" y="453402"/>
                    <a:pt x="-1499" y="443450"/>
                    <a:pt x="4682" y="437357"/>
                  </a:cubicBezTo>
                  <a:lnTo>
                    <a:pt x="4804" y="437235"/>
                  </a:lnTo>
                  <a:cubicBezTo>
                    <a:pt x="10984" y="431141"/>
                    <a:pt x="20936" y="431211"/>
                    <a:pt x="27030" y="437392"/>
                  </a:cubicBezTo>
                  <a:cubicBezTo>
                    <a:pt x="33123" y="443573"/>
                    <a:pt x="33053" y="453524"/>
                    <a:pt x="26872" y="459618"/>
                  </a:cubicBezTo>
                  <a:lnTo>
                    <a:pt x="26750" y="459740"/>
                  </a:lnTo>
                  <a:cubicBezTo>
                    <a:pt x="23695" y="462760"/>
                    <a:pt x="19697" y="464262"/>
                    <a:pt x="15717" y="464262"/>
                  </a:cubicBezTo>
                  <a:close/>
                  <a:moveTo>
                    <a:pt x="102262" y="377716"/>
                  </a:moveTo>
                  <a:cubicBezTo>
                    <a:pt x="98212" y="377716"/>
                    <a:pt x="94143" y="376162"/>
                    <a:pt x="91070" y="373037"/>
                  </a:cubicBezTo>
                  <a:cubicBezTo>
                    <a:pt x="84977" y="366857"/>
                    <a:pt x="85047" y="356905"/>
                    <a:pt x="91228" y="350811"/>
                  </a:cubicBezTo>
                  <a:lnTo>
                    <a:pt x="91350" y="350689"/>
                  </a:lnTo>
                  <a:cubicBezTo>
                    <a:pt x="97530" y="344596"/>
                    <a:pt x="107482" y="344666"/>
                    <a:pt x="113575" y="350846"/>
                  </a:cubicBezTo>
                  <a:cubicBezTo>
                    <a:pt x="119668" y="357027"/>
                    <a:pt x="119599" y="366979"/>
                    <a:pt x="113418" y="373072"/>
                  </a:cubicBezTo>
                  <a:lnTo>
                    <a:pt x="113296" y="373194"/>
                  </a:lnTo>
                  <a:cubicBezTo>
                    <a:pt x="110240" y="376215"/>
                    <a:pt x="106242" y="377716"/>
                    <a:pt x="102262" y="377716"/>
                  </a:cubicBezTo>
                  <a:close/>
                  <a:moveTo>
                    <a:pt x="188790" y="291171"/>
                  </a:moveTo>
                  <a:cubicBezTo>
                    <a:pt x="184809" y="291171"/>
                    <a:pt x="180811" y="289669"/>
                    <a:pt x="177755" y="286649"/>
                  </a:cubicBezTo>
                  <a:cubicBezTo>
                    <a:pt x="171575" y="280555"/>
                    <a:pt x="171506" y="270604"/>
                    <a:pt x="177598" y="264423"/>
                  </a:cubicBezTo>
                  <a:lnTo>
                    <a:pt x="177720" y="264301"/>
                  </a:lnTo>
                  <a:cubicBezTo>
                    <a:pt x="183814" y="258120"/>
                    <a:pt x="193766" y="258050"/>
                    <a:pt x="199947" y="264144"/>
                  </a:cubicBezTo>
                  <a:cubicBezTo>
                    <a:pt x="206127" y="270237"/>
                    <a:pt x="206196" y="280189"/>
                    <a:pt x="200104" y="286369"/>
                  </a:cubicBezTo>
                  <a:lnTo>
                    <a:pt x="199981" y="286492"/>
                  </a:lnTo>
                  <a:cubicBezTo>
                    <a:pt x="196908" y="289617"/>
                    <a:pt x="192858" y="291171"/>
                    <a:pt x="188790" y="291171"/>
                  </a:cubicBezTo>
                  <a:close/>
                  <a:moveTo>
                    <a:pt x="275335" y="204642"/>
                  </a:moveTo>
                  <a:cubicBezTo>
                    <a:pt x="271355" y="204642"/>
                    <a:pt x="267357" y="203141"/>
                    <a:pt x="264301" y="200121"/>
                  </a:cubicBezTo>
                  <a:cubicBezTo>
                    <a:pt x="258121" y="194027"/>
                    <a:pt x="258051" y="184075"/>
                    <a:pt x="264144" y="177895"/>
                  </a:cubicBezTo>
                  <a:lnTo>
                    <a:pt x="264266" y="177773"/>
                  </a:lnTo>
                  <a:cubicBezTo>
                    <a:pt x="270359" y="171592"/>
                    <a:pt x="280311" y="171522"/>
                    <a:pt x="286492" y="177616"/>
                  </a:cubicBezTo>
                  <a:cubicBezTo>
                    <a:pt x="292673" y="183709"/>
                    <a:pt x="292743" y="193660"/>
                    <a:pt x="286649" y="199841"/>
                  </a:cubicBezTo>
                  <a:lnTo>
                    <a:pt x="286527" y="199963"/>
                  </a:lnTo>
                  <a:cubicBezTo>
                    <a:pt x="283454" y="203089"/>
                    <a:pt x="279403" y="204642"/>
                    <a:pt x="275335" y="204642"/>
                  </a:cubicBezTo>
                  <a:close/>
                  <a:moveTo>
                    <a:pt x="361881" y="118097"/>
                  </a:moveTo>
                  <a:cubicBezTo>
                    <a:pt x="357830" y="118097"/>
                    <a:pt x="353762" y="116543"/>
                    <a:pt x="350690" y="113418"/>
                  </a:cubicBezTo>
                  <a:cubicBezTo>
                    <a:pt x="344596" y="107237"/>
                    <a:pt x="344666" y="97285"/>
                    <a:pt x="350847" y="91192"/>
                  </a:cubicBezTo>
                  <a:lnTo>
                    <a:pt x="350969" y="91070"/>
                  </a:lnTo>
                  <a:cubicBezTo>
                    <a:pt x="357149" y="84977"/>
                    <a:pt x="367101" y="85046"/>
                    <a:pt x="373195" y="91227"/>
                  </a:cubicBezTo>
                  <a:cubicBezTo>
                    <a:pt x="379288" y="97408"/>
                    <a:pt x="379218" y="107359"/>
                    <a:pt x="373037" y="113453"/>
                  </a:cubicBezTo>
                  <a:lnTo>
                    <a:pt x="372915" y="113575"/>
                  </a:lnTo>
                  <a:cubicBezTo>
                    <a:pt x="369860" y="116595"/>
                    <a:pt x="365862" y="118097"/>
                    <a:pt x="361881" y="118097"/>
                  </a:cubicBezTo>
                  <a:close/>
                  <a:moveTo>
                    <a:pt x="448427" y="31551"/>
                  </a:moveTo>
                  <a:cubicBezTo>
                    <a:pt x="444376" y="31551"/>
                    <a:pt x="440308" y="29997"/>
                    <a:pt x="437235" y="26872"/>
                  </a:cubicBezTo>
                  <a:cubicBezTo>
                    <a:pt x="431142" y="20692"/>
                    <a:pt x="431212" y="10740"/>
                    <a:pt x="437393" y="4647"/>
                  </a:cubicBezTo>
                  <a:lnTo>
                    <a:pt x="437515" y="4525"/>
                  </a:lnTo>
                  <a:cubicBezTo>
                    <a:pt x="443695" y="-1569"/>
                    <a:pt x="453647" y="-1499"/>
                    <a:pt x="459740" y="4681"/>
                  </a:cubicBezTo>
                  <a:cubicBezTo>
                    <a:pt x="465833" y="10862"/>
                    <a:pt x="465764" y="20814"/>
                    <a:pt x="459583" y="26907"/>
                  </a:cubicBezTo>
                  <a:lnTo>
                    <a:pt x="459461" y="27029"/>
                  </a:lnTo>
                  <a:cubicBezTo>
                    <a:pt x="456405" y="30050"/>
                    <a:pt x="452407" y="31551"/>
                    <a:pt x="448427" y="31551"/>
                  </a:cubicBezTo>
                  <a:close/>
                </a:path>
              </a:pathLst>
            </a:custGeom>
            <a:grpFill/>
            <a:ln w="0"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C220141-BA66-80A6-6D92-F1110339F790}"/>
                </a:ext>
              </a:extLst>
            </p:cNvPr>
            <p:cNvSpPr/>
            <p:nvPr/>
          </p:nvSpPr>
          <p:spPr>
            <a:xfrm>
              <a:off x="8545499" y="4838277"/>
              <a:ext cx="378844" cy="378778"/>
            </a:xfrm>
            <a:custGeom>
              <a:avLst/>
              <a:gdLst>
                <a:gd name="connsiteX0" fmla="*/ 16290 w 378844"/>
                <a:gd name="connsiteY0" fmla="*/ 378779 h 378778"/>
                <a:gd name="connsiteX1" fmla="*/ 4802 w 378844"/>
                <a:gd name="connsiteY1" fmla="*/ 374030 h 378778"/>
                <a:gd name="connsiteX2" fmla="*/ 4732 w 378844"/>
                <a:gd name="connsiteY2" fmla="*/ 351054 h 378778"/>
                <a:gd name="connsiteX3" fmla="*/ 4854 w 378844"/>
                <a:gd name="connsiteY3" fmla="*/ 350931 h 378778"/>
                <a:gd name="connsiteX4" fmla="*/ 27900 w 378844"/>
                <a:gd name="connsiteY4" fmla="*/ 350931 h 378778"/>
                <a:gd name="connsiteX5" fmla="*/ 27900 w 378844"/>
                <a:gd name="connsiteY5" fmla="*/ 373977 h 378778"/>
                <a:gd name="connsiteX6" fmla="*/ 16290 w 378844"/>
                <a:gd name="connsiteY6" fmla="*/ 378779 h 378778"/>
                <a:gd name="connsiteX7" fmla="*/ 102818 w 378844"/>
                <a:gd name="connsiteY7" fmla="*/ 292233 h 378778"/>
                <a:gd name="connsiteX8" fmla="*/ 91330 w 378844"/>
                <a:gd name="connsiteY8" fmla="*/ 287484 h 378778"/>
                <a:gd name="connsiteX9" fmla="*/ 91260 w 378844"/>
                <a:gd name="connsiteY9" fmla="*/ 264508 h 378778"/>
                <a:gd name="connsiteX10" fmla="*/ 91382 w 378844"/>
                <a:gd name="connsiteY10" fmla="*/ 264386 h 378778"/>
                <a:gd name="connsiteX11" fmla="*/ 114428 w 378844"/>
                <a:gd name="connsiteY11" fmla="*/ 264386 h 378778"/>
                <a:gd name="connsiteX12" fmla="*/ 114428 w 378844"/>
                <a:gd name="connsiteY12" fmla="*/ 287432 h 378778"/>
                <a:gd name="connsiteX13" fmla="*/ 102818 w 378844"/>
                <a:gd name="connsiteY13" fmla="*/ 292233 h 378778"/>
                <a:gd name="connsiteX14" fmla="*/ 189364 w 378844"/>
                <a:gd name="connsiteY14" fmla="*/ 205705 h 378778"/>
                <a:gd name="connsiteX15" fmla="*/ 177875 w 378844"/>
                <a:gd name="connsiteY15" fmla="*/ 200956 h 378778"/>
                <a:gd name="connsiteX16" fmla="*/ 177805 w 378844"/>
                <a:gd name="connsiteY16" fmla="*/ 177980 h 378778"/>
                <a:gd name="connsiteX17" fmla="*/ 177928 w 378844"/>
                <a:gd name="connsiteY17" fmla="*/ 177858 h 378778"/>
                <a:gd name="connsiteX18" fmla="*/ 200974 w 378844"/>
                <a:gd name="connsiteY18" fmla="*/ 177858 h 378778"/>
                <a:gd name="connsiteX19" fmla="*/ 200974 w 378844"/>
                <a:gd name="connsiteY19" fmla="*/ 200904 h 378778"/>
                <a:gd name="connsiteX20" fmla="*/ 189364 w 378844"/>
                <a:gd name="connsiteY20" fmla="*/ 205705 h 378778"/>
                <a:gd name="connsiteX21" fmla="*/ 275875 w 378844"/>
                <a:gd name="connsiteY21" fmla="*/ 119247 h 378778"/>
                <a:gd name="connsiteX22" fmla="*/ 264351 w 378844"/>
                <a:gd name="connsiteY22" fmla="*/ 114480 h 378778"/>
                <a:gd name="connsiteX23" fmla="*/ 264351 w 378844"/>
                <a:gd name="connsiteY23" fmla="*/ 91434 h 378778"/>
                <a:gd name="connsiteX24" fmla="*/ 264473 w 378844"/>
                <a:gd name="connsiteY24" fmla="*/ 91312 h 378778"/>
                <a:gd name="connsiteX25" fmla="*/ 287520 w 378844"/>
                <a:gd name="connsiteY25" fmla="*/ 91312 h 378778"/>
                <a:gd name="connsiteX26" fmla="*/ 287520 w 378844"/>
                <a:gd name="connsiteY26" fmla="*/ 114358 h 378778"/>
                <a:gd name="connsiteX27" fmla="*/ 287397 w 378844"/>
                <a:gd name="connsiteY27" fmla="*/ 114480 h 378778"/>
                <a:gd name="connsiteX28" fmla="*/ 275875 w 378844"/>
                <a:gd name="connsiteY28" fmla="*/ 119247 h 378778"/>
                <a:gd name="connsiteX29" fmla="*/ 362420 w 378844"/>
                <a:gd name="connsiteY29" fmla="*/ 32701 h 378778"/>
                <a:gd name="connsiteX30" fmla="*/ 350897 w 378844"/>
                <a:gd name="connsiteY30" fmla="*/ 27935 h 378778"/>
                <a:gd name="connsiteX31" fmla="*/ 350897 w 378844"/>
                <a:gd name="connsiteY31" fmla="*/ 4889 h 378778"/>
                <a:gd name="connsiteX32" fmla="*/ 351019 w 378844"/>
                <a:gd name="connsiteY32" fmla="*/ 4766 h 378778"/>
                <a:gd name="connsiteX33" fmla="*/ 374065 w 378844"/>
                <a:gd name="connsiteY33" fmla="*/ 4766 h 378778"/>
                <a:gd name="connsiteX34" fmla="*/ 374065 w 378844"/>
                <a:gd name="connsiteY34" fmla="*/ 27813 h 378778"/>
                <a:gd name="connsiteX35" fmla="*/ 373943 w 378844"/>
                <a:gd name="connsiteY35" fmla="*/ 27935 h 378778"/>
                <a:gd name="connsiteX36" fmla="*/ 362420 w 378844"/>
                <a:gd name="connsiteY36" fmla="*/ 32701 h 37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8844" h="378778">
                  <a:moveTo>
                    <a:pt x="16290" y="378779"/>
                  </a:moveTo>
                  <a:cubicBezTo>
                    <a:pt x="12117" y="378779"/>
                    <a:pt x="7962" y="377207"/>
                    <a:pt x="4802" y="374030"/>
                  </a:cubicBezTo>
                  <a:cubicBezTo>
                    <a:pt x="-1554" y="367675"/>
                    <a:pt x="-1624" y="357408"/>
                    <a:pt x="4732" y="351054"/>
                  </a:cubicBezTo>
                  <a:lnTo>
                    <a:pt x="4854" y="350931"/>
                  </a:lnTo>
                  <a:cubicBezTo>
                    <a:pt x="11209" y="344576"/>
                    <a:pt x="21528" y="344576"/>
                    <a:pt x="27900" y="350931"/>
                  </a:cubicBezTo>
                  <a:cubicBezTo>
                    <a:pt x="34256" y="357287"/>
                    <a:pt x="34256" y="367605"/>
                    <a:pt x="27900" y="373977"/>
                  </a:cubicBezTo>
                  <a:cubicBezTo>
                    <a:pt x="24705" y="377173"/>
                    <a:pt x="20498" y="378779"/>
                    <a:pt x="16290" y="378779"/>
                  </a:cubicBezTo>
                  <a:close/>
                  <a:moveTo>
                    <a:pt x="102818" y="292233"/>
                  </a:moveTo>
                  <a:cubicBezTo>
                    <a:pt x="98645" y="292233"/>
                    <a:pt x="94490" y="290662"/>
                    <a:pt x="91330" y="287484"/>
                  </a:cubicBezTo>
                  <a:cubicBezTo>
                    <a:pt x="84957" y="281129"/>
                    <a:pt x="84905" y="270863"/>
                    <a:pt x="91260" y="264508"/>
                  </a:cubicBezTo>
                  <a:lnTo>
                    <a:pt x="91382" y="264386"/>
                  </a:lnTo>
                  <a:cubicBezTo>
                    <a:pt x="97737" y="258030"/>
                    <a:pt x="108056" y="258030"/>
                    <a:pt x="114428" y="264386"/>
                  </a:cubicBezTo>
                  <a:cubicBezTo>
                    <a:pt x="120784" y="270741"/>
                    <a:pt x="120784" y="281059"/>
                    <a:pt x="114428" y="287432"/>
                  </a:cubicBezTo>
                  <a:cubicBezTo>
                    <a:pt x="111233" y="290627"/>
                    <a:pt x="107025" y="292233"/>
                    <a:pt x="102818" y="292233"/>
                  </a:cubicBezTo>
                  <a:close/>
                  <a:moveTo>
                    <a:pt x="189364" y="205705"/>
                  </a:moveTo>
                  <a:cubicBezTo>
                    <a:pt x="185191" y="205705"/>
                    <a:pt x="181035" y="204134"/>
                    <a:pt x="177875" y="200956"/>
                  </a:cubicBezTo>
                  <a:cubicBezTo>
                    <a:pt x="171503" y="194601"/>
                    <a:pt x="171451" y="184335"/>
                    <a:pt x="177805" y="177980"/>
                  </a:cubicBezTo>
                  <a:lnTo>
                    <a:pt x="177928" y="177858"/>
                  </a:lnTo>
                  <a:cubicBezTo>
                    <a:pt x="184283" y="171502"/>
                    <a:pt x="194601" y="171502"/>
                    <a:pt x="200974" y="177858"/>
                  </a:cubicBezTo>
                  <a:cubicBezTo>
                    <a:pt x="207329" y="184213"/>
                    <a:pt x="207329" y="194531"/>
                    <a:pt x="200974" y="200904"/>
                  </a:cubicBezTo>
                  <a:cubicBezTo>
                    <a:pt x="197779" y="204099"/>
                    <a:pt x="193571" y="205705"/>
                    <a:pt x="189364" y="205705"/>
                  </a:cubicBezTo>
                  <a:close/>
                  <a:moveTo>
                    <a:pt x="275875" y="119247"/>
                  </a:moveTo>
                  <a:cubicBezTo>
                    <a:pt x="271702" y="119247"/>
                    <a:pt x="267529" y="117658"/>
                    <a:pt x="264351" y="114480"/>
                  </a:cubicBezTo>
                  <a:cubicBezTo>
                    <a:pt x="257996" y="108125"/>
                    <a:pt x="257996" y="97807"/>
                    <a:pt x="264351" y="91434"/>
                  </a:cubicBezTo>
                  <a:lnTo>
                    <a:pt x="264473" y="91312"/>
                  </a:lnTo>
                  <a:cubicBezTo>
                    <a:pt x="270829" y="84957"/>
                    <a:pt x="281147" y="84957"/>
                    <a:pt x="287520" y="91312"/>
                  </a:cubicBezTo>
                  <a:cubicBezTo>
                    <a:pt x="293874" y="97667"/>
                    <a:pt x="293874" y="107986"/>
                    <a:pt x="287520" y="114358"/>
                  </a:cubicBezTo>
                  <a:lnTo>
                    <a:pt x="287397" y="114480"/>
                  </a:lnTo>
                  <a:cubicBezTo>
                    <a:pt x="284220" y="117658"/>
                    <a:pt x="280047" y="119247"/>
                    <a:pt x="275875" y="119247"/>
                  </a:cubicBezTo>
                  <a:close/>
                  <a:moveTo>
                    <a:pt x="362420" y="32701"/>
                  </a:moveTo>
                  <a:cubicBezTo>
                    <a:pt x="358247" y="32701"/>
                    <a:pt x="354074" y="31112"/>
                    <a:pt x="350897" y="27935"/>
                  </a:cubicBezTo>
                  <a:cubicBezTo>
                    <a:pt x="344541" y="21580"/>
                    <a:pt x="344541" y="11261"/>
                    <a:pt x="350897" y="4889"/>
                  </a:cubicBezTo>
                  <a:lnTo>
                    <a:pt x="351019" y="4766"/>
                  </a:lnTo>
                  <a:cubicBezTo>
                    <a:pt x="357374" y="-1589"/>
                    <a:pt x="367693" y="-1589"/>
                    <a:pt x="374065" y="4766"/>
                  </a:cubicBezTo>
                  <a:cubicBezTo>
                    <a:pt x="380438" y="11122"/>
                    <a:pt x="380438" y="21440"/>
                    <a:pt x="374065" y="27813"/>
                  </a:cubicBezTo>
                  <a:lnTo>
                    <a:pt x="373943" y="27935"/>
                  </a:lnTo>
                  <a:cubicBezTo>
                    <a:pt x="370765" y="31112"/>
                    <a:pt x="366593" y="32701"/>
                    <a:pt x="362420" y="32701"/>
                  </a:cubicBezTo>
                  <a:close/>
                </a:path>
              </a:pathLst>
            </a:custGeom>
            <a:grpFill/>
            <a:ln w="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B791EEDB-C39D-02D0-2C8F-D193E2E235DA}"/>
                </a:ext>
              </a:extLst>
            </p:cNvPr>
            <p:cNvSpPr/>
            <p:nvPr userDrawn="1"/>
          </p:nvSpPr>
          <p:spPr>
            <a:xfrm>
              <a:off x="8693988" y="4984437"/>
              <a:ext cx="206938" cy="206883"/>
            </a:xfrm>
            <a:custGeom>
              <a:avLst/>
              <a:gdLst>
                <a:gd name="connsiteX0" fmla="*/ 16886 w 206938"/>
                <a:gd name="connsiteY0" fmla="*/ 206866 h 206883"/>
                <a:gd name="connsiteX1" fmla="*/ 4978 w 206938"/>
                <a:gd name="connsiteY1" fmla="*/ 201960 h 206883"/>
                <a:gd name="connsiteX2" fmla="*/ 4908 w 206938"/>
                <a:gd name="connsiteY2" fmla="*/ 178163 h 206883"/>
                <a:gd name="connsiteX3" fmla="*/ 5031 w 206938"/>
                <a:gd name="connsiteY3" fmla="*/ 178041 h 206883"/>
                <a:gd name="connsiteX4" fmla="*/ 28898 w 206938"/>
                <a:gd name="connsiteY4" fmla="*/ 178041 h 206883"/>
                <a:gd name="connsiteX5" fmla="*/ 28898 w 206938"/>
                <a:gd name="connsiteY5" fmla="*/ 201908 h 206883"/>
                <a:gd name="connsiteX6" fmla="*/ 16868 w 206938"/>
                <a:gd name="connsiteY6" fmla="*/ 206883 h 206883"/>
                <a:gd name="connsiteX7" fmla="*/ 103431 w 206938"/>
                <a:gd name="connsiteY7" fmla="*/ 120321 h 206883"/>
                <a:gd name="connsiteX8" fmla="*/ 91524 w 206938"/>
                <a:gd name="connsiteY8" fmla="*/ 115415 h 206883"/>
                <a:gd name="connsiteX9" fmla="*/ 91454 w 206938"/>
                <a:gd name="connsiteY9" fmla="*/ 91618 h 206883"/>
                <a:gd name="connsiteX10" fmla="*/ 91576 w 206938"/>
                <a:gd name="connsiteY10" fmla="*/ 91495 h 206883"/>
                <a:gd name="connsiteX11" fmla="*/ 115443 w 206938"/>
                <a:gd name="connsiteY11" fmla="*/ 91495 h 206883"/>
                <a:gd name="connsiteX12" fmla="*/ 115443 w 206938"/>
                <a:gd name="connsiteY12" fmla="*/ 115362 h 206883"/>
                <a:gd name="connsiteX13" fmla="*/ 103413 w 206938"/>
                <a:gd name="connsiteY13" fmla="*/ 120338 h 206883"/>
                <a:gd name="connsiteX14" fmla="*/ 189941 w 206938"/>
                <a:gd name="connsiteY14" fmla="*/ 33880 h 206883"/>
                <a:gd name="connsiteX15" fmla="*/ 178000 w 206938"/>
                <a:gd name="connsiteY15" fmla="*/ 28939 h 206883"/>
                <a:gd name="connsiteX16" fmla="*/ 178000 w 206938"/>
                <a:gd name="connsiteY16" fmla="*/ 5072 h 206883"/>
                <a:gd name="connsiteX17" fmla="*/ 178122 w 206938"/>
                <a:gd name="connsiteY17" fmla="*/ 4950 h 206883"/>
                <a:gd name="connsiteX18" fmla="*/ 201989 w 206938"/>
                <a:gd name="connsiteY18" fmla="*/ 4950 h 206883"/>
                <a:gd name="connsiteX19" fmla="*/ 201989 w 206938"/>
                <a:gd name="connsiteY19" fmla="*/ 28816 h 206883"/>
                <a:gd name="connsiteX20" fmla="*/ 201866 w 206938"/>
                <a:gd name="connsiteY20" fmla="*/ 28939 h 206883"/>
                <a:gd name="connsiteX21" fmla="*/ 189924 w 206938"/>
                <a:gd name="connsiteY21" fmla="*/ 33880 h 20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938" h="206883">
                  <a:moveTo>
                    <a:pt x="16886" y="206866"/>
                  </a:moveTo>
                  <a:cubicBezTo>
                    <a:pt x="12573" y="206866"/>
                    <a:pt x="8260" y="205225"/>
                    <a:pt x="4978" y="201960"/>
                  </a:cubicBezTo>
                  <a:cubicBezTo>
                    <a:pt x="-1621" y="195378"/>
                    <a:pt x="-1674" y="184745"/>
                    <a:pt x="4908" y="178163"/>
                  </a:cubicBezTo>
                  <a:lnTo>
                    <a:pt x="5031" y="178041"/>
                  </a:lnTo>
                  <a:cubicBezTo>
                    <a:pt x="11613" y="171459"/>
                    <a:pt x="22315" y="171459"/>
                    <a:pt x="28898" y="178041"/>
                  </a:cubicBezTo>
                  <a:cubicBezTo>
                    <a:pt x="35480" y="184640"/>
                    <a:pt x="35480" y="195326"/>
                    <a:pt x="28898" y="201908"/>
                  </a:cubicBezTo>
                  <a:cubicBezTo>
                    <a:pt x="25581" y="205225"/>
                    <a:pt x="21233" y="206883"/>
                    <a:pt x="16868" y="206883"/>
                  </a:cubicBezTo>
                  <a:close/>
                  <a:moveTo>
                    <a:pt x="103431" y="120321"/>
                  </a:moveTo>
                  <a:cubicBezTo>
                    <a:pt x="99118" y="120321"/>
                    <a:pt x="94806" y="118680"/>
                    <a:pt x="91524" y="115415"/>
                  </a:cubicBezTo>
                  <a:cubicBezTo>
                    <a:pt x="84924" y="108832"/>
                    <a:pt x="84872" y="98200"/>
                    <a:pt x="91454" y="91618"/>
                  </a:cubicBezTo>
                  <a:lnTo>
                    <a:pt x="91576" y="91495"/>
                  </a:lnTo>
                  <a:cubicBezTo>
                    <a:pt x="98158" y="84896"/>
                    <a:pt x="108861" y="84896"/>
                    <a:pt x="115443" y="91495"/>
                  </a:cubicBezTo>
                  <a:cubicBezTo>
                    <a:pt x="122043" y="98078"/>
                    <a:pt x="122043" y="108780"/>
                    <a:pt x="115443" y="115362"/>
                  </a:cubicBezTo>
                  <a:cubicBezTo>
                    <a:pt x="112126" y="118680"/>
                    <a:pt x="107778" y="120338"/>
                    <a:pt x="103413" y="120338"/>
                  </a:cubicBezTo>
                  <a:close/>
                  <a:moveTo>
                    <a:pt x="189941" y="33880"/>
                  </a:moveTo>
                  <a:cubicBezTo>
                    <a:pt x="185630" y="33880"/>
                    <a:pt x="181300" y="32239"/>
                    <a:pt x="178000" y="28939"/>
                  </a:cubicBezTo>
                  <a:cubicBezTo>
                    <a:pt x="171417" y="22339"/>
                    <a:pt x="171417" y="11654"/>
                    <a:pt x="178000" y="5072"/>
                  </a:cubicBezTo>
                  <a:lnTo>
                    <a:pt x="178122" y="4950"/>
                  </a:lnTo>
                  <a:cubicBezTo>
                    <a:pt x="184704" y="-1650"/>
                    <a:pt x="195407" y="-1650"/>
                    <a:pt x="201989" y="4950"/>
                  </a:cubicBezTo>
                  <a:cubicBezTo>
                    <a:pt x="208588" y="11532"/>
                    <a:pt x="208588" y="22234"/>
                    <a:pt x="201989" y="28816"/>
                  </a:cubicBezTo>
                  <a:lnTo>
                    <a:pt x="201866" y="28939"/>
                  </a:lnTo>
                  <a:cubicBezTo>
                    <a:pt x="198566" y="32239"/>
                    <a:pt x="194254" y="33880"/>
                    <a:pt x="189924" y="33880"/>
                  </a:cubicBezTo>
                  <a:close/>
                </a:path>
              </a:pathLst>
            </a:custGeom>
            <a:grpFill/>
            <a:ln w="0"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916DCA8A-8021-6040-58E6-122AE45B7C70}"/>
                </a:ext>
              </a:extLst>
            </p:cNvPr>
            <p:cNvSpPr/>
            <p:nvPr/>
          </p:nvSpPr>
          <p:spPr>
            <a:xfrm>
              <a:off x="8842466" y="5044060"/>
              <a:ext cx="121583" cy="121577"/>
            </a:xfrm>
            <a:custGeom>
              <a:avLst/>
              <a:gdLst>
                <a:gd name="connsiteX0" fmla="*/ 17457 w 121583"/>
                <a:gd name="connsiteY0" fmla="*/ 121578 h 121577"/>
                <a:gd name="connsiteX1" fmla="*/ 5201 w 121583"/>
                <a:gd name="connsiteY1" fmla="*/ 116550 h 121577"/>
                <a:gd name="connsiteX2" fmla="*/ 5027 w 121583"/>
                <a:gd name="connsiteY2" fmla="*/ 91862 h 121577"/>
                <a:gd name="connsiteX3" fmla="*/ 5149 w 121583"/>
                <a:gd name="connsiteY3" fmla="*/ 91740 h 121577"/>
                <a:gd name="connsiteX4" fmla="*/ 29836 w 121583"/>
                <a:gd name="connsiteY4" fmla="*/ 91565 h 121577"/>
                <a:gd name="connsiteX5" fmla="*/ 30010 w 121583"/>
                <a:gd name="connsiteY5" fmla="*/ 116253 h 121577"/>
                <a:gd name="connsiteX6" fmla="*/ 29888 w 121583"/>
                <a:gd name="connsiteY6" fmla="*/ 116375 h 121577"/>
                <a:gd name="connsiteX7" fmla="*/ 17457 w 121583"/>
                <a:gd name="connsiteY7" fmla="*/ 121578 h 121577"/>
                <a:gd name="connsiteX8" fmla="*/ 104003 w 121583"/>
                <a:gd name="connsiteY8" fmla="*/ 35033 h 121577"/>
                <a:gd name="connsiteX9" fmla="*/ 91747 w 121583"/>
                <a:gd name="connsiteY9" fmla="*/ 30004 h 121577"/>
                <a:gd name="connsiteX10" fmla="*/ 91572 w 121583"/>
                <a:gd name="connsiteY10" fmla="*/ 5317 h 121577"/>
                <a:gd name="connsiteX11" fmla="*/ 91694 w 121583"/>
                <a:gd name="connsiteY11" fmla="*/ 5195 h 121577"/>
                <a:gd name="connsiteX12" fmla="*/ 116382 w 121583"/>
                <a:gd name="connsiteY12" fmla="*/ 5020 h 121577"/>
                <a:gd name="connsiteX13" fmla="*/ 116557 w 121583"/>
                <a:gd name="connsiteY13" fmla="*/ 29707 h 121577"/>
                <a:gd name="connsiteX14" fmla="*/ 116434 w 121583"/>
                <a:gd name="connsiteY14" fmla="*/ 29829 h 121577"/>
                <a:gd name="connsiteX15" fmla="*/ 104003 w 121583"/>
                <a:gd name="connsiteY15" fmla="*/ 35033 h 121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583" h="121577">
                  <a:moveTo>
                    <a:pt x="17457" y="121578"/>
                  </a:moveTo>
                  <a:cubicBezTo>
                    <a:pt x="13023" y="121578"/>
                    <a:pt x="8606" y="119902"/>
                    <a:pt x="5201" y="116550"/>
                  </a:cubicBezTo>
                  <a:cubicBezTo>
                    <a:pt x="-1660" y="109775"/>
                    <a:pt x="-1748" y="98724"/>
                    <a:pt x="5027" y="91862"/>
                  </a:cubicBezTo>
                  <a:lnTo>
                    <a:pt x="5149" y="91740"/>
                  </a:lnTo>
                  <a:cubicBezTo>
                    <a:pt x="11923" y="84878"/>
                    <a:pt x="22975" y="84809"/>
                    <a:pt x="29836" y="91565"/>
                  </a:cubicBezTo>
                  <a:cubicBezTo>
                    <a:pt x="36697" y="98340"/>
                    <a:pt x="36785" y="109391"/>
                    <a:pt x="30010" y="116253"/>
                  </a:cubicBezTo>
                  <a:lnTo>
                    <a:pt x="29888" y="116375"/>
                  </a:lnTo>
                  <a:cubicBezTo>
                    <a:pt x="26467" y="119832"/>
                    <a:pt x="21962" y="121578"/>
                    <a:pt x="17457" y="121578"/>
                  </a:cubicBezTo>
                  <a:close/>
                  <a:moveTo>
                    <a:pt x="104003" y="35033"/>
                  </a:moveTo>
                  <a:cubicBezTo>
                    <a:pt x="99569" y="35033"/>
                    <a:pt x="95151" y="33356"/>
                    <a:pt x="91747" y="30004"/>
                  </a:cubicBezTo>
                  <a:cubicBezTo>
                    <a:pt x="84885" y="23230"/>
                    <a:pt x="84798" y="12178"/>
                    <a:pt x="91572" y="5317"/>
                  </a:cubicBezTo>
                  <a:lnTo>
                    <a:pt x="91694" y="5195"/>
                  </a:lnTo>
                  <a:cubicBezTo>
                    <a:pt x="98469" y="-1667"/>
                    <a:pt x="109520" y="-1737"/>
                    <a:pt x="116382" y="5020"/>
                  </a:cubicBezTo>
                  <a:cubicBezTo>
                    <a:pt x="123244" y="11794"/>
                    <a:pt x="123331" y="22846"/>
                    <a:pt x="116557" y="29707"/>
                  </a:cubicBezTo>
                  <a:lnTo>
                    <a:pt x="116434" y="29829"/>
                  </a:lnTo>
                  <a:cubicBezTo>
                    <a:pt x="113012" y="33287"/>
                    <a:pt x="108508" y="35033"/>
                    <a:pt x="104003" y="35033"/>
                  </a:cubicBezTo>
                  <a:close/>
                </a:path>
              </a:pathLst>
            </a:custGeom>
            <a:grpFill/>
            <a:ln w="0" cap="flat">
              <a:noFill/>
              <a:prstDash val="solid"/>
              <a:miter/>
            </a:ln>
          </p:spPr>
          <p:txBody>
            <a:bodyPr rtlCol="0" anchor="ctr"/>
            <a:lstStyle/>
            <a:p>
              <a:endParaRPr lang="en-US"/>
            </a:p>
          </p:txBody>
        </p:sp>
      </p:grpSp>
      <p:sp>
        <p:nvSpPr>
          <p:cNvPr id="7" name="Text Placeholder 6">
            <a:extLst>
              <a:ext uri="{FF2B5EF4-FFF2-40B4-BE49-F238E27FC236}">
                <a16:creationId xmlns:a16="http://schemas.microsoft.com/office/drawing/2014/main" id="{22334434-518E-A7B9-CD16-389FC1A7915E}"/>
              </a:ext>
            </a:extLst>
          </p:cNvPr>
          <p:cNvSpPr>
            <a:spLocks noGrp="1"/>
          </p:cNvSpPr>
          <p:nvPr>
            <p:ph type="body" sz="quarter" idx="25" hasCustomPrompt="1"/>
          </p:nvPr>
        </p:nvSpPr>
        <p:spPr>
          <a:xfrm>
            <a:off x="460374" y="2894013"/>
            <a:ext cx="6313806" cy="241285"/>
          </a:xfrm>
        </p:spPr>
        <p:txBody>
          <a:bodyPr/>
          <a:lstStyle>
            <a:lvl1pPr>
              <a:defRPr sz="1400">
                <a:solidFill>
                  <a:schemeClr val="tx1"/>
                </a:solidFill>
                <a:latin typeface="+mn-lt"/>
              </a:defRPr>
            </a:lvl1pPr>
          </a:lstStyle>
          <a:p>
            <a:pPr lvl="0"/>
            <a:r>
              <a:rPr lang="en-DE"/>
              <a:t>A subheading can go here if you would like to explain more about this chapter.</a:t>
            </a:r>
          </a:p>
        </p:txBody>
      </p:sp>
      <p:pic>
        <p:nvPicPr>
          <p:cNvPr id="11" name="Picture 10">
            <a:extLst>
              <a:ext uri="{FF2B5EF4-FFF2-40B4-BE49-F238E27FC236}">
                <a16:creationId xmlns:a16="http://schemas.microsoft.com/office/drawing/2014/main" id="{6CA044CB-6E74-8513-76D8-0B5BC7B951FD}"/>
              </a:ext>
            </a:extLst>
          </p:cNvPr>
          <p:cNvPicPr>
            <a:picLocks/>
          </p:cNvPicPr>
          <p:nvPr userDrawn="1"/>
        </p:nvPicPr>
        <p:blipFill rotWithShape="1">
          <a:blip r:embed="rId5"/>
          <a:srcRect r="50292"/>
          <a:stretch/>
        </p:blipFill>
        <p:spPr>
          <a:xfrm>
            <a:off x="460374" y="338138"/>
            <a:ext cx="1644873" cy="901297"/>
          </a:xfrm>
          <a:prstGeom prst="rect">
            <a:avLst/>
          </a:prstGeom>
        </p:spPr>
      </p:pic>
      <p:sp>
        <p:nvSpPr>
          <p:cNvPr id="30" name="Title 29">
            <a:extLst>
              <a:ext uri="{FF2B5EF4-FFF2-40B4-BE49-F238E27FC236}">
                <a16:creationId xmlns:a16="http://schemas.microsoft.com/office/drawing/2014/main" id="{2ABC76F1-3F5C-09FA-F96C-323C26ABBC9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61805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024">
          <p15:clr>
            <a:srgbClr val="FBAE40"/>
          </p15:clr>
        </p15:guide>
        <p15:guide id="2" orient="horz" pos="2251">
          <p15:clr>
            <a:srgbClr val="FBAE40"/>
          </p15:clr>
        </p15:guide>
        <p15:guide id="3" orient="horz" pos="2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579870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665377" y="3475182"/>
            <a:ext cx="915096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b="1" baseline="0" dirty="0">
                <a:solidFill>
                  <a:schemeClr val="accent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665377" y="3075042"/>
            <a:ext cx="915096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000" b="1" baseline="0" dirty="0">
                <a:solidFill>
                  <a:schemeClr val="accent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665377" y="2262219"/>
            <a:ext cx="9150968"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2600" cap="none" baseline="0" dirty="0">
                <a:solidFill>
                  <a:schemeClr val="tx1"/>
                </a:solidFill>
              </a:defRPr>
            </a:lvl1pPr>
          </a:lstStyle>
          <a:p>
            <a:pPr lvl="0"/>
            <a:r>
              <a:rPr lang="en-US"/>
              <a:t>Click to edit Master title style</a:t>
            </a:r>
          </a:p>
        </p:txBody>
      </p:sp>
      <p:cxnSp>
        <p:nvCxnSpPr>
          <p:cNvPr id="9" name="Straight Connector 8">
            <a:extLst>
              <a:ext uri="{FF2B5EF4-FFF2-40B4-BE49-F238E27FC236}">
                <a16:creationId xmlns:a16="http://schemas.microsoft.com/office/drawing/2014/main" id="{B924ED23-2E0C-4005-B142-AFB09DB43A5A}"/>
              </a:ext>
            </a:extLst>
          </p:cNvPr>
          <p:cNvCxnSpPr>
            <a:cxnSpLocks/>
          </p:cNvCxnSpPr>
          <p:nvPr userDrawn="1"/>
        </p:nvCxnSpPr>
        <p:spPr bwMode="auto">
          <a:xfrm>
            <a:off x="677946" y="3429001"/>
            <a:ext cx="8696963"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pic>
        <p:nvPicPr>
          <p:cNvPr id="22" name="Picture 21">
            <a:extLst>
              <a:ext uri="{FF2B5EF4-FFF2-40B4-BE49-F238E27FC236}">
                <a16:creationId xmlns:a16="http://schemas.microsoft.com/office/drawing/2014/main" id="{57391F95-9839-4541-9D25-73063462638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ltGray">
          <a:xfrm>
            <a:off x="9698182" y="57875"/>
            <a:ext cx="2336437" cy="1166159"/>
          </a:xfrm>
          <a:prstGeom prst="rect">
            <a:avLst/>
          </a:prstGeom>
        </p:spPr>
      </p:pic>
      <p:grpSp>
        <p:nvGrpSpPr>
          <p:cNvPr id="4" name="Group 3">
            <a:extLst>
              <a:ext uri="{FF2B5EF4-FFF2-40B4-BE49-F238E27FC236}">
                <a16:creationId xmlns:a16="http://schemas.microsoft.com/office/drawing/2014/main" id="{251BE401-A726-42FC-BBC4-6F45BC733D02}"/>
              </a:ext>
            </a:extLst>
          </p:cNvPr>
          <p:cNvGrpSpPr/>
          <p:nvPr userDrawn="1"/>
        </p:nvGrpSpPr>
        <p:grpSpPr>
          <a:xfrm>
            <a:off x="400521" y="2266383"/>
            <a:ext cx="154903" cy="434384"/>
            <a:chOff x="2479040" y="1473200"/>
            <a:chExt cx="182880" cy="512837"/>
          </a:xfrm>
        </p:grpSpPr>
        <p:sp>
          <p:nvSpPr>
            <p:cNvPr id="3" name="Oval 2">
              <a:extLst>
                <a:ext uri="{FF2B5EF4-FFF2-40B4-BE49-F238E27FC236}">
                  <a16:creationId xmlns:a16="http://schemas.microsoft.com/office/drawing/2014/main" id="{B1EF185A-F6D0-435F-9180-26DE5003D7BE}"/>
                </a:ext>
              </a:extLst>
            </p:cNvPr>
            <p:cNvSpPr/>
            <p:nvPr userDrawn="1"/>
          </p:nvSpPr>
          <p:spPr>
            <a:xfrm>
              <a:off x="2479040" y="1473200"/>
              <a:ext cx="182880" cy="18288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2" name="Oval 11">
              <a:extLst>
                <a:ext uri="{FF2B5EF4-FFF2-40B4-BE49-F238E27FC236}">
                  <a16:creationId xmlns:a16="http://schemas.microsoft.com/office/drawing/2014/main" id="{E219F304-9206-419D-93C7-A3E18C3CE959}"/>
                </a:ext>
              </a:extLst>
            </p:cNvPr>
            <p:cNvSpPr/>
            <p:nvPr userDrawn="1"/>
          </p:nvSpPr>
          <p:spPr>
            <a:xfrm>
              <a:off x="2479040" y="1803157"/>
              <a:ext cx="182880" cy="18288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pSp>
      <p:sp>
        <p:nvSpPr>
          <p:cNvPr id="5" name="Rectangle 4">
            <a:extLst>
              <a:ext uri="{FF2B5EF4-FFF2-40B4-BE49-F238E27FC236}">
                <a16:creationId xmlns:a16="http://schemas.microsoft.com/office/drawing/2014/main" id="{4F61B683-F0F8-8FBA-191C-A11F7708AA4B}"/>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7837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reakout">
    <p:bg>
      <p:bgPr>
        <a:gradFill flip="none" rotWithShape="1">
          <a:gsLst>
            <a:gs pos="0">
              <a:schemeClr val="accent2"/>
            </a:gs>
            <a:gs pos="100000">
              <a:srgbClr val="51AE32"/>
            </a:gs>
          </a:gsLst>
          <a:lin ang="2700000" scaled="1"/>
          <a:tileRect/>
        </a:gra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C5E2A55B-1C58-4CF5-681F-142C8D4240E3}"/>
              </a:ext>
            </a:extLst>
          </p:cNvPr>
          <p:cNvSpPr>
            <a:spLocks noGrp="1"/>
          </p:cNvSpPr>
          <p:nvPr>
            <p:ph type="title" hasCustomPrompt="1"/>
          </p:nvPr>
        </p:nvSpPr>
        <p:spPr>
          <a:xfrm>
            <a:off x="460375" y="549275"/>
            <a:ext cx="11036300" cy="5400673"/>
          </a:xfrm>
          <a:prstGeom prst="rect">
            <a:avLst/>
          </a:prstGeom>
          <a:noFill/>
        </p:spPr>
        <p:txBody>
          <a:bodyPr vert="horz" lIns="0" tIns="0" rIns="0" bIns="0" rtlCol="0" anchor="ctr">
            <a:normAutofit/>
          </a:bodyPr>
          <a:lstStyle>
            <a:lvl1pPr>
              <a:lnSpc>
                <a:spcPct val="100000"/>
              </a:lnSpc>
              <a:defRPr sz="4400"/>
            </a:lvl1pPr>
          </a:lstStyle>
          <a:p>
            <a:r>
              <a:rPr lang="en-GB"/>
              <a:t>Click to edit large breakout text.</a:t>
            </a:r>
            <a:endParaRPr lang="en-DE"/>
          </a:p>
        </p:txBody>
      </p:sp>
    </p:spTree>
    <p:extLst>
      <p:ext uri="{BB962C8B-B14F-4D97-AF65-F5344CB8AC3E}">
        <p14:creationId xmlns:p14="http://schemas.microsoft.com/office/powerpoint/2010/main" val="21527737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97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 Headin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E8437DE8-9E63-8C21-DF03-F1390EDC5E7D}"/>
              </a:ext>
            </a:extLst>
          </p:cNvPr>
          <p:cNvSpPr>
            <a:spLocks noGrp="1"/>
          </p:cNvSpPr>
          <p:nvPr>
            <p:ph type="body" sz="quarter" idx="13" hasCustomPrompt="1"/>
          </p:nvPr>
        </p:nvSpPr>
        <p:spPr>
          <a:xfrm>
            <a:off x="460374" y="688975"/>
            <a:ext cx="11295063" cy="579438"/>
          </a:xfrm>
          <a:prstGeom prst="rect">
            <a:avLst/>
          </a:prstGeom>
        </p:spPr>
        <p:txBody>
          <a:bodyPr lIns="0" tIns="0" rIns="0" bIns="0">
            <a:noAutofit/>
          </a:bodyPr>
          <a:lstStyle>
            <a:lvl1pPr marL="0" indent="0">
              <a:buNone/>
              <a:defRPr sz="1800" b="0">
                <a:solidFill>
                  <a:schemeClr val="bg1">
                    <a:lumMod val="65000"/>
                  </a:schemeClr>
                </a:solidFill>
                <a:latin typeface="+mn-lt"/>
              </a:defRPr>
            </a:lvl1pPr>
          </a:lstStyle>
          <a:p>
            <a:pPr lvl="0"/>
            <a:r>
              <a:rPr lang="en-US"/>
              <a:t>Click to add subtitle</a:t>
            </a:r>
          </a:p>
        </p:txBody>
      </p:sp>
      <p:sp>
        <p:nvSpPr>
          <p:cNvPr id="2" name="Title 1">
            <a:extLst>
              <a:ext uri="{FF2B5EF4-FFF2-40B4-BE49-F238E27FC236}">
                <a16:creationId xmlns:a16="http://schemas.microsoft.com/office/drawing/2014/main" id="{27F2247C-F6F9-ECCE-0B14-3210A9320E34}"/>
              </a:ext>
            </a:extLst>
          </p:cNvPr>
          <p:cNvSpPr>
            <a:spLocks noGrp="1"/>
          </p:cNvSpPr>
          <p:nvPr>
            <p:ph type="title"/>
          </p:nvPr>
        </p:nvSpPr>
        <p:spPr/>
        <p:txBody>
          <a:bodyPr/>
          <a:lstStyle>
            <a:lvl1pPr>
              <a:defRPr>
                <a:latin typeface="+mj-lt"/>
              </a:defRPr>
            </a:lvl1pPr>
          </a:lstStyle>
          <a:p>
            <a:r>
              <a:rPr lang="en-GB"/>
              <a:t>Click to edit Master title style</a:t>
            </a:r>
            <a:endParaRPr lang="en-US"/>
          </a:p>
        </p:txBody>
      </p:sp>
      <p:sp>
        <p:nvSpPr>
          <p:cNvPr id="4" name="Text Placeholder 3">
            <a:extLst>
              <a:ext uri="{FF2B5EF4-FFF2-40B4-BE49-F238E27FC236}">
                <a16:creationId xmlns:a16="http://schemas.microsoft.com/office/drawing/2014/main" id="{DC196FB9-52A4-0976-CF63-63F3044AC744}"/>
              </a:ext>
            </a:extLst>
          </p:cNvPr>
          <p:cNvSpPr>
            <a:spLocks noGrp="1"/>
          </p:cNvSpPr>
          <p:nvPr>
            <p:ph type="body" sz="quarter" idx="14"/>
          </p:nvPr>
        </p:nvSpPr>
        <p:spPr>
          <a:xfrm>
            <a:off x="460375" y="1684338"/>
            <a:ext cx="4705350" cy="1640064"/>
          </a:xfrm>
        </p:spPr>
        <p:txBody>
          <a:bodyPr/>
          <a:lstStyle>
            <a:lvl1pPr>
              <a:defRPr sz="1400">
                <a:latin typeface="+mn-lt"/>
              </a:defRPr>
            </a:lvl1pPr>
            <a:lvl2pPr>
              <a:defRPr sz="1200">
                <a:latin typeface="+mn-lt"/>
              </a:defRPr>
            </a:lvl2pPr>
            <a:lvl3pPr>
              <a:defRPr sz="12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B33DE4E-79CA-9E7F-B447-F698C18D3572}"/>
              </a:ext>
            </a:extLst>
          </p:cNvPr>
          <p:cNvSpPr>
            <a:spLocks noGrp="1"/>
          </p:cNvSpPr>
          <p:nvPr>
            <p:ph type="body" sz="quarter" idx="15"/>
          </p:nvPr>
        </p:nvSpPr>
        <p:spPr>
          <a:xfrm>
            <a:off x="5619115" y="1684338"/>
            <a:ext cx="4705350" cy="1640064"/>
          </a:xfrm>
        </p:spPr>
        <p:txBody>
          <a:bodyPr/>
          <a:lstStyle>
            <a:lvl1pPr>
              <a:defRPr sz="1400">
                <a:latin typeface="+mn-lt"/>
              </a:defRPr>
            </a:lvl1pPr>
            <a:lvl2pPr>
              <a:defRPr sz="1200">
                <a:latin typeface="+mn-lt"/>
              </a:defRPr>
            </a:lvl2pPr>
            <a:lvl3pPr>
              <a:defRPr sz="12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561002"/>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70418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9358113-08C8-41FF-B2AB-A80555D12FE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1" name="Slide Number Placeholder 3">
            <a:extLst>
              <a:ext uri="{FF2B5EF4-FFF2-40B4-BE49-F238E27FC236}">
                <a16:creationId xmlns:a16="http://schemas.microsoft.com/office/drawing/2014/main" id="{E1D2712E-66C8-4C97-85D9-C70ECDC0E6C3}"/>
              </a:ext>
            </a:extLst>
          </p:cNvPr>
          <p:cNvSpPr txBox="1">
            <a:spLocks/>
          </p:cNvSpPr>
          <p:nvPr userDrawn="1"/>
        </p:nvSpPr>
        <p:spPr>
          <a:xfrm>
            <a:off x="11494298" y="6465387"/>
            <a:ext cx="364202" cy="276999"/>
          </a:xfrm>
          <a:prstGeom prst="rect">
            <a:avLst/>
          </a:prstGeom>
          <a:noFill/>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bg2"/>
                </a:solidFill>
              </a:rPr>
              <a:pPr/>
              <a:t>‹#›</a:t>
            </a:fld>
            <a:endParaRPr lang="en-GB">
              <a:solidFill>
                <a:schemeClr val="bg2"/>
              </a:solidFill>
            </a:endParaRPr>
          </a:p>
        </p:txBody>
      </p:sp>
      <p:sp>
        <p:nvSpPr>
          <p:cNvPr id="7" name="5. Source" hidden="1">
            <a:extLst>
              <a:ext uri="{FF2B5EF4-FFF2-40B4-BE49-F238E27FC236}">
                <a16:creationId xmlns:a16="http://schemas.microsoft.com/office/drawing/2014/main" id="{6F449997-AFD6-42A0-A71B-BBB87E80FF14}"/>
              </a:ext>
            </a:extLst>
          </p:cNvPr>
          <p:cNvSpPr txBox="1"/>
          <p:nvPr userDrawn="1">
            <p:custDataLst>
              <p:tags r:id="rId2"/>
            </p:custDataLst>
          </p:nvPr>
        </p:nvSpPr>
        <p:spPr>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27692178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579870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665377" y="3475182"/>
            <a:ext cx="915096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b="1" baseline="0" dirty="0">
                <a:solidFill>
                  <a:schemeClr val="accent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665377" y="3075042"/>
            <a:ext cx="915096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000" b="1" baseline="0" dirty="0">
                <a:solidFill>
                  <a:schemeClr val="accent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665377" y="2262219"/>
            <a:ext cx="9150968"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2600" cap="none" baseline="0" dirty="0">
                <a:solidFill>
                  <a:schemeClr val="tx1"/>
                </a:solidFill>
              </a:defRPr>
            </a:lvl1pPr>
          </a:lstStyle>
          <a:p>
            <a:pPr lvl="0"/>
            <a:r>
              <a:rPr lang="en-US"/>
              <a:t>Click to edit Master title style</a:t>
            </a:r>
          </a:p>
        </p:txBody>
      </p:sp>
      <p:cxnSp>
        <p:nvCxnSpPr>
          <p:cNvPr id="9" name="Straight Connector 8">
            <a:extLst>
              <a:ext uri="{FF2B5EF4-FFF2-40B4-BE49-F238E27FC236}">
                <a16:creationId xmlns:a16="http://schemas.microsoft.com/office/drawing/2014/main" id="{B924ED23-2E0C-4005-B142-AFB09DB43A5A}"/>
              </a:ext>
            </a:extLst>
          </p:cNvPr>
          <p:cNvCxnSpPr>
            <a:cxnSpLocks/>
          </p:cNvCxnSpPr>
          <p:nvPr userDrawn="1"/>
        </p:nvCxnSpPr>
        <p:spPr bwMode="auto">
          <a:xfrm>
            <a:off x="677946" y="3429001"/>
            <a:ext cx="8696963"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pic>
        <p:nvPicPr>
          <p:cNvPr id="22" name="Picture 21">
            <a:extLst>
              <a:ext uri="{FF2B5EF4-FFF2-40B4-BE49-F238E27FC236}">
                <a16:creationId xmlns:a16="http://schemas.microsoft.com/office/drawing/2014/main" id="{57391F95-9839-4541-9D25-73063462638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ltGray">
          <a:xfrm>
            <a:off x="9698182" y="57875"/>
            <a:ext cx="2336437" cy="1166159"/>
          </a:xfrm>
          <a:prstGeom prst="rect">
            <a:avLst/>
          </a:prstGeom>
        </p:spPr>
      </p:pic>
      <p:grpSp>
        <p:nvGrpSpPr>
          <p:cNvPr id="4" name="Group 3">
            <a:extLst>
              <a:ext uri="{FF2B5EF4-FFF2-40B4-BE49-F238E27FC236}">
                <a16:creationId xmlns:a16="http://schemas.microsoft.com/office/drawing/2014/main" id="{251BE401-A726-42FC-BBC4-6F45BC733D02}"/>
              </a:ext>
            </a:extLst>
          </p:cNvPr>
          <p:cNvGrpSpPr/>
          <p:nvPr userDrawn="1"/>
        </p:nvGrpSpPr>
        <p:grpSpPr>
          <a:xfrm>
            <a:off x="400521" y="2266383"/>
            <a:ext cx="154903" cy="434384"/>
            <a:chOff x="2479040" y="1473200"/>
            <a:chExt cx="182880" cy="512837"/>
          </a:xfrm>
        </p:grpSpPr>
        <p:sp>
          <p:nvSpPr>
            <p:cNvPr id="3" name="Oval 2">
              <a:extLst>
                <a:ext uri="{FF2B5EF4-FFF2-40B4-BE49-F238E27FC236}">
                  <a16:creationId xmlns:a16="http://schemas.microsoft.com/office/drawing/2014/main" id="{B1EF185A-F6D0-435F-9180-26DE5003D7BE}"/>
                </a:ext>
              </a:extLst>
            </p:cNvPr>
            <p:cNvSpPr/>
            <p:nvPr userDrawn="1"/>
          </p:nvSpPr>
          <p:spPr>
            <a:xfrm>
              <a:off x="2479040" y="1473200"/>
              <a:ext cx="182880" cy="18288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2" name="Oval 11">
              <a:extLst>
                <a:ext uri="{FF2B5EF4-FFF2-40B4-BE49-F238E27FC236}">
                  <a16:creationId xmlns:a16="http://schemas.microsoft.com/office/drawing/2014/main" id="{E219F304-9206-419D-93C7-A3E18C3CE959}"/>
                </a:ext>
              </a:extLst>
            </p:cNvPr>
            <p:cNvSpPr/>
            <p:nvPr userDrawn="1"/>
          </p:nvSpPr>
          <p:spPr>
            <a:xfrm>
              <a:off x="2479040" y="1803157"/>
              <a:ext cx="182880" cy="18288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pSp>
      <p:sp>
        <p:nvSpPr>
          <p:cNvPr id="5" name="Rectangle 4">
            <a:extLst>
              <a:ext uri="{FF2B5EF4-FFF2-40B4-BE49-F238E27FC236}">
                <a16:creationId xmlns:a16="http://schemas.microsoft.com/office/drawing/2014/main" id="{4F61B683-F0F8-8FBA-191C-A11F7708AA4B}"/>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1652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312390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2" name="2. Slide Title">
            <a:extLst>
              <a:ext uri="{FF2B5EF4-FFF2-40B4-BE49-F238E27FC236}">
                <a16:creationId xmlns:a16="http://schemas.microsoft.com/office/drawing/2014/main" id="{F56A421F-F59B-42D8-BB01-FF8F21454C29}"/>
              </a:ext>
            </a:extLst>
          </p:cNvPr>
          <p:cNvSpPr>
            <a:spLocks noGrp="1"/>
          </p:cNvSpPr>
          <p:nvPr>
            <p:ph type="title"/>
            <p:custDataLst>
              <p:tags r:id="rId4"/>
            </p:custDataLst>
          </p:nvPr>
        </p:nvSpPr>
        <p:spPr>
          <a:xfrm>
            <a:off x="565988" y="591463"/>
            <a:ext cx="98683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6" name="3. Subtitle">
            <a:extLst>
              <a:ext uri="{FF2B5EF4-FFF2-40B4-BE49-F238E27FC236}">
                <a16:creationId xmlns:a16="http://schemas.microsoft.com/office/drawing/2014/main" id="{62289DCA-560D-4796-A6DE-842B6BBE6040}"/>
              </a:ext>
            </a:extLst>
          </p:cNvPr>
          <p:cNvSpPr>
            <a:spLocks noGrp="1"/>
          </p:cNvSpPr>
          <p:nvPr>
            <p:ph type="subTitle" idx="1"/>
            <p:custDataLst>
              <p:tags r:id="rId5"/>
            </p:custDataLst>
          </p:nvPr>
        </p:nvSpPr>
        <p:spPr>
          <a:xfrm>
            <a:off x="565988" y="1448192"/>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38711906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7466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2" name="2. Slide Title">
            <a:extLst>
              <a:ext uri="{FF2B5EF4-FFF2-40B4-BE49-F238E27FC236}">
                <a16:creationId xmlns:a16="http://schemas.microsoft.com/office/drawing/2014/main" id="{F56A421F-F59B-42D8-BB01-FF8F21454C29}"/>
              </a:ext>
            </a:extLst>
          </p:cNvPr>
          <p:cNvSpPr>
            <a:spLocks noGrp="1"/>
          </p:cNvSpPr>
          <p:nvPr>
            <p:ph type="title"/>
            <p:custDataLst>
              <p:tags r:id="rId4"/>
            </p:custDataLst>
          </p:nvPr>
        </p:nvSpPr>
        <p:spPr>
          <a:xfrm>
            <a:off x="565988" y="591463"/>
            <a:ext cx="98683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9" name="Chart Placeholder 13">
            <a:extLst>
              <a:ext uri="{FF2B5EF4-FFF2-40B4-BE49-F238E27FC236}">
                <a16:creationId xmlns:a16="http://schemas.microsoft.com/office/drawing/2014/main" id="{BFF22347-3BD8-440F-A2EA-2BB029715AB1}"/>
              </a:ext>
            </a:extLst>
          </p:cNvPr>
          <p:cNvSpPr>
            <a:spLocks noGrp="1"/>
          </p:cNvSpPr>
          <p:nvPr>
            <p:ph type="chart" sz="quarter" idx="11"/>
          </p:nvPr>
        </p:nvSpPr>
        <p:spPr>
          <a:xfrm>
            <a:off x="565988" y="2168525"/>
            <a:ext cx="8159675" cy="4041775"/>
          </a:xfrm>
        </p:spPr>
        <p:txBody>
          <a:bodyPr>
            <a:noAutofit/>
          </a:bodyPr>
          <a:lstStyle/>
          <a:p>
            <a:r>
              <a:rPr lang="en-US"/>
              <a:t>Click icon to add chart</a:t>
            </a:r>
            <a:endParaRPr lang="en-GB"/>
          </a:p>
        </p:txBody>
      </p:sp>
      <p:sp>
        <p:nvSpPr>
          <p:cNvPr id="10" name="Text Placeholder 3">
            <a:extLst>
              <a:ext uri="{FF2B5EF4-FFF2-40B4-BE49-F238E27FC236}">
                <a16:creationId xmlns:a16="http://schemas.microsoft.com/office/drawing/2014/main" id="{ABB92696-43C3-440A-AE68-025454D2A65E}"/>
              </a:ext>
            </a:extLst>
          </p:cNvPr>
          <p:cNvSpPr>
            <a:spLocks noGrp="1"/>
          </p:cNvSpPr>
          <p:nvPr>
            <p:ph type="body" sz="quarter" idx="12"/>
          </p:nvPr>
        </p:nvSpPr>
        <p:spPr>
          <a:xfrm>
            <a:off x="8813211" y="2168525"/>
            <a:ext cx="2842214" cy="4041775"/>
          </a:xfrm>
          <a:solidFill>
            <a:srgbClr val="EBF6F5"/>
          </a:solidFill>
        </p:spPr>
        <p:txBody>
          <a:bodyPr>
            <a:noAutofit/>
          </a:bodyPr>
          <a:lstStyle>
            <a:lvl1pPr marL="0" indent="0">
              <a:buFont typeface="Arial" panose="020B0604020202020204" pitchFamily="34" charset="0"/>
              <a:buNone/>
              <a:defRPr b="1"/>
            </a:lvl1pPr>
            <a:lvl2pPr marL="173038" indent="-173038">
              <a:defRPr/>
            </a:lvl2pPr>
            <a:lvl3pPr marL="284163" indent="-171450">
              <a:tabLst>
                <a:tab pos="284163" algn="l"/>
              </a:tabLst>
              <a:defRPr/>
            </a:lvl3pPr>
          </a:lstStyle>
          <a:p>
            <a:pPr lvl="0"/>
            <a:r>
              <a:rPr lang="en-US"/>
              <a:t>Click to edit Master text styles</a:t>
            </a:r>
          </a:p>
          <a:p>
            <a:pPr lvl="1"/>
            <a:r>
              <a:rPr lang="en-US"/>
              <a:t>Second level</a:t>
            </a:r>
          </a:p>
          <a:p>
            <a:pPr lvl="2"/>
            <a:r>
              <a:rPr lang="en-US"/>
              <a:t>Third level</a:t>
            </a:r>
          </a:p>
        </p:txBody>
      </p:sp>
      <p:sp>
        <p:nvSpPr>
          <p:cNvPr id="11" name="3. Subtitle">
            <a:extLst>
              <a:ext uri="{FF2B5EF4-FFF2-40B4-BE49-F238E27FC236}">
                <a16:creationId xmlns:a16="http://schemas.microsoft.com/office/drawing/2014/main" id="{4D47294E-19AA-4E03-9CF8-1F13EECD0EBC}"/>
              </a:ext>
            </a:extLst>
          </p:cNvPr>
          <p:cNvSpPr>
            <a:spLocks noGrp="1"/>
          </p:cNvSpPr>
          <p:nvPr>
            <p:ph type="subTitle" idx="1"/>
            <p:custDataLst>
              <p:tags r:id="rId5"/>
            </p:custDataLst>
          </p:nvPr>
        </p:nvSpPr>
        <p:spPr>
          <a:xfrm>
            <a:off x="565988" y="1448192"/>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14062488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6854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2" name="2. Slide Title">
            <a:extLst>
              <a:ext uri="{FF2B5EF4-FFF2-40B4-BE49-F238E27FC236}">
                <a16:creationId xmlns:a16="http://schemas.microsoft.com/office/drawing/2014/main" id="{F56A421F-F59B-42D8-BB01-FF8F21454C29}"/>
              </a:ext>
            </a:extLst>
          </p:cNvPr>
          <p:cNvSpPr>
            <a:spLocks noGrp="1"/>
          </p:cNvSpPr>
          <p:nvPr>
            <p:ph type="title"/>
            <p:custDataLst>
              <p:tags r:id="rId4"/>
            </p:custDataLst>
          </p:nvPr>
        </p:nvSpPr>
        <p:spPr>
          <a:xfrm>
            <a:off x="565988" y="591463"/>
            <a:ext cx="98683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9" name="Chart Placeholder 13">
            <a:extLst>
              <a:ext uri="{FF2B5EF4-FFF2-40B4-BE49-F238E27FC236}">
                <a16:creationId xmlns:a16="http://schemas.microsoft.com/office/drawing/2014/main" id="{BFF22347-3BD8-440F-A2EA-2BB029715AB1}"/>
              </a:ext>
            </a:extLst>
          </p:cNvPr>
          <p:cNvSpPr>
            <a:spLocks noGrp="1"/>
          </p:cNvSpPr>
          <p:nvPr>
            <p:ph type="chart" sz="quarter" idx="11"/>
          </p:nvPr>
        </p:nvSpPr>
        <p:spPr>
          <a:xfrm>
            <a:off x="565988" y="2168525"/>
            <a:ext cx="6423557" cy="4041775"/>
          </a:xfrm>
        </p:spPr>
        <p:txBody>
          <a:bodyPr>
            <a:noAutofit/>
          </a:bodyPr>
          <a:lstStyle/>
          <a:p>
            <a:r>
              <a:rPr lang="en-US"/>
              <a:t>Click icon to add chart</a:t>
            </a:r>
            <a:endParaRPr lang="en-GB"/>
          </a:p>
        </p:txBody>
      </p:sp>
      <p:sp>
        <p:nvSpPr>
          <p:cNvPr id="10" name="Text Placeholder 3">
            <a:extLst>
              <a:ext uri="{FF2B5EF4-FFF2-40B4-BE49-F238E27FC236}">
                <a16:creationId xmlns:a16="http://schemas.microsoft.com/office/drawing/2014/main" id="{ABB92696-43C3-440A-AE68-025454D2A65E}"/>
              </a:ext>
            </a:extLst>
          </p:cNvPr>
          <p:cNvSpPr>
            <a:spLocks noGrp="1"/>
          </p:cNvSpPr>
          <p:nvPr>
            <p:ph type="body" sz="quarter" idx="12"/>
          </p:nvPr>
        </p:nvSpPr>
        <p:spPr>
          <a:xfrm>
            <a:off x="7078445" y="2168525"/>
            <a:ext cx="4576980" cy="4041775"/>
          </a:xfrm>
          <a:solidFill>
            <a:srgbClr val="EBF6F5"/>
          </a:solidFill>
        </p:spPr>
        <p:txBody>
          <a:bodyPr>
            <a:noAutofit/>
          </a:bodyPr>
          <a:lstStyle>
            <a:lvl1pPr marL="0" indent="0">
              <a:buFont typeface="Arial" panose="020B0604020202020204" pitchFamily="34" charset="0"/>
              <a:buNone/>
              <a:defRPr b="1"/>
            </a:lvl1pPr>
            <a:lvl2pPr marL="173038" indent="-173038">
              <a:defRPr/>
            </a:lvl2pPr>
            <a:lvl3pPr marL="284163" indent="-171450">
              <a:tabLst>
                <a:tab pos="284163" algn="l"/>
              </a:tabLst>
              <a:defRPr/>
            </a:lvl3pPr>
          </a:lstStyle>
          <a:p>
            <a:pPr lvl="0"/>
            <a:r>
              <a:rPr lang="en-US"/>
              <a:t>Click to edit Master text styles</a:t>
            </a:r>
          </a:p>
          <a:p>
            <a:pPr lvl="1"/>
            <a:r>
              <a:rPr lang="en-US"/>
              <a:t>Second level</a:t>
            </a:r>
          </a:p>
          <a:p>
            <a:pPr lvl="2"/>
            <a:r>
              <a:rPr lang="en-US"/>
              <a:t>Third level</a:t>
            </a:r>
          </a:p>
        </p:txBody>
      </p:sp>
      <p:sp>
        <p:nvSpPr>
          <p:cNvPr id="11" name="3. Subtitle">
            <a:extLst>
              <a:ext uri="{FF2B5EF4-FFF2-40B4-BE49-F238E27FC236}">
                <a16:creationId xmlns:a16="http://schemas.microsoft.com/office/drawing/2014/main" id="{4D47294E-19AA-4E03-9CF8-1F13EECD0EBC}"/>
              </a:ext>
            </a:extLst>
          </p:cNvPr>
          <p:cNvSpPr>
            <a:spLocks noGrp="1"/>
          </p:cNvSpPr>
          <p:nvPr>
            <p:ph type="subTitle" idx="1"/>
            <p:custDataLst>
              <p:tags r:id="rId5"/>
            </p:custDataLst>
          </p:nvPr>
        </p:nvSpPr>
        <p:spPr>
          <a:xfrm>
            <a:off x="565988" y="1448192"/>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21863582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12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65988" y="1408557"/>
            <a:ext cx="3813048" cy="769441"/>
          </a:xfrm>
          <a:prstGeom prst="rect">
            <a:avLst/>
          </a:prstGeom>
        </p:spPr>
        <p:txBody>
          <a:bodyPr vert="horz" anchor="t">
            <a:noAutofit/>
          </a:bodyPr>
          <a:lstStyle>
            <a:lvl1pPr rtl="0">
              <a:lnSpc>
                <a:spcPct val="100000"/>
              </a:lnSpc>
              <a:defRPr sz="2100">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E1C9945F-FFD3-4135-855E-70F0C898584B}"/>
              </a:ext>
            </a:extLst>
          </p:cNvPr>
          <p:cNvSpPr txBox="1"/>
          <p:nvPr userDrawn="1">
            <p:custDataLst>
              <p:tags r:id="rId4"/>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13440312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81127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65988" y="3044280"/>
            <a:ext cx="5065776" cy="769441"/>
          </a:xfrm>
          <a:prstGeom prst="rect">
            <a:avLst/>
          </a:prstGeom>
        </p:spPr>
        <p:txBody>
          <a:bodyPr vert="horz" rIns="365760" anchor="ctr">
            <a:noAutofit/>
          </a:bodyPr>
          <a:lstStyle>
            <a:lvl1pPr rtl="0">
              <a:defRPr sz="2100">
                <a:ln w="6350" cap="flat">
                  <a:noFill/>
                  <a:miter lim="800000"/>
                </a:ln>
              </a:defRPr>
            </a:lvl1pPr>
          </a:lstStyle>
          <a:p>
            <a:r>
              <a:rPr lang="en-US"/>
              <a:t>Click to edit Master title style</a:t>
            </a:r>
          </a:p>
        </p:txBody>
      </p:sp>
      <p:sp>
        <p:nvSpPr>
          <p:cNvPr id="11" name="5. Source" hidden="1">
            <a:extLst>
              <a:ext uri="{FF2B5EF4-FFF2-40B4-BE49-F238E27FC236}">
                <a16:creationId xmlns:a16="http://schemas.microsoft.com/office/drawing/2014/main" id="{E6369252-D85D-4FD3-A54B-7DDF349D4F2A}"/>
              </a:ext>
            </a:extLst>
          </p:cNvPr>
          <p:cNvSpPr txBox="1"/>
          <p:nvPr userDrawn="1">
            <p:custDataLst>
              <p:tags r:id="rId4"/>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28053824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312390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2" name="2. Slide Title">
            <a:extLst>
              <a:ext uri="{FF2B5EF4-FFF2-40B4-BE49-F238E27FC236}">
                <a16:creationId xmlns:a16="http://schemas.microsoft.com/office/drawing/2014/main" id="{F56A421F-F59B-42D8-BB01-FF8F21454C29}"/>
              </a:ext>
            </a:extLst>
          </p:cNvPr>
          <p:cNvSpPr>
            <a:spLocks noGrp="1"/>
          </p:cNvSpPr>
          <p:nvPr>
            <p:ph type="title"/>
            <p:custDataLst>
              <p:tags r:id="rId4"/>
            </p:custDataLst>
          </p:nvPr>
        </p:nvSpPr>
        <p:spPr>
          <a:xfrm>
            <a:off x="565988" y="591463"/>
            <a:ext cx="98683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6" name="3. Subtitle">
            <a:extLst>
              <a:ext uri="{FF2B5EF4-FFF2-40B4-BE49-F238E27FC236}">
                <a16:creationId xmlns:a16="http://schemas.microsoft.com/office/drawing/2014/main" id="{62289DCA-560D-4796-A6DE-842B6BBE6040}"/>
              </a:ext>
            </a:extLst>
          </p:cNvPr>
          <p:cNvSpPr>
            <a:spLocks noGrp="1"/>
          </p:cNvSpPr>
          <p:nvPr>
            <p:ph type="subTitle" idx="1"/>
            <p:custDataLst>
              <p:tags r:id="rId5"/>
            </p:custDataLst>
          </p:nvPr>
        </p:nvSpPr>
        <p:spPr>
          <a:xfrm>
            <a:off x="565988" y="1448192"/>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11441716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30761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65988" y="4580468"/>
            <a:ext cx="10799065" cy="677108"/>
          </a:xfrm>
        </p:spPr>
        <p:txBody>
          <a:bodyPr vert="horz" anchor="b">
            <a:noAutofit/>
          </a:bodyPr>
          <a:lstStyle>
            <a:lvl1pPr rtl="0">
              <a:lnSpc>
                <a:spcPct val="100000"/>
              </a:lnSpc>
              <a:defRPr sz="4400"/>
            </a:lvl1pPr>
          </a:lstStyle>
          <a:p>
            <a:r>
              <a:rPr lang="en-US"/>
              <a:t>Click to edit Master title style</a:t>
            </a:r>
          </a:p>
        </p:txBody>
      </p:sp>
      <p:sp>
        <p:nvSpPr>
          <p:cNvPr id="10" name="5. Source" hidden="1">
            <a:extLst>
              <a:ext uri="{FF2B5EF4-FFF2-40B4-BE49-F238E27FC236}">
                <a16:creationId xmlns:a16="http://schemas.microsoft.com/office/drawing/2014/main" id="{C80112BB-3E59-4CCA-8D3C-C95E59AC304C}"/>
              </a:ext>
            </a:extLst>
          </p:cNvPr>
          <p:cNvSpPr txBox="1"/>
          <p:nvPr userDrawn="1">
            <p:custDataLst>
              <p:tags r:id="rId4"/>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21084636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465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nchor="b">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5. Source" hidden="1">
            <a:extLst>
              <a:ext uri="{FF2B5EF4-FFF2-40B4-BE49-F238E27FC236}">
                <a16:creationId xmlns:a16="http://schemas.microsoft.com/office/drawing/2014/main" id="{9DE2E564-2F56-4F47-A5C6-A45FD672E24D}"/>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39115873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87770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BD1E8CEA-59CA-420E-955C-4C9FBA24773C}"/>
              </a:ext>
            </a:extLst>
          </p:cNvPr>
          <p:cNvSpPr>
            <a:spLocks noGrp="1"/>
          </p:cNvSpPr>
          <p:nvPr>
            <p:ph type="title"/>
            <p:custDataLst>
              <p:tags r:id="rId4"/>
            </p:custDataLst>
          </p:nvPr>
        </p:nvSpPr>
        <p:spPr>
          <a:xfrm>
            <a:off x="565988" y="2867479"/>
            <a:ext cx="2514600" cy="646331"/>
          </a:xfrm>
          <a:prstGeom prst="rect">
            <a:avLst/>
          </a:prstGeom>
        </p:spPr>
        <p:txBody>
          <a:bodyPr vert="horz" wrap="square" lIns="0" tIns="0" rIns="0" bIns="0" rtlCol="0" anchor="b" anchorCtr="0">
            <a:spAutoFit/>
          </a:bodyPr>
          <a:lstStyle>
            <a:lvl1pPr>
              <a:defRPr sz="2100"/>
            </a:lvl1pPr>
          </a:lstStyle>
          <a:p>
            <a:pPr lvl="0"/>
            <a:r>
              <a:rPr lang="en-US"/>
              <a:t>Click to edit Master title style</a:t>
            </a:r>
          </a:p>
        </p:txBody>
      </p:sp>
      <p:sp>
        <p:nvSpPr>
          <p:cNvPr id="12" name="5. Source" hidden="1">
            <a:extLst>
              <a:ext uri="{FF2B5EF4-FFF2-40B4-BE49-F238E27FC236}">
                <a16:creationId xmlns:a16="http://schemas.microsoft.com/office/drawing/2014/main" id="{B952EA60-D78B-4966-BCE5-1F37E53A0A9B}"/>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pic>
        <p:nvPicPr>
          <p:cNvPr id="26" name="Picture 25">
            <a:extLst>
              <a:ext uri="{FF2B5EF4-FFF2-40B4-BE49-F238E27FC236}">
                <a16:creationId xmlns:a16="http://schemas.microsoft.com/office/drawing/2014/main" id="{C70EEFD8-10FA-49D9-BE39-326325CA69A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27" name="Slide Number Placeholder 3">
            <a:extLst>
              <a:ext uri="{FF2B5EF4-FFF2-40B4-BE49-F238E27FC236}">
                <a16:creationId xmlns:a16="http://schemas.microsoft.com/office/drawing/2014/main" id="{7FB39C23-1A0D-4689-B480-CAE5A42CF4B7}"/>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cxnSp>
        <p:nvCxnSpPr>
          <p:cNvPr id="28" name="Straight Connector 27">
            <a:extLst>
              <a:ext uri="{FF2B5EF4-FFF2-40B4-BE49-F238E27FC236}">
                <a16:creationId xmlns:a16="http://schemas.microsoft.com/office/drawing/2014/main" id="{054F8B71-4D7E-46FE-805B-6ED6F7A95D9D}"/>
              </a:ext>
            </a:extLst>
          </p:cNvPr>
          <p:cNvCxnSpPr>
            <a:cxnSpLocks/>
          </p:cNvCxnSpPr>
          <p:nvPr userDrawn="1"/>
        </p:nvCxnSpPr>
        <p:spPr bwMode="auto">
          <a:xfrm>
            <a:off x="565988" y="3625570"/>
            <a:ext cx="2514600"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3" name="3. Subtitle">
            <a:extLst>
              <a:ext uri="{FF2B5EF4-FFF2-40B4-BE49-F238E27FC236}">
                <a16:creationId xmlns:a16="http://schemas.microsoft.com/office/drawing/2014/main" id="{BEACC590-E76A-486A-BA80-48DD4B63EDA5}"/>
              </a:ext>
            </a:extLst>
          </p:cNvPr>
          <p:cNvSpPr>
            <a:spLocks noGrp="1"/>
          </p:cNvSpPr>
          <p:nvPr>
            <p:ph type="subTitle" idx="1"/>
            <p:custDataLst>
              <p:tags r:id="rId6"/>
            </p:custDataLst>
          </p:nvPr>
        </p:nvSpPr>
        <p:spPr>
          <a:xfrm>
            <a:off x="565988" y="3701770"/>
            <a:ext cx="2514600"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7936986F-DF9A-1EC6-B3AC-26D33E7D62BB}"/>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31131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10198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6" name="Picture 15">
            <a:extLst>
              <a:ext uri="{FF2B5EF4-FFF2-40B4-BE49-F238E27FC236}">
                <a16:creationId xmlns:a16="http://schemas.microsoft.com/office/drawing/2014/main" id="{8D3D6F55-B966-484B-B893-BB78FFDF6EA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8" name="Slide Number Placeholder 3">
            <a:extLst>
              <a:ext uri="{FF2B5EF4-FFF2-40B4-BE49-F238E27FC236}">
                <a16:creationId xmlns:a16="http://schemas.microsoft.com/office/drawing/2014/main" id="{30652FE1-A0A5-4C31-8E37-253B16933074}"/>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sp>
        <p:nvSpPr>
          <p:cNvPr id="17" name="2. Slide Title">
            <a:extLst>
              <a:ext uri="{FF2B5EF4-FFF2-40B4-BE49-F238E27FC236}">
                <a16:creationId xmlns:a16="http://schemas.microsoft.com/office/drawing/2014/main" id="{F5BCFC20-866D-4B4B-887B-74333CC67311}"/>
              </a:ext>
            </a:extLst>
          </p:cNvPr>
          <p:cNvSpPr>
            <a:spLocks noGrp="1"/>
          </p:cNvSpPr>
          <p:nvPr>
            <p:ph type="title"/>
            <p:custDataLst>
              <p:tags r:id="rId4"/>
            </p:custDataLst>
          </p:nvPr>
        </p:nvSpPr>
        <p:spPr>
          <a:xfrm>
            <a:off x="565988" y="2744369"/>
            <a:ext cx="3498012" cy="769441"/>
          </a:xfrm>
          <a:prstGeom prst="rect">
            <a:avLst/>
          </a:prstGeom>
        </p:spPr>
        <p:txBody>
          <a:bodyPr vert="horz" wrap="square" lIns="0" tIns="0" rIns="0" bIns="0" rtlCol="0" anchor="b" anchorCtr="0">
            <a:noAutofit/>
          </a:bodyPr>
          <a:lstStyle>
            <a:lvl1pPr>
              <a:defRPr sz="2100"/>
            </a:lvl1pPr>
          </a:lstStyle>
          <a:p>
            <a:pPr lvl="0"/>
            <a:r>
              <a:rPr lang="en-US"/>
              <a:t>Click to edit Master title style</a:t>
            </a:r>
          </a:p>
        </p:txBody>
      </p:sp>
      <p:sp>
        <p:nvSpPr>
          <p:cNvPr id="20" name="5. Source" hidden="1">
            <a:extLst>
              <a:ext uri="{FF2B5EF4-FFF2-40B4-BE49-F238E27FC236}">
                <a16:creationId xmlns:a16="http://schemas.microsoft.com/office/drawing/2014/main" id="{954E1F18-BB17-4630-9064-6EB72EAB2FE2}"/>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cxnSp>
        <p:nvCxnSpPr>
          <p:cNvPr id="21" name="Straight Connector 20">
            <a:extLst>
              <a:ext uri="{FF2B5EF4-FFF2-40B4-BE49-F238E27FC236}">
                <a16:creationId xmlns:a16="http://schemas.microsoft.com/office/drawing/2014/main" id="{19F1D3B3-62A9-47D6-8C9B-C391CE5E9B87}"/>
              </a:ext>
            </a:extLst>
          </p:cNvPr>
          <p:cNvCxnSpPr>
            <a:cxnSpLocks/>
          </p:cNvCxnSpPr>
          <p:nvPr userDrawn="1"/>
        </p:nvCxnSpPr>
        <p:spPr bwMode="auto">
          <a:xfrm>
            <a:off x="565988" y="3625570"/>
            <a:ext cx="2514600"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2" name="3. Subtitle">
            <a:extLst>
              <a:ext uri="{FF2B5EF4-FFF2-40B4-BE49-F238E27FC236}">
                <a16:creationId xmlns:a16="http://schemas.microsoft.com/office/drawing/2014/main" id="{06825C5C-EBBD-49F7-B4A8-14B806E2B9D4}"/>
              </a:ext>
            </a:extLst>
          </p:cNvPr>
          <p:cNvSpPr>
            <a:spLocks noGrp="1"/>
          </p:cNvSpPr>
          <p:nvPr>
            <p:ph type="subTitle" idx="1"/>
            <p:custDataLst>
              <p:tags r:id="rId6"/>
            </p:custDataLst>
          </p:nvPr>
        </p:nvSpPr>
        <p:spPr>
          <a:xfrm>
            <a:off x="565988" y="3701770"/>
            <a:ext cx="349801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05F4FF67-842E-856A-6D6A-56EF15A4B50F}"/>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07997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23154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13" name="Picture 12">
            <a:extLst>
              <a:ext uri="{FF2B5EF4-FFF2-40B4-BE49-F238E27FC236}">
                <a16:creationId xmlns:a16="http://schemas.microsoft.com/office/drawing/2014/main" id="{B98689D6-21FB-4D3A-B5F0-9347514302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4" name="Slide Number Placeholder 3">
            <a:extLst>
              <a:ext uri="{FF2B5EF4-FFF2-40B4-BE49-F238E27FC236}">
                <a16:creationId xmlns:a16="http://schemas.microsoft.com/office/drawing/2014/main" id="{FE4DD3A5-3A0C-42E6-98C7-084E53C2E975}"/>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sp>
        <p:nvSpPr>
          <p:cNvPr id="23" name="2. Slide Title">
            <a:extLst>
              <a:ext uri="{FF2B5EF4-FFF2-40B4-BE49-F238E27FC236}">
                <a16:creationId xmlns:a16="http://schemas.microsoft.com/office/drawing/2014/main" id="{7DC2BF9B-2D96-4F5A-AD02-7B477B24D202}"/>
              </a:ext>
            </a:extLst>
          </p:cNvPr>
          <p:cNvSpPr>
            <a:spLocks noGrp="1"/>
          </p:cNvSpPr>
          <p:nvPr>
            <p:ph type="title"/>
            <p:custDataLst>
              <p:tags r:id="rId4"/>
            </p:custDataLst>
          </p:nvPr>
        </p:nvSpPr>
        <p:spPr>
          <a:xfrm>
            <a:off x="565988" y="591463"/>
            <a:ext cx="5054601"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18" name="5. Source" hidden="1">
            <a:extLst>
              <a:ext uri="{FF2B5EF4-FFF2-40B4-BE49-F238E27FC236}">
                <a16:creationId xmlns:a16="http://schemas.microsoft.com/office/drawing/2014/main" id="{AACD8E13-B433-44DB-AD04-AF762CA019BB}"/>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cxnSp>
        <p:nvCxnSpPr>
          <p:cNvPr id="20" name="Straight Connector 19">
            <a:extLst>
              <a:ext uri="{FF2B5EF4-FFF2-40B4-BE49-F238E27FC236}">
                <a16:creationId xmlns:a16="http://schemas.microsoft.com/office/drawing/2014/main" id="{4A328B8F-85B5-4DAE-AD49-99E3EB04A971}"/>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2" name="3. Subtitle">
            <a:extLst>
              <a:ext uri="{FF2B5EF4-FFF2-40B4-BE49-F238E27FC236}">
                <a16:creationId xmlns:a16="http://schemas.microsoft.com/office/drawing/2014/main" id="{3466EDC1-B0F1-4508-B77F-24C0EA286570}"/>
              </a:ext>
            </a:extLst>
          </p:cNvPr>
          <p:cNvSpPr>
            <a:spLocks noGrp="1"/>
          </p:cNvSpPr>
          <p:nvPr>
            <p:ph type="subTitle" idx="1"/>
            <p:custDataLst>
              <p:tags r:id="rId6"/>
            </p:custDataLst>
          </p:nvPr>
        </p:nvSpPr>
        <p:spPr>
          <a:xfrm>
            <a:off x="565988" y="1448192"/>
            <a:ext cx="505460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79B098C8-20BF-E217-E730-F469038DAFD3}"/>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1073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24031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pic>
        <p:nvPicPr>
          <p:cNvPr id="25" name="Picture 24">
            <a:extLst>
              <a:ext uri="{FF2B5EF4-FFF2-40B4-BE49-F238E27FC236}">
                <a16:creationId xmlns:a16="http://schemas.microsoft.com/office/drawing/2014/main" id="{91D5C030-DE0E-453D-BD06-B74E585091A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26" name="Slide Number Placeholder 3">
            <a:extLst>
              <a:ext uri="{FF2B5EF4-FFF2-40B4-BE49-F238E27FC236}">
                <a16:creationId xmlns:a16="http://schemas.microsoft.com/office/drawing/2014/main" id="{5823C3DC-F531-4EFC-B21E-6A1F9FA899B7}"/>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sp>
        <p:nvSpPr>
          <p:cNvPr id="14" name="2. Slide Title">
            <a:extLst>
              <a:ext uri="{FF2B5EF4-FFF2-40B4-BE49-F238E27FC236}">
                <a16:creationId xmlns:a16="http://schemas.microsoft.com/office/drawing/2014/main" id="{7DA24F8B-958E-48A4-BC23-CE1D668A0CB6}"/>
              </a:ext>
            </a:extLst>
          </p:cNvPr>
          <p:cNvSpPr>
            <a:spLocks noGrp="1"/>
          </p:cNvSpPr>
          <p:nvPr>
            <p:ph type="title"/>
            <p:custDataLst>
              <p:tags r:id="rId4"/>
            </p:custDataLst>
          </p:nvPr>
        </p:nvSpPr>
        <p:spPr>
          <a:xfrm>
            <a:off x="565988" y="591463"/>
            <a:ext cx="70235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15" name="5. Source" hidden="1">
            <a:extLst>
              <a:ext uri="{FF2B5EF4-FFF2-40B4-BE49-F238E27FC236}">
                <a16:creationId xmlns:a16="http://schemas.microsoft.com/office/drawing/2014/main" id="{D5A3843E-4AFD-46C0-81CA-D19CC927CF76}"/>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cxnSp>
        <p:nvCxnSpPr>
          <p:cNvPr id="17" name="Straight Connector 16">
            <a:extLst>
              <a:ext uri="{FF2B5EF4-FFF2-40B4-BE49-F238E27FC236}">
                <a16:creationId xmlns:a16="http://schemas.microsoft.com/office/drawing/2014/main" id="{62864B3D-FF77-45DC-977F-B0E37DA6EB9D}"/>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2" name="3. Subtitle">
            <a:extLst>
              <a:ext uri="{FF2B5EF4-FFF2-40B4-BE49-F238E27FC236}">
                <a16:creationId xmlns:a16="http://schemas.microsoft.com/office/drawing/2014/main" id="{C60BAAB0-BB33-4ECF-A7E4-0806465C4EDA}"/>
              </a:ext>
            </a:extLst>
          </p:cNvPr>
          <p:cNvSpPr>
            <a:spLocks noGrp="1"/>
          </p:cNvSpPr>
          <p:nvPr>
            <p:ph type="subTitle" idx="1"/>
            <p:custDataLst>
              <p:tags r:id="rId6"/>
            </p:custDataLst>
          </p:nvPr>
        </p:nvSpPr>
        <p:spPr>
          <a:xfrm>
            <a:off x="565988" y="1448192"/>
            <a:ext cx="70235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C31FDD2D-F1FB-2CCE-FE90-3E62EFAEA54A}"/>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35086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22758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BF6F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pic>
        <p:nvPicPr>
          <p:cNvPr id="14" name="Picture 13">
            <a:extLst>
              <a:ext uri="{FF2B5EF4-FFF2-40B4-BE49-F238E27FC236}">
                <a16:creationId xmlns:a16="http://schemas.microsoft.com/office/drawing/2014/main" id="{AA51C123-52EE-4844-B118-E08894B381CF}"/>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5" name="Slide Number Placeholder 3">
            <a:extLst>
              <a:ext uri="{FF2B5EF4-FFF2-40B4-BE49-F238E27FC236}">
                <a16:creationId xmlns:a16="http://schemas.microsoft.com/office/drawing/2014/main" id="{FAEB9E9A-7DB2-4867-81BB-86AA0FFB497F}"/>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accent5">
                    <a:lumMod val="75000"/>
                  </a:schemeClr>
                </a:solidFill>
              </a:rPr>
              <a:pPr/>
              <a:t>‹#›</a:t>
            </a:fld>
            <a:endParaRPr lang="en-GB">
              <a:solidFill>
                <a:schemeClr val="accent5">
                  <a:lumMod val="75000"/>
                </a:schemeClr>
              </a:solidFill>
            </a:endParaRPr>
          </a:p>
        </p:txBody>
      </p:sp>
      <p:sp>
        <p:nvSpPr>
          <p:cNvPr id="18" name="2. Slide Title">
            <a:extLst>
              <a:ext uri="{FF2B5EF4-FFF2-40B4-BE49-F238E27FC236}">
                <a16:creationId xmlns:a16="http://schemas.microsoft.com/office/drawing/2014/main" id="{D293976B-7078-4301-A8C7-515E1B8E999C}"/>
              </a:ext>
            </a:extLst>
          </p:cNvPr>
          <p:cNvSpPr>
            <a:spLocks noGrp="1"/>
          </p:cNvSpPr>
          <p:nvPr>
            <p:ph type="title"/>
            <p:custDataLst>
              <p:tags r:id="rId4"/>
            </p:custDataLst>
          </p:nvPr>
        </p:nvSpPr>
        <p:spPr>
          <a:xfrm>
            <a:off x="565988" y="591463"/>
            <a:ext cx="78871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19" name="5. Source" hidden="1">
            <a:extLst>
              <a:ext uri="{FF2B5EF4-FFF2-40B4-BE49-F238E27FC236}">
                <a16:creationId xmlns:a16="http://schemas.microsoft.com/office/drawing/2014/main" id="{69C69592-1378-46B0-9A13-85C5EDC26391}"/>
              </a:ext>
            </a:extLst>
          </p:cNvPr>
          <p:cNvSpPr txBox="1"/>
          <p:nvPr userDrawn="1">
            <p:custDataLst>
              <p:tags r:id="rId5"/>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cxnSp>
        <p:nvCxnSpPr>
          <p:cNvPr id="22" name="Straight Connector 21">
            <a:extLst>
              <a:ext uri="{FF2B5EF4-FFF2-40B4-BE49-F238E27FC236}">
                <a16:creationId xmlns:a16="http://schemas.microsoft.com/office/drawing/2014/main" id="{ABFE69B8-BB78-468B-A560-117CA478443C}"/>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12" name="3. Subtitle">
            <a:extLst>
              <a:ext uri="{FF2B5EF4-FFF2-40B4-BE49-F238E27FC236}">
                <a16:creationId xmlns:a16="http://schemas.microsoft.com/office/drawing/2014/main" id="{4AA83521-B3B5-41B6-9D88-2300D37ABA44}"/>
              </a:ext>
            </a:extLst>
          </p:cNvPr>
          <p:cNvSpPr>
            <a:spLocks noGrp="1"/>
          </p:cNvSpPr>
          <p:nvPr>
            <p:ph type="subTitle" idx="1"/>
            <p:custDataLst>
              <p:tags r:id="rId6"/>
            </p:custDataLst>
          </p:nvPr>
        </p:nvSpPr>
        <p:spPr>
          <a:xfrm>
            <a:off x="565988" y="1448192"/>
            <a:ext cx="78871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2" name="Rectangle 1">
            <a:extLst>
              <a:ext uri="{FF2B5EF4-FFF2-40B4-BE49-F238E27FC236}">
                <a16:creationId xmlns:a16="http://schemas.microsoft.com/office/drawing/2014/main" id="{93B33BDF-A83C-DD4A-840B-527B091C6202}"/>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94068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36831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81E2484B-3E40-408C-A350-5EB40C8A09F0}"/>
              </a:ext>
            </a:extLst>
          </p:cNvPr>
          <p:cNvSpPr txBox="1"/>
          <p:nvPr userDrawn="1">
            <p:custDataLst>
              <p:tags r:id="rId2"/>
            </p:custDataLst>
          </p:nvPr>
        </p:nvSpPr>
        <p:spPr>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65988" y="1798040"/>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9" name="2. Slide Title">
            <a:extLst>
              <a:ext uri="{FF2B5EF4-FFF2-40B4-BE49-F238E27FC236}">
                <a16:creationId xmlns:a16="http://schemas.microsoft.com/office/drawing/2014/main" id="{5CD0FD19-ECFA-43ED-AF58-975525455AA0}"/>
              </a:ext>
            </a:extLst>
          </p:cNvPr>
          <p:cNvSpPr>
            <a:spLocks noGrp="1"/>
          </p:cNvSpPr>
          <p:nvPr>
            <p:ph type="title" hasCustomPrompt="1"/>
            <p:custDataLst>
              <p:tags r:id="rId3"/>
            </p:custDataLst>
          </p:nvPr>
        </p:nvSpPr>
        <p:spPr>
          <a:xfrm>
            <a:off x="565988" y="591463"/>
            <a:ext cx="9758682" cy="9694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sz="2100"/>
            </a:lvl1pPr>
          </a:lstStyle>
          <a:p>
            <a:pPr lvl="0"/>
            <a:r>
              <a:rPr lang="en-US"/>
              <a:t>Click to edit Master title style</a:t>
            </a:r>
            <a:br>
              <a:rPr lang="en-US"/>
            </a:br>
            <a:br>
              <a:rPr lang="en-US"/>
            </a:br>
            <a:endParaRPr lang="en-US"/>
          </a:p>
        </p:txBody>
      </p:sp>
      <p:cxnSp>
        <p:nvCxnSpPr>
          <p:cNvPr id="21" name="Straight Connector 20">
            <a:extLst>
              <a:ext uri="{FF2B5EF4-FFF2-40B4-BE49-F238E27FC236}">
                <a16:creationId xmlns:a16="http://schemas.microsoft.com/office/drawing/2014/main" id="{41DE7007-650F-41C6-9535-AD348FE79082}"/>
              </a:ext>
            </a:extLst>
          </p:cNvPr>
          <p:cNvCxnSpPr>
            <a:cxnSpLocks/>
          </p:cNvCxnSpPr>
          <p:nvPr userDrawn="1"/>
        </p:nvCxnSpPr>
        <p:spPr bwMode="auto">
          <a:xfrm>
            <a:off x="565988" y="1760419"/>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pic>
        <p:nvPicPr>
          <p:cNvPr id="22" name="Picture 21">
            <a:extLst>
              <a:ext uri="{FF2B5EF4-FFF2-40B4-BE49-F238E27FC236}">
                <a16:creationId xmlns:a16="http://schemas.microsoft.com/office/drawing/2014/main" id="{8883D3D0-9DA7-4DA0-9612-283F1A12E54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23" name="Slide Number Placeholder 3">
            <a:extLst>
              <a:ext uri="{FF2B5EF4-FFF2-40B4-BE49-F238E27FC236}">
                <a16:creationId xmlns:a16="http://schemas.microsoft.com/office/drawing/2014/main" id="{690CE7DB-8DB6-4B07-A22B-4D4D95FAC97F}"/>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sp>
        <p:nvSpPr>
          <p:cNvPr id="2" name="Rectangle 1">
            <a:extLst>
              <a:ext uri="{FF2B5EF4-FFF2-40B4-BE49-F238E27FC236}">
                <a16:creationId xmlns:a16="http://schemas.microsoft.com/office/drawing/2014/main" id="{78878690-EDAC-C86C-C3CB-4ECE8767B941}"/>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3860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9358113-08C8-41FF-B2AB-A80555D12FE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1" name="Slide Number Placeholder 3">
            <a:extLst>
              <a:ext uri="{FF2B5EF4-FFF2-40B4-BE49-F238E27FC236}">
                <a16:creationId xmlns:a16="http://schemas.microsoft.com/office/drawing/2014/main" id="{E1D2712E-66C8-4C97-85D9-C70ECDC0E6C3}"/>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sp>
        <p:nvSpPr>
          <p:cNvPr id="7" name="5. Source" hidden="1">
            <a:extLst>
              <a:ext uri="{FF2B5EF4-FFF2-40B4-BE49-F238E27FC236}">
                <a16:creationId xmlns:a16="http://schemas.microsoft.com/office/drawing/2014/main" id="{6F449997-AFD6-42A0-A71B-BBB87E80FF14}"/>
              </a:ext>
            </a:extLst>
          </p:cNvPr>
          <p:cNvSpPr txBox="1"/>
          <p:nvPr userDrawn="1">
            <p:custDataLst>
              <p:tags r:id="rId2"/>
            </p:custDataLst>
          </p:nvPr>
        </p:nvSpPr>
        <p:spPr>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21202022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pic>
        <p:nvPicPr>
          <p:cNvPr id="5" name="Picture 4">
            <a:extLst>
              <a:ext uri="{FF2B5EF4-FFF2-40B4-BE49-F238E27FC236}">
                <a16:creationId xmlns:a16="http://schemas.microsoft.com/office/drawing/2014/main" id="{132BFDD1-DE28-4818-B15E-5F96E6A3055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ltGray">
          <a:xfrm>
            <a:off x="4538776" y="2651761"/>
            <a:ext cx="3114450" cy="1554480"/>
          </a:xfrm>
          <a:prstGeom prst="rect">
            <a:avLst/>
          </a:prstGeom>
        </p:spPr>
      </p:pic>
    </p:spTree>
    <p:extLst>
      <p:ext uri="{BB962C8B-B14F-4D97-AF65-F5344CB8AC3E}">
        <p14:creationId xmlns:p14="http://schemas.microsoft.com/office/powerpoint/2010/main" val="29993345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7466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2" name="2. Slide Title">
            <a:extLst>
              <a:ext uri="{FF2B5EF4-FFF2-40B4-BE49-F238E27FC236}">
                <a16:creationId xmlns:a16="http://schemas.microsoft.com/office/drawing/2014/main" id="{F56A421F-F59B-42D8-BB01-FF8F21454C29}"/>
              </a:ext>
            </a:extLst>
          </p:cNvPr>
          <p:cNvSpPr>
            <a:spLocks noGrp="1"/>
          </p:cNvSpPr>
          <p:nvPr>
            <p:ph type="title"/>
            <p:custDataLst>
              <p:tags r:id="rId4"/>
            </p:custDataLst>
          </p:nvPr>
        </p:nvSpPr>
        <p:spPr>
          <a:xfrm>
            <a:off x="565988" y="591463"/>
            <a:ext cx="98683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9" name="Chart Placeholder 13">
            <a:extLst>
              <a:ext uri="{FF2B5EF4-FFF2-40B4-BE49-F238E27FC236}">
                <a16:creationId xmlns:a16="http://schemas.microsoft.com/office/drawing/2014/main" id="{BFF22347-3BD8-440F-A2EA-2BB029715AB1}"/>
              </a:ext>
            </a:extLst>
          </p:cNvPr>
          <p:cNvSpPr>
            <a:spLocks noGrp="1"/>
          </p:cNvSpPr>
          <p:nvPr>
            <p:ph type="chart" sz="quarter" idx="11"/>
          </p:nvPr>
        </p:nvSpPr>
        <p:spPr>
          <a:xfrm>
            <a:off x="565988" y="2168525"/>
            <a:ext cx="8159675" cy="4041775"/>
          </a:xfrm>
        </p:spPr>
        <p:txBody>
          <a:bodyPr>
            <a:noAutofit/>
          </a:bodyPr>
          <a:lstStyle/>
          <a:p>
            <a:r>
              <a:rPr lang="en-US"/>
              <a:t>Click icon to add chart</a:t>
            </a:r>
            <a:endParaRPr lang="en-GB"/>
          </a:p>
        </p:txBody>
      </p:sp>
      <p:sp>
        <p:nvSpPr>
          <p:cNvPr id="10" name="Text Placeholder 3">
            <a:extLst>
              <a:ext uri="{FF2B5EF4-FFF2-40B4-BE49-F238E27FC236}">
                <a16:creationId xmlns:a16="http://schemas.microsoft.com/office/drawing/2014/main" id="{ABB92696-43C3-440A-AE68-025454D2A65E}"/>
              </a:ext>
            </a:extLst>
          </p:cNvPr>
          <p:cNvSpPr>
            <a:spLocks noGrp="1"/>
          </p:cNvSpPr>
          <p:nvPr>
            <p:ph type="body" sz="quarter" idx="12"/>
          </p:nvPr>
        </p:nvSpPr>
        <p:spPr>
          <a:xfrm>
            <a:off x="8813211" y="2168525"/>
            <a:ext cx="2842214" cy="4041775"/>
          </a:xfrm>
          <a:solidFill>
            <a:srgbClr val="EBF6F5"/>
          </a:solidFill>
        </p:spPr>
        <p:txBody>
          <a:bodyPr>
            <a:noAutofit/>
          </a:bodyPr>
          <a:lstStyle>
            <a:lvl1pPr marL="0" indent="0">
              <a:buFont typeface="Arial" panose="020B0604020202020204" pitchFamily="34" charset="0"/>
              <a:buNone/>
              <a:defRPr b="1"/>
            </a:lvl1pPr>
            <a:lvl2pPr marL="173038" indent="-173038">
              <a:defRPr/>
            </a:lvl2pPr>
            <a:lvl3pPr marL="284163" indent="-171450">
              <a:tabLst>
                <a:tab pos="284163" algn="l"/>
              </a:tabLst>
              <a:defRPr/>
            </a:lvl3pPr>
          </a:lstStyle>
          <a:p>
            <a:pPr lvl="0"/>
            <a:r>
              <a:rPr lang="en-US"/>
              <a:t>Click to edit Master text styles</a:t>
            </a:r>
          </a:p>
          <a:p>
            <a:pPr lvl="1"/>
            <a:r>
              <a:rPr lang="en-US"/>
              <a:t>Second level</a:t>
            </a:r>
          </a:p>
          <a:p>
            <a:pPr lvl="2"/>
            <a:r>
              <a:rPr lang="en-US"/>
              <a:t>Third level</a:t>
            </a:r>
          </a:p>
        </p:txBody>
      </p:sp>
      <p:sp>
        <p:nvSpPr>
          <p:cNvPr id="11" name="3. Subtitle">
            <a:extLst>
              <a:ext uri="{FF2B5EF4-FFF2-40B4-BE49-F238E27FC236}">
                <a16:creationId xmlns:a16="http://schemas.microsoft.com/office/drawing/2014/main" id="{4D47294E-19AA-4E03-9CF8-1F13EECD0EBC}"/>
              </a:ext>
            </a:extLst>
          </p:cNvPr>
          <p:cNvSpPr>
            <a:spLocks noGrp="1"/>
          </p:cNvSpPr>
          <p:nvPr>
            <p:ph type="subTitle" idx="1"/>
            <p:custDataLst>
              <p:tags r:id="rId5"/>
            </p:custDataLst>
          </p:nvPr>
        </p:nvSpPr>
        <p:spPr>
          <a:xfrm>
            <a:off x="565988" y="1448192"/>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16113638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3323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65988" y="1408557"/>
            <a:ext cx="3813048" cy="769441"/>
          </a:xfrm>
          <a:prstGeom prst="rect">
            <a:avLst/>
          </a:prstGeom>
        </p:spPr>
        <p:txBody>
          <a:bodyPr vert="horz" anchor="t">
            <a:noAutofit/>
          </a:bodyPr>
          <a:lstStyle>
            <a:lvl1pPr rtl="0">
              <a:defRPr sz="2100">
                <a:ln w="6350" cap="flat">
                  <a:noFill/>
                  <a:miter lim="800000"/>
                </a:ln>
              </a:defRPr>
            </a:lvl1pPr>
          </a:lstStyle>
          <a:p>
            <a:r>
              <a:rPr lang="en-US"/>
              <a:t>Click to edit Master title style</a:t>
            </a:r>
          </a:p>
        </p:txBody>
      </p:sp>
      <p:sp>
        <p:nvSpPr>
          <p:cNvPr id="11" name="5. Source" hidden="1">
            <a:extLst>
              <a:ext uri="{FF2B5EF4-FFF2-40B4-BE49-F238E27FC236}">
                <a16:creationId xmlns:a16="http://schemas.microsoft.com/office/drawing/2014/main" id="{229396C5-72C6-4651-9138-41CA66D9EB47}"/>
              </a:ext>
            </a:extLst>
          </p:cNvPr>
          <p:cNvSpPr txBox="1"/>
          <p:nvPr userDrawn="1">
            <p:custDataLst>
              <p:tags r:id="rId4"/>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Tree>
    <p:extLst>
      <p:ext uri="{BB962C8B-B14F-4D97-AF65-F5344CB8AC3E}">
        <p14:creationId xmlns:p14="http://schemas.microsoft.com/office/powerpoint/2010/main" val="42745579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amp; subtitle with gre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1C36EB6-B427-2135-F4B5-D5DF5A719ACF}"/>
              </a:ext>
            </a:extLst>
          </p:cNvPr>
          <p:cNvGraphicFramePr>
            <a:graphicFrameLocks noChangeAspect="1"/>
          </p:cNvGraphicFramePr>
          <p:nvPr userDrawn="1">
            <p:custDataLst>
              <p:tags r:id="rId1"/>
            </p:custDataLst>
            <p:extLst>
              <p:ext uri="{D42A27DB-BD31-4B8C-83A1-F6EECF244321}">
                <p14:modId xmlns:p14="http://schemas.microsoft.com/office/powerpoint/2010/main" val="1313676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41C36EB6-B427-2135-F4B5-D5DF5A719A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296A612-9B80-9DFD-9251-26A5525E6F32}"/>
              </a:ext>
            </a:extLst>
          </p:cNvPr>
          <p:cNvSpPr/>
          <p:nvPr userDrawn="1"/>
        </p:nvSpPr>
        <p:spPr>
          <a:xfrm>
            <a:off x="268112" y="1128923"/>
            <a:ext cx="11923888" cy="3496757"/>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lumMod val="65000"/>
                  </a:schemeClr>
                </a:solidFill>
              </a:defRPr>
            </a:lvl1pPr>
          </a:lstStyle>
          <a:p>
            <a:pPr lvl="0"/>
            <a:r>
              <a:rPr lang="en-US"/>
              <a:t>Click to add subtitle</a:t>
            </a:r>
          </a:p>
        </p:txBody>
      </p:sp>
      <p:sp>
        <p:nvSpPr>
          <p:cNvPr id="5" name="Title 4">
            <a:extLst>
              <a:ext uri="{FF2B5EF4-FFF2-40B4-BE49-F238E27FC236}">
                <a16:creationId xmlns:a16="http://schemas.microsoft.com/office/drawing/2014/main" id="{AA31B46E-9201-7FDF-800E-4A9B382B23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94698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521617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rc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2" name="2. Slide Title">
            <a:extLst>
              <a:ext uri="{FF2B5EF4-FFF2-40B4-BE49-F238E27FC236}">
                <a16:creationId xmlns:a16="http://schemas.microsoft.com/office/drawing/2014/main" id="{F56A421F-F59B-42D8-BB01-FF8F21454C29}"/>
              </a:ext>
            </a:extLst>
          </p:cNvPr>
          <p:cNvSpPr>
            <a:spLocks noGrp="1"/>
          </p:cNvSpPr>
          <p:nvPr>
            <p:ph type="title"/>
            <p:custDataLst>
              <p:tags r:id="rId4"/>
            </p:custDataLst>
          </p:nvPr>
        </p:nvSpPr>
        <p:spPr>
          <a:xfrm>
            <a:off x="565988" y="591463"/>
            <a:ext cx="9868332" cy="3231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sz="2100"/>
            </a:lvl1pPr>
          </a:lstStyle>
          <a:p>
            <a:pPr lvl="0"/>
            <a:r>
              <a:rPr lang="en-US"/>
              <a:t>Click to edit Master title style</a:t>
            </a:r>
          </a:p>
        </p:txBody>
      </p:sp>
      <p:sp>
        <p:nvSpPr>
          <p:cNvPr id="6" name="3. Subtitle">
            <a:extLst>
              <a:ext uri="{FF2B5EF4-FFF2-40B4-BE49-F238E27FC236}">
                <a16:creationId xmlns:a16="http://schemas.microsoft.com/office/drawing/2014/main" id="{62289DCA-560D-4796-A6DE-842B6BBE6040}"/>
              </a:ext>
            </a:extLst>
          </p:cNvPr>
          <p:cNvSpPr>
            <a:spLocks noGrp="1"/>
          </p:cNvSpPr>
          <p:nvPr>
            <p:ph type="subTitle" idx="1"/>
            <p:custDataLst>
              <p:tags r:id="rId5"/>
            </p:custDataLst>
          </p:nvPr>
        </p:nvSpPr>
        <p:spPr>
          <a:xfrm>
            <a:off x="565988" y="1448192"/>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1" dirty="0">
                <a:solidFill>
                  <a:schemeClr val="accent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13" name="1. On-page tracker">
            <a:extLst>
              <a:ext uri="{FF2B5EF4-FFF2-40B4-BE49-F238E27FC236}">
                <a16:creationId xmlns:a16="http://schemas.microsoft.com/office/drawing/2014/main" id="{91ED9290-FB27-4EE9-8465-225E19567937}"/>
              </a:ext>
            </a:extLst>
          </p:cNvPr>
          <p:cNvSpPr>
            <a:spLocks noGrp="1"/>
          </p:cNvSpPr>
          <p:nvPr>
            <p:ph type="body" sz="quarter" idx="10" hasCustomPrompt="1"/>
            <p:custDataLst>
              <p:tags r:id="rId6"/>
            </p:custDataLst>
          </p:nvPr>
        </p:nvSpPr>
        <p:spPr>
          <a:xfrm>
            <a:off x="10730041" y="682874"/>
            <a:ext cx="1221560"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800" b="0" dirty="0">
                <a:solidFill>
                  <a:srgbClr val="7F7F7F"/>
                </a:solidFill>
                <a:cs typeface="+mn-cs"/>
              </a:defRPr>
            </a:lvl1pPr>
          </a:lstStyle>
          <a:p>
            <a:pPr lvl="0">
              <a:buNone/>
            </a:pPr>
            <a:r>
              <a:rPr lang="en-US"/>
              <a:t>Add tracker</a:t>
            </a:r>
          </a:p>
        </p:txBody>
      </p:sp>
    </p:spTree>
    <p:extLst>
      <p:ext uri="{BB962C8B-B14F-4D97-AF65-F5344CB8AC3E}">
        <p14:creationId xmlns:p14="http://schemas.microsoft.com/office/powerpoint/2010/main" val="24686183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Content | Headin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0134B91-84B8-3D36-D3F5-5D62AB2D882B}"/>
              </a:ext>
            </a:extLst>
          </p:cNvPr>
          <p:cNvGraphicFramePr>
            <a:graphicFrameLocks noChangeAspect="1"/>
          </p:cNvGraphicFramePr>
          <p:nvPr userDrawn="1">
            <p:custDataLst>
              <p:tags r:id="rId1"/>
            </p:custDataLst>
            <p:extLst>
              <p:ext uri="{D42A27DB-BD31-4B8C-83A1-F6EECF244321}">
                <p14:modId xmlns:p14="http://schemas.microsoft.com/office/powerpoint/2010/main" val="1821465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think-cell data - do not delete" hidden="1">
                        <a:extLst>
                          <a:ext uri="{FF2B5EF4-FFF2-40B4-BE49-F238E27FC236}">
                            <a16:creationId xmlns:a16="http://schemas.microsoft.com/office/drawing/2014/main" id="{60134B91-84B8-3D36-D3F5-5D62AB2D88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8">
            <a:extLst>
              <a:ext uri="{FF2B5EF4-FFF2-40B4-BE49-F238E27FC236}">
                <a16:creationId xmlns:a16="http://schemas.microsoft.com/office/drawing/2014/main" id="{E8437DE8-9E63-8C21-DF03-F1390EDC5E7D}"/>
              </a:ext>
            </a:extLst>
          </p:cNvPr>
          <p:cNvSpPr>
            <a:spLocks noGrp="1"/>
          </p:cNvSpPr>
          <p:nvPr>
            <p:ph type="body" sz="quarter" idx="13" hasCustomPrompt="1"/>
          </p:nvPr>
        </p:nvSpPr>
        <p:spPr>
          <a:xfrm>
            <a:off x="460374" y="688975"/>
            <a:ext cx="11295063" cy="579438"/>
          </a:xfrm>
          <a:prstGeom prst="rect">
            <a:avLst/>
          </a:prstGeom>
        </p:spPr>
        <p:txBody>
          <a:bodyPr lIns="0" tIns="0" rIns="0" bIns="0">
            <a:noAutofit/>
          </a:bodyPr>
          <a:lstStyle>
            <a:lvl1pPr marL="0" indent="0">
              <a:buNone/>
              <a:defRPr sz="1800" b="0">
                <a:solidFill>
                  <a:srgbClr val="53565A"/>
                </a:solidFill>
                <a:latin typeface="+mn-lt"/>
              </a:defRPr>
            </a:lvl1pPr>
          </a:lstStyle>
          <a:p>
            <a:pPr lvl="0"/>
            <a:r>
              <a:rPr lang="en-US"/>
              <a:t>Click to add subtitle</a:t>
            </a:r>
          </a:p>
        </p:txBody>
      </p:sp>
      <p:sp>
        <p:nvSpPr>
          <p:cNvPr id="2" name="Title 1">
            <a:extLst>
              <a:ext uri="{FF2B5EF4-FFF2-40B4-BE49-F238E27FC236}">
                <a16:creationId xmlns:a16="http://schemas.microsoft.com/office/drawing/2014/main" id="{27F2247C-F6F9-ECCE-0B14-3210A9320E34}"/>
              </a:ext>
            </a:extLst>
          </p:cNvPr>
          <p:cNvSpPr>
            <a:spLocks noGrp="1"/>
          </p:cNvSpPr>
          <p:nvPr>
            <p:ph type="title"/>
          </p:nvPr>
        </p:nvSpPr>
        <p:spPr>
          <a:xfrm>
            <a:off x="460374" y="319643"/>
            <a:ext cx="9707882" cy="369332"/>
          </a:xfrm>
        </p:spPr>
        <p:txBody>
          <a:bodyPr vert="horz"/>
          <a:lstStyle>
            <a:lvl1pPr>
              <a:defRPr>
                <a:latin typeface="+mj-lt"/>
              </a:defRPr>
            </a:lvl1pPr>
          </a:lstStyle>
          <a:p>
            <a:r>
              <a:rPr lang="en-GB"/>
              <a:t>Click to edit Master title style</a:t>
            </a:r>
            <a:endParaRPr lang="en-US"/>
          </a:p>
        </p:txBody>
      </p:sp>
      <p:sp>
        <p:nvSpPr>
          <p:cNvPr id="4" name="Text Placeholder 3">
            <a:extLst>
              <a:ext uri="{FF2B5EF4-FFF2-40B4-BE49-F238E27FC236}">
                <a16:creationId xmlns:a16="http://schemas.microsoft.com/office/drawing/2014/main" id="{DC196FB9-52A4-0976-CF63-63F3044AC744}"/>
              </a:ext>
            </a:extLst>
          </p:cNvPr>
          <p:cNvSpPr>
            <a:spLocks noGrp="1"/>
          </p:cNvSpPr>
          <p:nvPr>
            <p:ph type="body" sz="quarter" idx="14"/>
          </p:nvPr>
        </p:nvSpPr>
        <p:spPr>
          <a:xfrm>
            <a:off x="460375" y="1684338"/>
            <a:ext cx="4705350" cy="1640064"/>
          </a:xfrm>
        </p:spPr>
        <p:txBody>
          <a:bodyPr/>
          <a:lstStyle>
            <a:lvl1pPr>
              <a:defRPr sz="1400">
                <a:latin typeface="+mn-lt"/>
              </a:defRPr>
            </a:lvl1pPr>
            <a:lvl2pPr>
              <a:defRPr sz="1200">
                <a:latin typeface="+mn-lt"/>
              </a:defRPr>
            </a:lvl2pPr>
            <a:lvl3pPr>
              <a:defRPr sz="12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B33DE4E-79CA-9E7F-B447-F698C18D3572}"/>
              </a:ext>
            </a:extLst>
          </p:cNvPr>
          <p:cNvSpPr>
            <a:spLocks noGrp="1"/>
          </p:cNvSpPr>
          <p:nvPr>
            <p:ph type="body" sz="quarter" idx="15"/>
          </p:nvPr>
        </p:nvSpPr>
        <p:spPr>
          <a:xfrm>
            <a:off x="5619115" y="1684338"/>
            <a:ext cx="4705350" cy="1640064"/>
          </a:xfrm>
        </p:spPr>
        <p:txBody>
          <a:bodyPr/>
          <a:lstStyle>
            <a:lvl1pPr>
              <a:defRPr sz="1400">
                <a:latin typeface="+mn-lt"/>
              </a:defRPr>
            </a:lvl1pPr>
            <a:lvl2pPr>
              <a:defRPr sz="1200">
                <a:latin typeface="+mn-lt"/>
              </a:defRPr>
            </a:lvl2pPr>
            <a:lvl3pPr>
              <a:defRPr sz="1200">
                <a:latin typeface="+mn-lt"/>
              </a:defRPr>
            </a:lvl3pPr>
            <a:lvl4pPr>
              <a:defRPr sz="1050">
                <a:latin typeface="+mn-lt"/>
              </a:defRPr>
            </a:lvl4pPr>
            <a:lvl5pPr>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612707"/>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750355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81E2484B-3E40-408C-A350-5EB40C8A09F0}"/>
              </a:ext>
            </a:extLst>
          </p:cNvPr>
          <p:cNvSpPr txBox="1"/>
          <p:nvPr userDrawn="1">
            <p:custDataLst>
              <p:tags r:id="rId2"/>
            </p:custDataLst>
          </p:nvPr>
        </p:nvSpPr>
        <p:spPr>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
        <p:nvSpPr>
          <p:cNvPr id="9" name="Sticker" hidden="1">
            <a:extLst>
              <a:ext uri="{FF2B5EF4-FFF2-40B4-BE49-F238E27FC236}">
                <a16:creationId xmlns:a16="http://schemas.microsoft.com/office/drawing/2014/main" id="{2B5F1846-DB86-4338-8AFA-F2C1B534B900}"/>
              </a:ext>
            </a:extLst>
          </p:cNvPr>
          <p:cNvSpPr txBox="1"/>
          <p:nvPr userDrawn="1"/>
        </p:nvSpPr>
        <p:spPr>
          <a:xfrm>
            <a:off x="565988" y="2093008"/>
            <a:ext cx="344646"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9" name="2. Slide Title">
            <a:extLst>
              <a:ext uri="{FF2B5EF4-FFF2-40B4-BE49-F238E27FC236}">
                <a16:creationId xmlns:a16="http://schemas.microsoft.com/office/drawing/2014/main" id="{5CD0FD19-ECFA-43ED-AF58-975525455AA0}"/>
              </a:ext>
            </a:extLst>
          </p:cNvPr>
          <p:cNvSpPr>
            <a:spLocks noGrp="1"/>
          </p:cNvSpPr>
          <p:nvPr>
            <p:ph type="title" hasCustomPrompt="1"/>
            <p:custDataLst>
              <p:tags r:id="rId3"/>
            </p:custDataLst>
          </p:nvPr>
        </p:nvSpPr>
        <p:spPr>
          <a:xfrm>
            <a:off x="565988" y="591463"/>
            <a:ext cx="9758682" cy="96949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sz="2100"/>
            </a:lvl1pPr>
          </a:lstStyle>
          <a:p>
            <a:pPr lvl="0"/>
            <a:r>
              <a:rPr lang="en-US"/>
              <a:t>Click to edit Master title style</a:t>
            </a:r>
            <a:br>
              <a:rPr lang="en-US"/>
            </a:br>
            <a:br>
              <a:rPr lang="en-US"/>
            </a:br>
            <a:endParaRPr lang="en-US"/>
          </a:p>
        </p:txBody>
      </p:sp>
      <p:cxnSp>
        <p:nvCxnSpPr>
          <p:cNvPr id="21" name="Straight Connector 20">
            <a:extLst>
              <a:ext uri="{FF2B5EF4-FFF2-40B4-BE49-F238E27FC236}">
                <a16:creationId xmlns:a16="http://schemas.microsoft.com/office/drawing/2014/main" id="{41DE7007-650F-41C6-9535-AD348FE79082}"/>
              </a:ext>
            </a:extLst>
          </p:cNvPr>
          <p:cNvCxnSpPr>
            <a:cxnSpLocks/>
          </p:cNvCxnSpPr>
          <p:nvPr userDrawn="1"/>
        </p:nvCxnSpPr>
        <p:spPr bwMode="auto">
          <a:xfrm>
            <a:off x="565988" y="1760419"/>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pic>
        <p:nvPicPr>
          <p:cNvPr id="22" name="Picture 21">
            <a:extLst>
              <a:ext uri="{FF2B5EF4-FFF2-40B4-BE49-F238E27FC236}">
                <a16:creationId xmlns:a16="http://schemas.microsoft.com/office/drawing/2014/main" id="{8883D3D0-9DA7-4DA0-9612-283F1A12E54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23" name="Slide Number Placeholder 3">
            <a:extLst>
              <a:ext uri="{FF2B5EF4-FFF2-40B4-BE49-F238E27FC236}">
                <a16:creationId xmlns:a16="http://schemas.microsoft.com/office/drawing/2014/main" id="{690CE7DB-8DB6-4B07-A22B-4D4D95FAC97F}"/>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sp>
        <p:nvSpPr>
          <p:cNvPr id="11" name="3. Subtitle">
            <a:extLst>
              <a:ext uri="{FF2B5EF4-FFF2-40B4-BE49-F238E27FC236}">
                <a16:creationId xmlns:a16="http://schemas.microsoft.com/office/drawing/2014/main" id="{C3D524AF-BE65-49F3-850C-8B9BC2C88EEF}"/>
              </a:ext>
            </a:extLst>
          </p:cNvPr>
          <p:cNvSpPr>
            <a:spLocks noGrp="1"/>
          </p:cNvSpPr>
          <p:nvPr>
            <p:ph type="subTitle" idx="1"/>
            <p:custDataLst>
              <p:tags r:id="rId4"/>
            </p:custDataLst>
          </p:nvPr>
        </p:nvSpPr>
        <p:spPr>
          <a:xfrm>
            <a:off x="565988" y="1811985"/>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1" dirty="0">
                <a:solidFill>
                  <a:schemeClr val="accent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12" name="1. On-page tracker">
            <a:extLst>
              <a:ext uri="{FF2B5EF4-FFF2-40B4-BE49-F238E27FC236}">
                <a16:creationId xmlns:a16="http://schemas.microsoft.com/office/drawing/2014/main" id="{13E70907-E144-4ECF-8BE4-6F2FEF1B7F7C}"/>
              </a:ext>
            </a:extLst>
          </p:cNvPr>
          <p:cNvSpPr>
            <a:spLocks noGrp="1"/>
          </p:cNvSpPr>
          <p:nvPr>
            <p:ph type="body" sz="quarter" idx="10" hasCustomPrompt="1"/>
            <p:custDataLst>
              <p:tags r:id="rId5"/>
            </p:custDataLst>
          </p:nvPr>
        </p:nvSpPr>
        <p:spPr>
          <a:xfrm>
            <a:off x="10730041" y="682874"/>
            <a:ext cx="1221560"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800" b="0" dirty="0">
                <a:solidFill>
                  <a:srgbClr val="7F7F7F"/>
                </a:solidFill>
                <a:cs typeface="+mn-cs"/>
              </a:defRPr>
            </a:lvl1pPr>
          </a:lstStyle>
          <a:p>
            <a:pPr lvl="0">
              <a:buNone/>
            </a:pPr>
            <a:r>
              <a:rPr lang="en-US"/>
              <a:t>Add tracker</a:t>
            </a:r>
          </a:p>
        </p:txBody>
      </p:sp>
      <p:sp>
        <p:nvSpPr>
          <p:cNvPr id="2" name="Rectangle 1">
            <a:extLst>
              <a:ext uri="{FF2B5EF4-FFF2-40B4-BE49-F238E27FC236}">
                <a16:creationId xmlns:a16="http://schemas.microsoft.com/office/drawing/2014/main" id="{C83E4CA6-CCF8-0CC9-2FC7-0F57F8B2ABAD}"/>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2658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25616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2" name="2. Slide Title">
            <a:extLst>
              <a:ext uri="{FF2B5EF4-FFF2-40B4-BE49-F238E27FC236}">
                <a16:creationId xmlns:a16="http://schemas.microsoft.com/office/drawing/2014/main" id="{F56A421F-F59B-42D8-BB01-FF8F21454C29}"/>
              </a:ext>
            </a:extLst>
          </p:cNvPr>
          <p:cNvSpPr>
            <a:spLocks noGrp="1"/>
          </p:cNvSpPr>
          <p:nvPr>
            <p:ph type="title"/>
            <p:custDataLst>
              <p:tags r:id="rId4"/>
            </p:custDataLst>
          </p:nvPr>
        </p:nvSpPr>
        <p:spPr>
          <a:xfrm>
            <a:off x="565988" y="591463"/>
            <a:ext cx="98683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a:lvl1pPr>
          </a:lstStyle>
          <a:p>
            <a:pPr lvl="0"/>
            <a:r>
              <a:rPr lang="en-US"/>
              <a:t>Click to edit Master title style</a:t>
            </a:r>
          </a:p>
        </p:txBody>
      </p:sp>
      <p:sp>
        <p:nvSpPr>
          <p:cNvPr id="6" name="3. Subtitle">
            <a:extLst>
              <a:ext uri="{FF2B5EF4-FFF2-40B4-BE49-F238E27FC236}">
                <a16:creationId xmlns:a16="http://schemas.microsoft.com/office/drawing/2014/main" id="{62289DCA-560D-4796-A6DE-842B6BBE6040}"/>
              </a:ext>
            </a:extLst>
          </p:cNvPr>
          <p:cNvSpPr>
            <a:spLocks noGrp="1"/>
          </p:cNvSpPr>
          <p:nvPr>
            <p:ph type="subTitle" idx="1"/>
            <p:custDataLst>
              <p:tags r:id="rId5"/>
            </p:custDataLst>
          </p:nvPr>
        </p:nvSpPr>
        <p:spPr>
          <a:xfrm>
            <a:off x="565988" y="1448192"/>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1" dirty="0">
                <a:solidFill>
                  <a:schemeClr val="accent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
        <p:nvSpPr>
          <p:cNvPr id="13" name="1. On-page tracker">
            <a:extLst>
              <a:ext uri="{FF2B5EF4-FFF2-40B4-BE49-F238E27FC236}">
                <a16:creationId xmlns:a16="http://schemas.microsoft.com/office/drawing/2014/main" id="{91ED9290-FB27-4EE9-8465-225E19567937}"/>
              </a:ext>
            </a:extLst>
          </p:cNvPr>
          <p:cNvSpPr>
            <a:spLocks noGrp="1"/>
          </p:cNvSpPr>
          <p:nvPr>
            <p:ph type="body" sz="quarter" idx="10" hasCustomPrompt="1"/>
            <p:custDataLst>
              <p:tags r:id="rId6"/>
            </p:custDataLst>
          </p:nvPr>
        </p:nvSpPr>
        <p:spPr>
          <a:xfrm>
            <a:off x="10730041" y="682874"/>
            <a:ext cx="1221560"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800" b="0" dirty="0">
                <a:solidFill>
                  <a:srgbClr val="7F7F7F"/>
                </a:solidFill>
                <a:cs typeface="+mn-cs"/>
              </a:defRPr>
            </a:lvl1pPr>
          </a:lstStyle>
          <a:p>
            <a:pPr lvl="0">
              <a:buNone/>
            </a:pPr>
            <a:r>
              <a:rPr lang="en-US"/>
              <a:t>Add tracker</a:t>
            </a:r>
          </a:p>
        </p:txBody>
      </p:sp>
    </p:spTree>
    <p:extLst>
      <p:ext uri="{BB962C8B-B14F-4D97-AF65-F5344CB8AC3E}">
        <p14:creationId xmlns:p14="http://schemas.microsoft.com/office/powerpoint/2010/main" val="22552378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26854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65988"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r>
              <a:rPr lang="en-US" dirty="0"/>
              <a:t>…</a:t>
            </a:r>
          </a:p>
        </p:txBody>
      </p:sp>
      <p:sp>
        <p:nvSpPr>
          <p:cNvPr id="12" name="2. Slide Title">
            <a:extLst>
              <a:ext uri="{FF2B5EF4-FFF2-40B4-BE49-F238E27FC236}">
                <a16:creationId xmlns:a16="http://schemas.microsoft.com/office/drawing/2014/main" id="{F56A421F-F59B-42D8-BB01-FF8F21454C29}"/>
              </a:ext>
            </a:extLst>
          </p:cNvPr>
          <p:cNvSpPr>
            <a:spLocks noGrp="1"/>
          </p:cNvSpPr>
          <p:nvPr>
            <p:ph type="title"/>
            <p:custDataLst>
              <p:tags r:id="rId4"/>
            </p:custDataLst>
          </p:nvPr>
        </p:nvSpPr>
        <p:spPr>
          <a:xfrm>
            <a:off x="565988" y="591463"/>
            <a:ext cx="986833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sz="2100"/>
            </a:lvl1pPr>
          </a:lstStyle>
          <a:p>
            <a:pPr lvl="0"/>
            <a:r>
              <a:rPr lang="en-US"/>
              <a:t>Click to edit Master title style</a:t>
            </a:r>
          </a:p>
        </p:txBody>
      </p:sp>
      <p:sp>
        <p:nvSpPr>
          <p:cNvPr id="9" name="Chart Placeholder 13">
            <a:extLst>
              <a:ext uri="{FF2B5EF4-FFF2-40B4-BE49-F238E27FC236}">
                <a16:creationId xmlns:a16="http://schemas.microsoft.com/office/drawing/2014/main" id="{BFF22347-3BD8-440F-A2EA-2BB029715AB1}"/>
              </a:ext>
            </a:extLst>
          </p:cNvPr>
          <p:cNvSpPr>
            <a:spLocks noGrp="1"/>
          </p:cNvSpPr>
          <p:nvPr>
            <p:ph type="chart" sz="quarter" idx="11"/>
          </p:nvPr>
        </p:nvSpPr>
        <p:spPr>
          <a:xfrm>
            <a:off x="565988" y="2168525"/>
            <a:ext cx="6423557" cy="4041775"/>
          </a:xfrm>
        </p:spPr>
        <p:txBody>
          <a:bodyPr>
            <a:noAutofit/>
          </a:bodyPr>
          <a:lstStyle/>
          <a:p>
            <a:r>
              <a:rPr lang="en-US"/>
              <a:t>Click icon to add chart</a:t>
            </a:r>
            <a:endParaRPr lang="en-GB"/>
          </a:p>
        </p:txBody>
      </p:sp>
      <p:sp>
        <p:nvSpPr>
          <p:cNvPr id="10" name="Text Placeholder 3">
            <a:extLst>
              <a:ext uri="{FF2B5EF4-FFF2-40B4-BE49-F238E27FC236}">
                <a16:creationId xmlns:a16="http://schemas.microsoft.com/office/drawing/2014/main" id="{ABB92696-43C3-440A-AE68-025454D2A65E}"/>
              </a:ext>
            </a:extLst>
          </p:cNvPr>
          <p:cNvSpPr>
            <a:spLocks noGrp="1"/>
          </p:cNvSpPr>
          <p:nvPr>
            <p:ph type="body" sz="quarter" idx="12"/>
          </p:nvPr>
        </p:nvSpPr>
        <p:spPr>
          <a:xfrm>
            <a:off x="7078445" y="2168525"/>
            <a:ext cx="4576980" cy="4041775"/>
          </a:xfrm>
          <a:solidFill>
            <a:srgbClr val="EBF6F5"/>
          </a:solidFill>
        </p:spPr>
        <p:txBody>
          <a:bodyPr>
            <a:noAutofit/>
          </a:bodyPr>
          <a:lstStyle>
            <a:lvl1pPr marL="0" indent="0">
              <a:buFont typeface="Arial" panose="020B0604020202020204" pitchFamily="34" charset="0"/>
              <a:buNone/>
              <a:defRPr b="1"/>
            </a:lvl1pPr>
            <a:lvl2pPr marL="173038" indent="-173038">
              <a:defRPr/>
            </a:lvl2pPr>
            <a:lvl3pPr marL="284163" indent="-171450">
              <a:tabLst>
                <a:tab pos="284163" algn="l"/>
              </a:tabLst>
              <a:defRPr/>
            </a:lvl3pPr>
          </a:lstStyle>
          <a:p>
            <a:pPr lvl="0"/>
            <a:r>
              <a:rPr lang="en-US"/>
              <a:t>Click to edit Master text styles</a:t>
            </a:r>
          </a:p>
          <a:p>
            <a:pPr lvl="1"/>
            <a:r>
              <a:rPr lang="en-US"/>
              <a:t>Second level</a:t>
            </a:r>
          </a:p>
          <a:p>
            <a:pPr lvl="2"/>
            <a:r>
              <a:rPr lang="en-US"/>
              <a:t>Third level</a:t>
            </a:r>
          </a:p>
        </p:txBody>
      </p:sp>
      <p:sp>
        <p:nvSpPr>
          <p:cNvPr id="11" name="3. Subtitle">
            <a:extLst>
              <a:ext uri="{FF2B5EF4-FFF2-40B4-BE49-F238E27FC236}">
                <a16:creationId xmlns:a16="http://schemas.microsoft.com/office/drawing/2014/main" id="{4D47294E-19AA-4E03-9CF8-1F13EECD0EBC}"/>
              </a:ext>
            </a:extLst>
          </p:cNvPr>
          <p:cNvSpPr>
            <a:spLocks noGrp="1"/>
          </p:cNvSpPr>
          <p:nvPr>
            <p:ph type="subTitle" idx="1"/>
            <p:custDataLst>
              <p:tags r:id="rId5"/>
            </p:custDataLst>
          </p:nvPr>
        </p:nvSpPr>
        <p:spPr>
          <a:xfrm>
            <a:off x="565988" y="1448192"/>
            <a:ext cx="986833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b="0" dirty="0">
                <a:solidFill>
                  <a:schemeClr val="tx1"/>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Click to edit Master subtitle style</a:t>
            </a:r>
          </a:p>
        </p:txBody>
      </p:sp>
    </p:spTree>
    <p:extLst>
      <p:ext uri="{BB962C8B-B14F-4D97-AF65-F5344CB8AC3E}">
        <p14:creationId xmlns:p14="http://schemas.microsoft.com/office/powerpoint/2010/main" val="2192494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39312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65988" y="1408557"/>
            <a:ext cx="3813048" cy="769441"/>
          </a:xfrm>
          <a:prstGeom prst="rect">
            <a:avLst/>
          </a:prstGeom>
        </p:spPr>
        <p:txBody>
          <a:bodyPr vert="horz" anchor="t">
            <a:noAutofit/>
          </a:bodyPr>
          <a:lstStyle>
            <a:lvl1pPr rtl="0">
              <a:lnSpc>
                <a:spcPct val="100000"/>
              </a:lnSpc>
              <a:defRPr sz="2100">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E1C9945F-FFD3-4135-855E-70F0C898584B}"/>
              </a:ext>
            </a:extLst>
          </p:cNvPr>
          <p:cNvSpPr txBox="1"/>
          <p:nvPr userDrawn="1">
            <p:custDataLst>
              <p:tags r:id="rId4"/>
            </p:custDataLst>
          </p:nvPr>
        </p:nvSpPr>
        <p:spPr bwMode="gray">
          <a:xfrm>
            <a:off x="565988"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r>
              <a:rPr lang="en-US" sz="800" dirty="0"/>
              <a:t>…</a:t>
            </a:r>
          </a:p>
        </p:txBody>
      </p:sp>
    </p:spTree>
    <p:extLst>
      <p:ext uri="{BB962C8B-B14F-4D97-AF65-F5344CB8AC3E}">
        <p14:creationId xmlns:p14="http://schemas.microsoft.com/office/powerpoint/2010/main" val="5036760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ags" Target="../tags/tag9.xml"/><Relationship Id="rId39" Type="http://schemas.openxmlformats.org/officeDocument/2006/relationships/tags" Target="../tags/tag22.xml"/><Relationship Id="rId3" Type="http://schemas.openxmlformats.org/officeDocument/2006/relationships/slideLayout" Target="../slideLayouts/slideLayout7.xml"/><Relationship Id="rId21" Type="http://schemas.openxmlformats.org/officeDocument/2006/relationships/slideLayout" Target="../slideLayouts/slideLayout25.xml"/><Relationship Id="rId34" Type="http://schemas.openxmlformats.org/officeDocument/2006/relationships/tags" Target="../tags/tag17.xml"/><Relationship Id="rId42" Type="http://schemas.openxmlformats.org/officeDocument/2006/relationships/tags" Target="../tags/tag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tags" Target="../tags/tag21.xml"/><Relationship Id="rId46" Type="http://schemas.openxmlformats.org/officeDocument/2006/relationships/image" Target="../media/image5.png"/><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tags" Target="../tags/tag12.xml"/><Relationship Id="rId41" Type="http://schemas.openxmlformats.org/officeDocument/2006/relationships/tags" Target="../tags/tag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tags" Target="../tags/tag23.xml"/><Relationship Id="rId45" Type="http://schemas.openxmlformats.org/officeDocument/2006/relationships/image" Target="../media/image4.emf"/><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tags" Target="../tags/tag14.xml"/><Relationship Id="rId44" Type="http://schemas.openxmlformats.org/officeDocument/2006/relationships/oleObject" Target="../embeddings/oleObject3.bin"/><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heme" Target="../theme/theme2.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43" Type="http://schemas.openxmlformats.org/officeDocument/2006/relationships/tags" Target="../tags/tag2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119.xml"/><Relationship Id="rId39" Type="http://schemas.openxmlformats.org/officeDocument/2006/relationships/tags" Target="../tags/tag13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tags" Target="../tags/tag127.xml"/><Relationship Id="rId42" Type="http://schemas.openxmlformats.org/officeDocument/2006/relationships/tags" Target="../tags/tag135.xml"/><Relationship Id="rId47" Type="http://schemas.openxmlformats.org/officeDocument/2006/relationships/image" Target="../media/image6.emf"/><Relationship Id="rId50" Type="http://schemas.openxmlformats.org/officeDocument/2006/relationships/image" Target="../media/image9.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tags" Target="../tags/tag131.xml"/><Relationship Id="rId46" Type="http://schemas.openxmlformats.org/officeDocument/2006/relationships/oleObject" Target="../embeddings/oleObject21.bin"/><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122.xml"/><Relationship Id="rId41" Type="http://schemas.openxmlformats.org/officeDocument/2006/relationships/tags" Target="../tags/tag13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heme" Target="../theme/theme3.xml"/><Relationship Id="rId32" Type="http://schemas.openxmlformats.org/officeDocument/2006/relationships/tags" Target="../tags/tag125.xml"/><Relationship Id="rId37" Type="http://schemas.openxmlformats.org/officeDocument/2006/relationships/tags" Target="../tags/tag130.xml"/><Relationship Id="rId40" Type="http://schemas.openxmlformats.org/officeDocument/2006/relationships/tags" Target="../tags/tag133.xml"/><Relationship Id="rId45" Type="http://schemas.openxmlformats.org/officeDocument/2006/relationships/tags" Target="../tags/tag138.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121.xml"/><Relationship Id="rId36" Type="http://schemas.openxmlformats.org/officeDocument/2006/relationships/tags" Target="../tags/tag129.xml"/><Relationship Id="rId49" Type="http://schemas.microsoft.com/office/2007/relationships/hdphoto" Target="../media/hdphoto1.wdp"/><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124.xml"/><Relationship Id="rId44" Type="http://schemas.openxmlformats.org/officeDocument/2006/relationships/tags" Target="../tags/tag137.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43" Type="http://schemas.openxmlformats.org/officeDocument/2006/relationships/tags" Target="../tags/tag136.xml"/><Relationship Id="rId48" Type="http://schemas.openxmlformats.org/officeDocument/2006/relationships/image" Target="../media/image8.png"/><Relationship Id="rId8"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53.xml"/><Relationship Id="rId3" Type="http://schemas.openxmlformats.org/officeDocument/2006/relationships/slideLayout" Target="../slideLayouts/slideLayout51.xml"/><Relationship Id="rId7" Type="http://schemas.openxmlformats.org/officeDocument/2006/relationships/tags" Target="../tags/tag252.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4.xml"/><Relationship Id="rId11" Type="http://schemas.openxmlformats.org/officeDocument/2006/relationships/image" Target="../media/image1.emf"/><Relationship Id="rId5" Type="http://schemas.openxmlformats.org/officeDocument/2006/relationships/slideLayout" Target="../slideLayouts/slideLayout53.xml"/><Relationship Id="rId10" Type="http://schemas.openxmlformats.org/officeDocument/2006/relationships/oleObject" Target="../embeddings/oleObject45.bin"/><Relationship Id="rId4" Type="http://schemas.openxmlformats.org/officeDocument/2006/relationships/slideLayout" Target="../slideLayouts/slideLayout52.xml"/><Relationship Id="rId9" Type="http://schemas.openxmlformats.org/officeDocument/2006/relationships/tags" Target="../tags/tag2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tags" Target="../tags/tag260.xml"/><Relationship Id="rId39" Type="http://schemas.openxmlformats.org/officeDocument/2006/relationships/tags" Target="../tags/tag273.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34" Type="http://schemas.openxmlformats.org/officeDocument/2006/relationships/tags" Target="../tags/tag268.xml"/><Relationship Id="rId42" Type="http://schemas.openxmlformats.org/officeDocument/2006/relationships/tags" Target="../tags/tag276.xml"/><Relationship Id="rId47" Type="http://schemas.openxmlformats.org/officeDocument/2006/relationships/image" Target="../media/image5.pn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tags" Target="../tags/tag259.xml"/><Relationship Id="rId33" Type="http://schemas.openxmlformats.org/officeDocument/2006/relationships/tags" Target="../tags/tag267.xml"/><Relationship Id="rId38" Type="http://schemas.openxmlformats.org/officeDocument/2006/relationships/tags" Target="../tags/tag272.xml"/><Relationship Id="rId46" Type="http://schemas.openxmlformats.org/officeDocument/2006/relationships/image" Target="../media/image4.emf"/><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tags" Target="../tags/tag263.xml"/><Relationship Id="rId41" Type="http://schemas.openxmlformats.org/officeDocument/2006/relationships/tags" Target="../tags/tag27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tags" Target="../tags/tag258.xml"/><Relationship Id="rId32" Type="http://schemas.openxmlformats.org/officeDocument/2006/relationships/tags" Target="../tags/tag266.xml"/><Relationship Id="rId37" Type="http://schemas.openxmlformats.org/officeDocument/2006/relationships/tags" Target="../tags/tag271.xml"/><Relationship Id="rId40" Type="http://schemas.openxmlformats.org/officeDocument/2006/relationships/tags" Target="../tags/tag274.xml"/><Relationship Id="rId45" Type="http://schemas.openxmlformats.org/officeDocument/2006/relationships/oleObject" Target="../embeddings/oleObject48.bin"/><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5.xml"/><Relationship Id="rId28" Type="http://schemas.openxmlformats.org/officeDocument/2006/relationships/tags" Target="../tags/tag262.xml"/><Relationship Id="rId36" Type="http://schemas.openxmlformats.org/officeDocument/2006/relationships/tags" Target="../tags/tag270.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tags" Target="../tags/tag265.xml"/><Relationship Id="rId44" Type="http://schemas.openxmlformats.org/officeDocument/2006/relationships/tags" Target="../tags/tag278.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tags" Target="../tags/tag261.xml"/><Relationship Id="rId30" Type="http://schemas.openxmlformats.org/officeDocument/2006/relationships/tags" Target="../tags/tag264.xml"/><Relationship Id="rId35" Type="http://schemas.openxmlformats.org/officeDocument/2006/relationships/tags" Target="../tags/tag269.xml"/><Relationship Id="rId43" Type="http://schemas.openxmlformats.org/officeDocument/2006/relationships/tags" Target="../tags/tag2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731A71F-9642-F932-E323-3E164C8D5068}"/>
              </a:ext>
            </a:extLst>
          </p:cNvPr>
          <p:cNvGraphicFramePr>
            <a:graphicFrameLocks noChangeAspect="1"/>
          </p:cNvGraphicFramePr>
          <p:nvPr userDrawn="1">
            <p:custDataLst>
              <p:tags r:id="rId6"/>
            </p:custDataLst>
            <p:extLst>
              <p:ext uri="{D42A27DB-BD31-4B8C-83A1-F6EECF244321}">
                <p14:modId xmlns:p14="http://schemas.microsoft.com/office/powerpoint/2010/main" val="1263446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3" name="think-cell data - do not delete" hidden="1">
                        <a:extLst>
                          <a:ext uri="{FF2B5EF4-FFF2-40B4-BE49-F238E27FC236}">
                            <a16:creationId xmlns:a16="http://schemas.microsoft.com/office/drawing/2014/main" id="{3731A71F-9642-F932-E323-3E164C8D506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353C5B44-7AB2-E6D8-01A1-5B3D982B93F6}"/>
              </a:ext>
            </a:extLst>
          </p:cNvPr>
          <p:cNvSpPr>
            <a:spLocks noGrp="1"/>
          </p:cNvSpPr>
          <p:nvPr>
            <p:ph type="title"/>
          </p:nvPr>
        </p:nvSpPr>
        <p:spPr>
          <a:xfrm>
            <a:off x="460374" y="338139"/>
            <a:ext cx="11295063" cy="350836"/>
          </a:xfrm>
          <a:prstGeom prst="rect">
            <a:avLst/>
          </a:prstGeom>
        </p:spPr>
        <p:txBody>
          <a:bodyPr vert="horz" lIns="0" tIns="0" rIns="0" bIns="0" rtlCol="0" anchor="ctr">
            <a:noAutofit/>
          </a:bodyPr>
          <a:lstStyle/>
          <a:p>
            <a:r>
              <a:rPr lang="en-GB"/>
              <a:t>Click to edit Master title style</a:t>
            </a:r>
            <a:endParaRPr lang="en-DE"/>
          </a:p>
        </p:txBody>
      </p:sp>
      <p:sp>
        <p:nvSpPr>
          <p:cNvPr id="9" name="Text Placeholder 2">
            <a:extLst>
              <a:ext uri="{FF2B5EF4-FFF2-40B4-BE49-F238E27FC236}">
                <a16:creationId xmlns:a16="http://schemas.microsoft.com/office/drawing/2014/main" id="{64BB79C0-D382-86B0-4B8B-8B3C35A18FD7}"/>
              </a:ext>
            </a:extLst>
          </p:cNvPr>
          <p:cNvSpPr>
            <a:spLocks noGrp="1"/>
          </p:cNvSpPr>
          <p:nvPr>
            <p:ph type="body" idx="1"/>
          </p:nvPr>
        </p:nvSpPr>
        <p:spPr>
          <a:xfrm>
            <a:off x="460375" y="1268413"/>
            <a:ext cx="11295062" cy="1548373"/>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
        <p:nvSpPr>
          <p:cNvPr id="17" name="CaseCode">
            <a:extLst>
              <a:ext uri="{FF2B5EF4-FFF2-40B4-BE49-F238E27FC236}">
                <a16:creationId xmlns:a16="http://schemas.microsoft.com/office/drawing/2014/main" id="{E48BB9F3-35BC-1832-2F38-D2EDF84E1B28}"/>
              </a:ext>
            </a:extLst>
          </p:cNvPr>
          <p:cNvSpPr txBox="1"/>
          <p:nvPr userDrawn="1">
            <p:custDataLst>
              <p:tags r:id="rId7"/>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IPR Template Breakdown</a:t>
            </a:r>
            <a:br>
              <a:rPr lang="en-US" sz="900" noProof="0">
                <a:solidFill>
                  <a:schemeClr val="tx1"/>
                </a:solidFill>
                <a:latin typeface="Calibri" panose="020F0502020204030204" pitchFamily="34" charset="0"/>
                <a:cs typeface="Calibri" panose="020F0502020204030204" pitchFamily="34" charset="0"/>
              </a:rPr>
            </a:br>
            <a:endParaRPr lang="en-US" sz="900" noProof="0">
              <a:solidFill>
                <a:schemeClr val="tx1"/>
              </a:solidFill>
              <a:latin typeface="Calibri" panose="020F0502020204030204" pitchFamily="34" charset="0"/>
              <a:cs typeface="Calibri" panose="020F0502020204030204" pitchFamily="34" charset="0"/>
            </a:endParaRPr>
          </a:p>
        </p:txBody>
      </p:sp>
      <p:sp>
        <p:nvSpPr>
          <p:cNvPr id="18" name="Copyright">
            <a:extLst>
              <a:ext uri="{FF2B5EF4-FFF2-40B4-BE49-F238E27FC236}">
                <a16:creationId xmlns:a16="http://schemas.microsoft.com/office/drawing/2014/main" id="{C57D4CD4-86F4-FC2D-7C79-267113C3CBFF}"/>
              </a:ext>
            </a:extLst>
          </p:cNvPr>
          <p:cNvSpPr txBox="1"/>
          <p:nvPr userDrawn="1">
            <p:custDataLst>
              <p:tags r:id="rId8"/>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Deloitte 2024</a:t>
            </a:r>
          </a:p>
        </p:txBody>
      </p:sp>
      <p:sp>
        <p:nvSpPr>
          <p:cNvPr id="19" name="TextBox 18">
            <a:extLst>
              <a:ext uri="{FF2B5EF4-FFF2-40B4-BE49-F238E27FC236}">
                <a16:creationId xmlns:a16="http://schemas.microsoft.com/office/drawing/2014/main" id="{53B49F42-A6FB-5952-A0E9-40595901EAD7}"/>
              </a:ext>
            </a:extLst>
          </p:cNvPr>
          <p:cNvSpPr txBox="1"/>
          <p:nvPr userDrawn="1"/>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64218031"/>
      </p:ext>
    </p:extLst>
  </p:cSld>
  <p:clrMap bg1="lt1" tx1="dk1" bg2="lt2" tx2="dk2" accent1="accent1" accent2="accent2" accent3="accent3" accent4="accent4" accent5="accent5" accent6="accent6" hlink="hlink" folHlink="folHlink"/>
  <p:sldLayoutIdLst>
    <p:sldLayoutId id="2147483667" r:id="rId1"/>
    <p:sldLayoutId id="2147483676" r:id="rId2"/>
    <p:sldLayoutId id="2147483768" r:id="rId3"/>
    <p:sldLayoutId id="2147483680" r:id="rId4"/>
  </p:sldLayoutIdLst>
  <p:hf sldNum="0" hdr="0" ftr="0" dt="0"/>
  <p:txStyles>
    <p:titleStyle>
      <a:lvl1pPr algn="l" defTabSz="914400" rtl="0" eaLnBrk="1" latinLnBrk="0" hangingPunct="1">
        <a:lnSpc>
          <a:spcPct val="100000"/>
        </a:lnSpc>
        <a:spcBef>
          <a:spcPct val="0"/>
        </a:spcBef>
        <a:spcAft>
          <a:spcPts val="600"/>
        </a:spcAft>
        <a:buNone/>
        <a:defRPr sz="2100" b="0" i="0" kern="1200">
          <a:solidFill>
            <a:schemeClr val="tx1"/>
          </a:solidFill>
          <a:latin typeface="Calibri" panose="020F0502020204030204" pitchFamily="34" charset="0"/>
          <a:ea typeface="Open Sans Semibold" panose="020B0606030504020204" pitchFamily="34" charset="0"/>
          <a:cs typeface="Calibri" panose="020F0502020204030204" pitchFamily="34" charset="0"/>
        </a:defRPr>
      </a:lvl1pPr>
    </p:titleStyle>
    <p:bodyStyle>
      <a:lvl1pPr marL="0" marR="0" indent="0" algn="l" defTabSz="914400" rtl="0" eaLnBrk="1" fontAlgn="auto" latinLnBrk="0" hangingPunct="1">
        <a:lnSpc>
          <a:spcPct val="120000"/>
        </a:lnSpc>
        <a:spcBef>
          <a:spcPts val="0"/>
        </a:spcBef>
        <a:spcAft>
          <a:spcPts val="600"/>
        </a:spcAft>
        <a:buClrTx/>
        <a:buSzTx/>
        <a:buFont typeface="Arial" panose="020B0604020202020204" pitchFamily="34" charset="0"/>
        <a:buNone/>
        <a:tabLst/>
        <a:defRPr sz="12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1pPr>
      <a:lvl2pPr marL="685800" indent="-228600" algn="l" defTabSz="914400" rtl="0" eaLnBrk="1" latinLnBrk="0" hangingPunct="1">
        <a:lnSpc>
          <a:spcPct val="120000"/>
        </a:lnSpc>
        <a:spcBef>
          <a:spcPts val="500"/>
        </a:spcBef>
        <a:spcAft>
          <a:spcPts val="600"/>
        </a:spcAft>
        <a:buFont typeface="Arial" panose="020B0604020202020204" pitchFamily="34" charset="0"/>
        <a:buChar char="•"/>
        <a:defRPr sz="11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1143000" indent="-228600" algn="l" defTabSz="914400" rtl="0" eaLnBrk="1" latinLnBrk="0" hangingPunct="1">
        <a:lnSpc>
          <a:spcPct val="120000"/>
        </a:lnSpc>
        <a:spcBef>
          <a:spcPts val="500"/>
        </a:spcBef>
        <a:spcAft>
          <a:spcPts val="600"/>
        </a:spcAft>
        <a:buFont typeface="Arial" panose="020B0604020202020204" pitchFamily="34" charset="0"/>
        <a:buChar char="•"/>
        <a:defRPr sz="1100" b="1"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1600200" indent="-228600" algn="l" defTabSz="914400" rtl="0" eaLnBrk="1" latinLnBrk="0" hangingPunct="1">
        <a:lnSpc>
          <a:spcPct val="120000"/>
        </a:lnSpc>
        <a:spcBef>
          <a:spcPts val="500"/>
        </a:spcBef>
        <a:spcAft>
          <a:spcPts val="600"/>
        </a:spcAft>
        <a:buFont typeface="Arial" panose="020B0604020202020204" pitchFamily="34" charset="0"/>
        <a:buChar char="•"/>
        <a:defRPr sz="10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2057400" indent="-228600" algn="l" defTabSz="914400" rtl="0" eaLnBrk="1" latinLnBrk="0" hangingPunct="1">
        <a:lnSpc>
          <a:spcPct val="120000"/>
        </a:lnSpc>
        <a:spcBef>
          <a:spcPts val="500"/>
        </a:spcBef>
        <a:spcAft>
          <a:spcPts val="600"/>
        </a:spcAft>
        <a:buFont typeface="Arial" panose="020B0604020202020204" pitchFamily="34" charset="0"/>
        <a:buChar char="•"/>
        <a:defRPr sz="1000" b="1"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2">
          <p15:clr>
            <a:srgbClr val="F26B43"/>
          </p15:clr>
        </p15:guide>
        <p15:guide id="3" pos="1309">
          <p15:clr>
            <a:srgbClr val="F26B43"/>
          </p15:clr>
        </p15:guide>
        <p15:guide id="4" pos="2732">
          <p15:clr>
            <a:srgbClr val="F26B43"/>
          </p15:clr>
        </p15:guide>
        <p15:guide id="5" pos="3749">
          <p15:clr>
            <a:srgbClr val="F26B43"/>
          </p15:clr>
        </p15:guide>
        <p15:guide id="6" pos="4959">
          <p15:clr>
            <a:srgbClr val="F26B43"/>
          </p15:clr>
        </p15:guide>
        <p15:guide id="8" pos="6185">
          <p15:clr>
            <a:srgbClr val="F26B43"/>
          </p15:clr>
        </p15:guide>
        <p15:guide id="10" orient="horz" pos="434">
          <p15:clr>
            <a:srgbClr val="F26B43"/>
          </p15:clr>
        </p15:guide>
        <p15:guide id="11" orient="horz" pos="799">
          <p15:clr>
            <a:srgbClr val="F26B43"/>
          </p15:clr>
        </p15:guide>
        <p15:guide id="12" orient="horz" pos="2227">
          <p15:clr>
            <a:srgbClr val="F26B43"/>
          </p15:clr>
        </p15:guide>
        <p15:guide id="13" orient="horz" pos="1061">
          <p15:clr>
            <a:srgbClr val="F26B43"/>
          </p15:clr>
        </p15:guide>
        <p15:guide id="14" orient="horz" pos="4006">
          <p15:clr>
            <a:srgbClr val="F26B43"/>
          </p15:clr>
        </p15:guide>
        <p15:guide id="15" pos="7405">
          <p15:clr>
            <a:srgbClr val="F26B43"/>
          </p15:clr>
        </p15:guide>
        <p15:guide id="16" pos="290">
          <p15:clr>
            <a:srgbClr val="F26B43"/>
          </p15:clr>
        </p15:guide>
        <p15:guide id="17" orient="horz" pos="1452">
          <p15:clr>
            <a:srgbClr val="F26B43"/>
          </p15:clr>
        </p15:guide>
        <p15:guide id="18" pos="1504">
          <p15:clr>
            <a:srgbClr val="F26B43"/>
          </p15:clr>
        </p15:guide>
        <p15:guide id="19" pos="3943">
          <p15:clr>
            <a:srgbClr val="F26B43"/>
          </p15:clr>
        </p15:guide>
        <p15:guide id="20" pos="2538">
          <p15:clr>
            <a:srgbClr val="F26B43"/>
          </p15:clr>
        </p15:guide>
        <p15:guide id="21" pos="5150">
          <p15:clr>
            <a:srgbClr val="F26B43"/>
          </p15:clr>
        </p15:guide>
        <p15:guide id="23" pos="6379">
          <p15:clr>
            <a:srgbClr val="F26B43"/>
          </p15:clr>
        </p15:guide>
        <p15:guide id="24" orient="horz" pos="1823">
          <p15:clr>
            <a:srgbClr val="F26B43"/>
          </p15:clr>
        </p15:guide>
        <p15:guide id="25" orient="horz" pos="21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84802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grpSp>
        <p:nvGrpSpPr>
          <p:cNvPr id="172" name="Grid" hidden="1">
            <a:extLst>
              <a:ext uri="{FF2B5EF4-FFF2-40B4-BE49-F238E27FC236}">
                <a16:creationId xmlns:a16="http://schemas.microsoft.com/office/drawing/2014/main" id="{8127232C-A636-4831-B3CC-3C7305E34361}"/>
              </a:ext>
            </a:extLst>
          </p:cNvPr>
          <p:cNvGrpSpPr/>
          <p:nvPr userDrawn="1">
            <p:custDataLst>
              <p:tags r:id="rId24"/>
            </p:custDataLst>
          </p:nvPr>
        </p:nvGrpSpPr>
        <p:grpSpPr>
          <a:xfrm>
            <a:off x="0" y="0"/>
            <a:ext cx="12190476" cy="6858000"/>
            <a:chOff x="0" y="0"/>
            <a:chExt cx="12190476" cy="6858000"/>
          </a:xfrm>
        </p:grpSpPr>
        <p:sp>
          <p:nvSpPr>
            <p:cNvPr id="173" name="slide margin">
              <a:extLst>
                <a:ext uri="{FF2B5EF4-FFF2-40B4-BE49-F238E27FC236}">
                  <a16:creationId xmlns:a16="http://schemas.microsoft.com/office/drawing/2014/main" id="{F6C13CE8-8BF2-490C-B443-B680919A95C6}"/>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a typeface="+mn-ea"/>
                <a:cs typeface="+mn-cs"/>
              </a:endParaRPr>
            </a:p>
          </p:txBody>
        </p:sp>
        <p:cxnSp>
          <p:nvCxnSpPr>
            <p:cNvPr id="174" name="Straight Connector 173">
              <a:extLst>
                <a:ext uri="{FF2B5EF4-FFF2-40B4-BE49-F238E27FC236}">
                  <a16:creationId xmlns:a16="http://schemas.microsoft.com/office/drawing/2014/main" id="{286C968A-A729-4ED3-9031-8688E522050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8FB8EB64-F262-4E4C-802C-61F69B5EE7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73A3FC7F-44CB-4837-B45F-2501CDFFABA2}"/>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F6465305-73A7-4492-A299-E95A455E780D}"/>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DA66BD43-C59A-4178-894B-8963E1AB5530}"/>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6A43B59-9B9E-4D93-8799-EC84B04EFA29}"/>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50964C65-83FE-44A4-BB01-DC02382F631E}"/>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ABFD85CA-77CA-4479-9DB7-265D8C8ACDA9}"/>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7179B45-1733-40EA-819F-663BB7A43EC6}"/>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5487645B-2EFC-47E4-920F-14FD27737A2D}"/>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A8BFDADE-88E5-4360-8C5A-D14E55EE4ECA}"/>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46A3AF05-93D4-4692-9BAC-10DFB5B309AA}"/>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4" name="Freeform: Shape 203">
              <a:extLst>
                <a:ext uri="{FF2B5EF4-FFF2-40B4-BE49-F238E27FC236}">
                  <a16:creationId xmlns:a16="http://schemas.microsoft.com/office/drawing/2014/main" id="{B2DFE191-FA7E-4C81-A6D7-D2A5E704997E}"/>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5" name="Freeform: Shape 204">
              <a:extLst>
                <a:ext uri="{FF2B5EF4-FFF2-40B4-BE49-F238E27FC236}">
                  <a16:creationId xmlns:a16="http://schemas.microsoft.com/office/drawing/2014/main" id="{0ED72461-7D40-4D21-BA91-BA4A9566179D}"/>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6" name="Freeform: Shape 205">
              <a:extLst>
                <a:ext uri="{FF2B5EF4-FFF2-40B4-BE49-F238E27FC236}">
                  <a16:creationId xmlns:a16="http://schemas.microsoft.com/office/drawing/2014/main" id="{8EB3B1A2-B176-4F5C-A515-7E2D526F190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7" name="Freeform: Shape 206">
              <a:extLst>
                <a:ext uri="{FF2B5EF4-FFF2-40B4-BE49-F238E27FC236}">
                  <a16:creationId xmlns:a16="http://schemas.microsoft.com/office/drawing/2014/main" id="{0796186B-D21D-4892-891E-E7D8600E9CE4}"/>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8" name="Freeform: Shape 207">
              <a:extLst>
                <a:ext uri="{FF2B5EF4-FFF2-40B4-BE49-F238E27FC236}">
                  <a16:creationId xmlns:a16="http://schemas.microsoft.com/office/drawing/2014/main" id="{17835B87-E4AE-4ABE-87D3-A56AF44D5E18}"/>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9" name="Freeform: Shape 208">
              <a:extLst>
                <a:ext uri="{FF2B5EF4-FFF2-40B4-BE49-F238E27FC236}">
                  <a16:creationId xmlns:a16="http://schemas.microsoft.com/office/drawing/2014/main" id="{715B58B8-CB9D-410D-A6DA-605991E35278}"/>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0" name="Freeform: Shape 209">
              <a:extLst>
                <a:ext uri="{FF2B5EF4-FFF2-40B4-BE49-F238E27FC236}">
                  <a16:creationId xmlns:a16="http://schemas.microsoft.com/office/drawing/2014/main" id="{77E3B3EC-77A8-4253-AF65-336CB242FB13}"/>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1" name="Freeform: Shape 210">
              <a:extLst>
                <a:ext uri="{FF2B5EF4-FFF2-40B4-BE49-F238E27FC236}">
                  <a16:creationId xmlns:a16="http://schemas.microsoft.com/office/drawing/2014/main" id="{6D5C4748-F5EA-443C-A7E1-1F9B5E56091B}"/>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2" name="Freeform: Shape 211">
              <a:extLst>
                <a:ext uri="{FF2B5EF4-FFF2-40B4-BE49-F238E27FC236}">
                  <a16:creationId xmlns:a16="http://schemas.microsoft.com/office/drawing/2014/main" id="{7C7ED0A1-EB08-4195-8F50-3E7E31EC8A24}"/>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3" name="Freeform: Shape 212">
              <a:extLst>
                <a:ext uri="{FF2B5EF4-FFF2-40B4-BE49-F238E27FC236}">
                  <a16:creationId xmlns:a16="http://schemas.microsoft.com/office/drawing/2014/main" id="{CC81FD8D-45B9-41F9-9490-71CE346BDD1D}"/>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4" name="Freeform: Shape 213">
              <a:extLst>
                <a:ext uri="{FF2B5EF4-FFF2-40B4-BE49-F238E27FC236}">
                  <a16:creationId xmlns:a16="http://schemas.microsoft.com/office/drawing/2014/main" id="{E0609E3C-8AD1-4104-80AE-F6E1E8C8B594}"/>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5" name="Freeform: Shape 214">
              <a:extLst>
                <a:ext uri="{FF2B5EF4-FFF2-40B4-BE49-F238E27FC236}">
                  <a16:creationId xmlns:a16="http://schemas.microsoft.com/office/drawing/2014/main" id="{692329FD-A90A-4470-911E-F0E11F989A54}"/>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6" name="Freeform: Shape 215">
              <a:extLst>
                <a:ext uri="{FF2B5EF4-FFF2-40B4-BE49-F238E27FC236}">
                  <a16:creationId xmlns:a16="http://schemas.microsoft.com/office/drawing/2014/main" id="{82881AD6-0221-419B-BA0D-3E8923B3CEE7}"/>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7" name="Freeform: Shape 216">
              <a:extLst>
                <a:ext uri="{FF2B5EF4-FFF2-40B4-BE49-F238E27FC236}">
                  <a16:creationId xmlns:a16="http://schemas.microsoft.com/office/drawing/2014/main" id="{5010C7A1-E16D-4FF3-B4D7-1BB51EF24A45}"/>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8" name="Freeform: Shape 217">
              <a:extLst>
                <a:ext uri="{FF2B5EF4-FFF2-40B4-BE49-F238E27FC236}">
                  <a16:creationId xmlns:a16="http://schemas.microsoft.com/office/drawing/2014/main" id="{FFC6184B-461B-413B-88CC-66EAB4A73C8C}"/>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9" name="Freeform: Shape 218">
              <a:extLst>
                <a:ext uri="{FF2B5EF4-FFF2-40B4-BE49-F238E27FC236}">
                  <a16:creationId xmlns:a16="http://schemas.microsoft.com/office/drawing/2014/main" id="{413FA4F4-90C3-49EC-A36D-36EC86A84B48}"/>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0" name="Freeform: Shape 219">
              <a:extLst>
                <a:ext uri="{FF2B5EF4-FFF2-40B4-BE49-F238E27FC236}">
                  <a16:creationId xmlns:a16="http://schemas.microsoft.com/office/drawing/2014/main" id="{CD33B22D-2F3E-4364-BD23-00D21C5C578F}"/>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1" name="Freeform: Shape 220">
              <a:extLst>
                <a:ext uri="{FF2B5EF4-FFF2-40B4-BE49-F238E27FC236}">
                  <a16:creationId xmlns:a16="http://schemas.microsoft.com/office/drawing/2014/main" id="{5207FCB5-707E-498B-9205-C37AADB38EDC}"/>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2" name="Freeform: Shape 221">
              <a:extLst>
                <a:ext uri="{FF2B5EF4-FFF2-40B4-BE49-F238E27FC236}">
                  <a16:creationId xmlns:a16="http://schemas.microsoft.com/office/drawing/2014/main" id="{3A7A0485-8670-40B1-86C4-3366492169EB}"/>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3" name="Freeform: Shape 222">
              <a:extLst>
                <a:ext uri="{FF2B5EF4-FFF2-40B4-BE49-F238E27FC236}">
                  <a16:creationId xmlns:a16="http://schemas.microsoft.com/office/drawing/2014/main" id="{261CB912-4CB3-4500-9E2A-C129FCA80D36}"/>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4" name="Freeform: Shape 223">
              <a:extLst>
                <a:ext uri="{FF2B5EF4-FFF2-40B4-BE49-F238E27FC236}">
                  <a16:creationId xmlns:a16="http://schemas.microsoft.com/office/drawing/2014/main" id="{A04B1C24-1C4B-4C8A-A9DB-9957A3382ED6}"/>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5" name="Freeform: Shape 224">
              <a:extLst>
                <a:ext uri="{FF2B5EF4-FFF2-40B4-BE49-F238E27FC236}">
                  <a16:creationId xmlns:a16="http://schemas.microsoft.com/office/drawing/2014/main" id="{C87731C1-FF91-4362-B82C-94C9B1BF6698}"/>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6" name="Freeform: Shape 225">
              <a:extLst>
                <a:ext uri="{FF2B5EF4-FFF2-40B4-BE49-F238E27FC236}">
                  <a16:creationId xmlns:a16="http://schemas.microsoft.com/office/drawing/2014/main" id="{6D314666-4382-4BC3-8D73-C9D50FF79FA0}"/>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7" name="Freeform: Shape 226">
              <a:extLst>
                <a:ext uri="{FF2B5EF4-FFF2-40B4-BE49-F238E27FC236}">
                  <a16:creationId xmlns:a16="http://schemas.microsoft.com/office/drawing/2014/main" id="{8E11606D-7450-4DD6-9B71-0DA64EB57145}"/>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8" name="Freeform: Shape 227">
              <a:extLst>
                <a:ext uri="{FF2B5EF4-FFF2-40B4-BE49-F238E27FC236}">
                  <a16:creationId xmlns:a16="http://schemas.microsoft.com/office/drawing/2014/main" id="{20A28891-9936-4998-81B6-890A915ECA5F}"/>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cxnSp>
          <p:nvCxnSpPr>
            <p:cNvPr id="229" name="Straight Connector 228">
              <a:extLst>
                <a:ext uri="{FF2B5EF4-FFF2-40B4-BE49-F238E27FC236}">
                  <a16:creationId xmlns:a16="http://schemas.microsoft.com/office/drawing/2014/main" id="{0E4BCD21-8C69-433E-B061-CC46EE716727}"/>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7856643-FAC1-4BC4-9366-962E6D94DF5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7093B160-F696-4CC8-B737-95B537CFBF6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E76D123A-BBB1-4983-B401-2F7C0A610961}"/>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F5955724-33A5-4735-9516-2AFCC58314C2}"/>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B3987381-A8A2-426E-A4A4-A63987153DB7}"/>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CD2A33EA-8123-4EF0-99D8-C44FB7AB25D0}"/>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B6EAE035-9E5C-4ED6-9B22-79F978C4105B}"/>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A6EBE8FD-1639-4618-994E-0733BF7577CC}"/>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C1E54D3-D59E-40F2-AAC7-6E5E3D04EB3A}"/>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81713F21-646A-44EC-9876-FCEB9239421C}"/>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22061FFC-B65A-4FFA-8760-9C23BB20D2A9}"/>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232645BE-2173-464E-AD8E-A8EA6692C9AD}"/>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BDAA8352-7B60-4AB6-A16A-7813F4271904}"/>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5B967BBA-F949-4944-8DEA-28BDD97D94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DCC18A4A-70DE-4176-A023-D5BB53F5F9F8}"/>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D9EB7841-B89F-45D4-A68F-270CE08B0A86}"/>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F7346CEC-93E0-4B54-8399-49B0105566DC}"/>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60DD8AC-2391-48A1-B4B5-2AE1314528A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4FFF49AB-4BB6-44F7-AD64-E9F12FD631CA}"/>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A1223916-5703-4F77-A092-76370882311F}"/>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F546D487-FA19-4FA6-AB9A-4FF42A07D715}"/>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299C821F-D7DB-4D94-B39B-B78B1313D3C4}"/>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2EB0EB86-7EAD-4720-A9F3-0060654447AB}"/>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C7262E3D-AFC6-4213-A30A-68EF8EC8CE09}"/>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C176EB21-B291-46FD-B93B-A283BA007FEB}"/>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0254E077-88CD-4C3B-81DF-FEBDC7FB9A22}"/>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774D57B9-65C9-4FFF-A6A5-8D6060ADBAE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9E83915A-802B-4A45-8D83-2ED782442BE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7A55BC00-5785-4338-951C-7B63E84B7377}"/>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8181466D-88C2-4CE9-BDC5-C89C5AC45A44}"/>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524ABFBD-A4B6-432D-96C7-88053C9EE75B}"/>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42F5B13D-2C68-47CD-9428-ABB480A6B459}"/>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BC15448D-E91B-4E3C-B734-26670252561B}"/>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49630362-480B-453E-848D-0BED01719C22}"/>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96CF5F11-75A0-43DB-8EA5-48940CCA1E6D}"/>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339157F8-04BF-4E9C-92AD-A65BBBFB7A67}"/>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124222E3-3E52-4532-B909-84B9468441B5}"/>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A31BBCC9-BF5B-4059-B804-C16DD1A939E4}"/>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FDA88862-B3C4-4174-B206-ADDE3DDCC444}"/>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4027F1C7-AC26-4A3F-9D75-4B18B863CFB4}"/>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8CED2B98-396B-4489-A825-DB0BB15B14D6}"/>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1F19FEAB-224D-4730-A6A0-990F0D258051}"/>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E24F0D06-AEB7-413C-BBDA-A4B4124C13CC}"/>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3" name="main body box">
              <a:extLst>
                <a:ext uri="{FF2B5EF4-FFF2-40B4-BE49-F238E27FC236}">
                  <a16:creationId xmlns:a16="http://schemas.microsoft.com/office/drawing/2014/main" id="{5F9E1527-508D-479D-A2CF-D7DD32B95E99}"/>
                </a:ext>
              </a:extLst>
            </p:cNvPr>
            <p:cNvSpPr/>
            <p:nvPr userDrawn="1"/>
          </p:nvSpPr>
          <p:spPr bwMode="invGray">
            <a:xfrm>
              <a:off x="554736" y="2174632"/>
              <a:ext cx="11082528" cy="4043287"/>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a typeface="+mn-ea"/>
                <a:cs typeface="+mn-cs"/>
              </a:endParaRPr>
            </a:p>
          </p:txBody>
        </p:sp>
        <p:cxnSp>
          <p:nvCxnSpPr>
            <p:cNvPr id="356" name="Straight Connector 355">
              <a:extLst>
                <a:ext uri="{FF2B5EF4-FFF2-40B4-BE49-F238E27FC236}">
                  <a16:creationId xmlns:a16="http://schemas.microsoft.com/office/drawing/2014/main" id="{50BCF7EA-626D-42BD-AE40-86F477317B8E}"/>
                </a:ext>
              </a:extLst>
            </p:cNvPr>
            <p:cNvCxnSpPr/>
            <p:nvPr userDrawn="1"/>
          </p:nvCxnSpPr>
          <p:spPr bwMode="invGray">
            <a:xfrm>
              <a:off x="554736" y="2634996"/>
              <a:ext cx="11082528" cy="0"/>
            </a:xfrm>
            <a:prstGeom prst="line">
              <a:avLst/>
            </a:prstGeom>
            <a:noFill/>
            <a:ln w="12700">
              <a:solidFill>
                <a:srgbClr val="19D3C5">
                  <a:alpha val="50000"/>
                </a:srgbClr>
              </a:solidFill>
            </a:ln>
          </p:spPr>
        </p:cxnSp>
        <p:cxnSp>
          <p:nvCxnSpPr>
            <p:cNvPr id="357" name="Straight Connector 356">
              <a:extLst>
                <a:ext uri="{FF2B5EF4-FFF2-40B4-BE49-F238E27FC236}">
                  <a16:creationId xmlns:a16="http://schemas.microsoft.com/office/drawing/2014/main" id="{A121F431-5A72-4FC6-9C68-E17967286E25}"/>
                </a:ext>
              </a:extLst>
            </p:cNvPr>
            <p:cNvCxnSpPr/>
            <p:nvPr userDrawn="1"/>
          </p:nvCxnSpPr>
          <p:spPr bwMode="invGray">
            <a:xfrm>
              <a:off x="554736" y="2168653"/>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6598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65988" y="591463"/>
            <a:ext cx="970788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987738" y="218096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baseline="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65988" y="2180960"/>
            <a:ext cx="4341192"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65988" y="1768639"/>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48" name="LegendLines" hidden="1">
            <a:extLst>
              <a:ext uri="{FF2B5EF4-FFF2-40B4-BE49-F238E27FC236}">
                <a16:creationId xmlns:a16="http://schemas.microsoft.com/office/drawing/2014/main" id="{FB39BD02-6461-41DA-8F10-CD42ED2093D4}"/>
              </a:ext>
            </a:extLst>
          </p:cNvPr>
          <p:cNvGrpSpPr/>
          <p:nvPr userDrawn="1"/>
        </p:nvGrpSpPr>
        <p:grpSpPr>
          <a:xfrm>
            <a:off x="10317304" y="2923598"/>
            <a:ext cx="1251160" cy="958286"/>
            <a:chOff x="10162879" y="3243772"/>
            <a:chExt cx="1251160" cy="958286"/>
          </a:xfrm>
        </p:grpSpPr>
        <p:sp>
          <p:nvSpPr>
            <p:cNvPr id="149" name="Legend1">
              <a:extLst>
                <a:ext uri="{FF2B5EF4-FFF2-40B4-BE49-F238E27FC236}">
                  <a16:creationId xmlns:a16="http://schemas.microsoft.com/office/drawing/2014/main" id="{83F28FCD-9331-4741-9682-170D103C5445}"/>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0" name="Legend2">
              <a:extLst>
                <a:ext uri="{FF2B5EF4-FFF2-40B4-BE49-F238E27FC236}">
                  <a16:creationId xmlns:a16="http://schemas.microsoft.com/office/drawing/2014/main" id="{5A658585-271E-4F17-AE2D-441117F7E7DF}"/>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1" name="Legend3">
              <a:extLst>
                <a:ext uri="{FF2B5EF4-FFF2-40B4-BE49-F238E27FC236}">
                  <a16:creationId xmlns:a16="http://schemas.microsoft.com/office/drawing/2014/main" id="{C5CDD6C9-3B7B-47AF-A1C7-9EBF3BBC3A15}"/>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ineLegend3">
              <a:extLst>
                <a:ext uri="{FF2B5EF4-FFF2-40B4-BE49-F238E27FC236}">
                  <a16:creationId xmlns:a16="http://schemas.microsoft.com/office/drawing/2014/main" id="{04C38EAD-9B3E-4DCA-98EE-4D36FF5E641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3" name="LineLegend2">
              <a:extLst>
                <a:ext uri="{FF2B5EF4-FFF2-40B4-BE49-F238E27FC236}">
                  <a16:creationId xmlns:a16="http://schemas.microsoft.com/office/drawing/2014/main" id="{860A959A-FD71-4B3F-A01A-F6783B934A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4" name="LineLegend1">
              <a:extLst>
                <a:ext uri="{FF2B5EF4-FFF2-40B4-BE49-F238E27FC236}">
                  <a16:creationId xmlns:a16="http://schemas.microsoft.com/office/drawing/2014/main" id="{26D5A23B-72A2-4CCB-A758-75F4C5CFCD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5" name="LegendMoons" hidden="1">
            <a:extLst>
              <a:ext uri="{FF2B5EF4-FFF2-40B4-BE49-F238E27FC236}">
                <a16:creationId xmlns:a16="http://schemas.microsoft.com/office/drawing/2014/main" id="{E4A5CCA6-AE0D-4E8E-9A78-B65C38E912A3}"/>
              </a:ext>
            </a:extLst>
          </p:cNvPr>
          <p:cNvGrpSpPr/>
          <p:nvPr userDrawn="1"/>
        </p:nvGrpSpPr>
        <p:grpSpPr>
          <a:xfrm>
            <a:off x="10688315" y="1066205"/>
            <a:ext cx="880149" cy="1731859"/>
            <a:chOff x="7723680" y="1702457"/>
            <a:chExt cx="880149" cy="1731859"/>
          </a:xfrm>
        </p:grpSpPr>
        <p:sp>
          <p:nvSpPr>
            <p:cNvPr id="156" name="Legend1">
              <a:extLst>
                <a:ext uri="{FF2B5EF4-FFF2-40B4-BE49-F238E27FC236}">
                  <a16:creationId xmlns:a16="http://schemas.microsoft.com/office/drawing/2014/main" id="{D4D54DE9-BCE8-4C5F-A55A-29B1C025A474}"/>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2">
              <a:extLst>
                <a:ext uri="{FF2B5EF4-FFF2-40B4-BE49-F238E27FC236}">
                  <a16:creationId xmlns:a16="http://schemas.microsoft.com/office/drawing/2014/main" id="{B3DAD1AC-D27C-4EEC-A409-37517BEB9DEB}"/>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8" name="Legend3">
              <a:extLst>
                <a:ext uri="{FF2B5EF4-FFF2-40B4-BE49-F238E27FC236}">
                  <a16:creationId xmlns:a16="http://schemas.microsoft.com/office/drawing/2014/main" id="{2414903C-B9B4-487E-AC1B-938D40A10B59}"/>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4">
              <a:extLst>
                <a:ext uri="{FF2B5EF4-FFF2-40B4-BE49-F238E27FC236}">
                  <a16:creationId xmlns:a16="http://schemas.microsoft.com/office/drawing/2014/main" id="{85A55130-7571-46A0-9BC4-E3E743C15632}"/>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5">
              <a:extLst>
                <a:ext uri="{FF2B5EF4-FFF2-40B4-BE49-F238E27FC236}">
                  <a16:creationId xmlns:a16="http://schemas.microsoft.com/office/drawing/2014/main" id="{610C60BD-B77A-43F8-9348-4E41FC87DA91}"/>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1" name="MoonLegend1">
              <a:extLst>
                <a:ext uri="{FF2B5EF4-FFF2-40B4-BE49-F238E27FC236}">
                  <a16:creationId xmlns:a16="http://schemas.microsoft.com/office/drawing/2014/main" id="{ECFF27DF-7790-4E33-AC30-E9C292F77026}"/>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84" name="Oval 183">
                <a:extLst>
                  <a:ext uri="{FF2B5EF4-FFF2-40B4-BE49-F238E27FC236}">
                    <a16:creationId xmlns:a16="http://schemas.microsoft.com/office/drawing/2014/main" id="{EC269A2E-8DAA-401A-9343-ADF3865141F4}"/>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5" name="Arc 184">
                <a:extLst>
                  <a:ext uri="{FF2B5EF4-FFF2-40B4-BE49-F238E27FC236}">
                    <a16:creationId xmlns:a16="http://schemas.microsoft.com/office/drawing/2014/main" id="{98F22496-0D85-4EDE-8B5E-A12A3FB8A170}"/>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2">
              <a:extLst>
                <a:ext uri="{FF2B5EF4-FFF2-40B4-BE49-F238E27FC236}">
                  <a16:creationId xmlns:a16="http://schemas.microsoft.com/office/drawing/2014/main" id="{951BBF62-21BE-4D0F-A560-5C8697447BF6}"/>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82" name="Oval 181">
                <a:extLst>
                  <a:ext uri="{FF2B5EF4-FFF2-40B4-BE49-F238E27FC236}">
                    <a16:creationId xmlns:a16="http://schemas.microsoft.com/office/drawing/2014/main" id="{8036F63F-BADF-4A32-ACE7-92A9B736958C}"/>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3" name="Arc 182">
                <a:extLst>
                  <a:ext uri="{FF2B5EF4-FFF2-40B4-BE49-F238E27FC236}">
                    <a16:creationId xmlns:a16="http://schemas.microsoft.com/office/drawing/2014/main" id="{8F35FCDF-D89D-47B6-9702-03BEC4E4AD0E}"/>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3" name="MoonLegend3">
              <a:extLst>
                <a:ext uri="{FF2B5EF4-FFF2-40B4-BE49-F238E27FC236}">
                  <a16:creationId xmlns:a16="http://schemas.microsoft.com/office/drawing/2014/main" id="{1CB0833C-1A8F-423B-B944-C0471443B713}"/>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80" name="Oval 179">
                <a:extLst>
                  <a:ext uri="{FF2B5EF4-FFF2-40B4-BE49-F238E27FC236}">
                    <a16:creationId xmlns:a16="http://schemas.microsoft.com/office/drawing/2014/main" id="{CD0DE725-B8CF-4A29-9DEE-32DE00DBD20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1" name="Arc 180">
                <a:extLst>
                  <a:ext uri="{FF2B5EF4-FFF2-40B4-BE49-F238E27FC236}">
                    <a16:creationId xmlns:a16="http://schemas.microsoft.com/office/drawing/2014/main" id="{893C8781-4B27-47B9-9516-BD673B967500}"/>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4">
              <a:extLst>
                <a:ext uri="{FF2B5EF4-FFF2-40B4-BE49-F238E27FC236}">
                  <a16:creationId xmlns:a16="http://schemas.microsoft.com/office/drawing/2014/main" id="{4FD7E85F-1812-4274-B65E-DEA4699D4924}"/>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8" name="Oval 167">
                <a:extLst>
                  <a:ext uri="{FF2B5EF4-FFF2-40B4-BE49-F238E27FC236}">
                    <a16:creationId xmlns:a16="http://schemas.microsoft.com/office/drawing/2014/main" id="{C5A8DD90-140E-47E7-84AE-52123E5A6088}"/>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9" name="Arc 178">
                <a:extLst>
                  <a:ext uri="{FF2B5EF4-FFF2-40B4-BE49-F238E27FC236}">
                    <a16:creationId xmlns:a16="http://schemas.microsoft.com/office/drawing/2014/main" id="{0F8FBC1B-EB3B-4E13-BDDB-C1E5D3BF371A}"/>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5">
              <a:extLst>
                <a:ext uri="{FF2B5EF4-FFF2-40B4-BE49-F238E27FC236}">
                  <a16:creationId xmlns:a16="http://schemas.microsoft.com/office/drawing/2014/main" id="{C512309C-75EB-45FF-9040-713241662282}"/>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66" name="Oval 165">
                <a:extLst>
                  <a:ext uri="{FF2B5EF4-FFF2-40B4-BE49-F238E27FC236}">
                    <a16:creationId xmlns:a16="http://schemas.microsoft.com/office/drawing/2014/main" id="{BA1A3805-7BC6-4EF8-852B-93B4906D237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7" name="Arc 166">
                <a:extLst>
                  <a:ext uri="{FF2B5EF4-FFF2-40B4-BE49-F238E27FC236}">
                    <a16:creationId xmlns:a16="http://schemas.microsoft.com/office/drawing/2014/main" id="{1E3515CC-743D-4EDE-82AA-3BAD3E8CB298}"/>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7" name="LegendBoxes" hidden="1">
            <a:extLst>
              <a:ext uri="{FF2B5EF4-FFF2-40B4-BE49-F238E27FC236}">
                <a16:creationId xmlns:a16="http://schemas.microsoft.com/office/drawing/2014/main" id="{73C855BB-1D6B-447E-B9D4-B1DEDA8F35F6}"/>
              </a:ext>
            </a:extLst>
          </p:cNvPr>
          <p:cNvGrpSpPr/>
          <p:nvPr userDrawn="1"/>
        </p:nvGrpSpPr>
        <p:grpSpPr>
          <a:xfrm>
            <a:off x="10714801" y="4007417"/>
            <a:ext cx="853663" cy="1717282"/>
            <a:chOff x="10652400" y="4322824"/>
            <a:chExt cx="853663" cy="1717282"/>
          </a:xfrm>
        </p:grpSpPr>
        <p:sp>
          <p:nvSpPr>
            <p:cNvPr id="188" name="RectangleLegend1">
              <a:extLst>
                <a:ext uri="{FF2B5EF4-FFF2-40B4-BE49-F238E27FC236}">
                  <a16:creationId xmlns:a16="http://schemas.microsoft.com/office/drawing/2014/main" id="{03036601-F2C4-4BEE-99E9-9AA5682583C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9" name="RectangleLegend2">
              <a:extLst>
                <a:ext uri="{FF2B5EF4-FFF2-40B4-BE49-F238E27FC236}">
                  <a16:creationId xmlns:a16="http://schemas.microsoft.com/office/drawing/2014/main" id="{74766F02-ED05-40A8-8C12-559A1F5E0D8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0" name="RectangleLegend3">
              <a:extLst>
                <a:ext uri="{FF2B5EF4-FFF2-40B4-BE49-F238E27FC236}">
                  <a16:creationId xmlns:a16="http://schemas.microsoft.com/office/drawing/2014/main" id="{8A9F8682-E4F0-462F-B1DB-0B0C641AC25F}"/>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1" name="RectangleLegend4">
              <a:extLst>
                <a:ext uri="{FF2B5EF4-FFF2-40B4-BE49-F238E27FC236}">
                  <a16:creationId xmlns:a16="http://schemas.microsoft.com/office/drawing/2014/main" id="{F5CF156B-3943-477C-9CC5-85C55122FD12}"/>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2" name="RectangleLegend5">
              <a:extLst>
                <a:ext uri="{FF2B5EF4-FFF2-40B4-BE49-F238E27FC236}">
                  <a16:creationId xmlns:a16="http://schemas.microsoft.com/office/drawing/2014/main" id="{982D5730-2414-45C7-88AA-0DD738615685}"/>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3" name="Legend1">
              <a:extLst>
                <a:ext uri="{FF2B5EF4-FFF2-40B4-BE49-F238E27FC236}">
                  <a16:creationId xmlns:a16="http://schemas.microsoft.com/office/drawing/2014/main" id="{C258AFFB-13FB-4F80-BB77-1A25510CEA9C}"/>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712007E0-3BCA-43EE-AF31-9154650082DA}"/>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3E401500-3BC2-4D02-B3D9-8B44D94EE945}"/>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DA8BD0B4-5C90-4A44-AA77-06DE7803231D}"/>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7F8D02B2-B99A-43A0-A1C2-0D055120F47C}"/>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37" name="Picture 136">
            <a:extLst>
              <a:ext uri="{FF2B5EF4-FFF2-40B4-BE49-F238E27FC236}">
                <a16:creationId xmlns:a16="http://schemas.microsoft.com/office/drawing/2014/main" id="{9710DFD3-0857-43FB-BFD1-34518EC3C2E2}"/>
              </a:ext>
            </a:extLst>
          </p:cNvPr>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44" name="Slide Number Placeholder 3">
            <a:extLst>
              <a:ext uri="{FF2B5EF4-FFF2-40B4-BE49-F238E27FC236}">
                <a16:creationId xmlns:a16="http://schemas.microsoft.com/office/drawing/2014/main" id="{215B37E6-6AAE-4CEB-AF79-F7A29912BCD4}"/>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cxnSp>
        <p:nvCxnSpPr>
          <p:cNvPr id="139" name="Straight Connector 138">
            <a:extLst>
              <a:ext uri="{FF2B5EF4-FFF2-40B4-BE49-F238E27FC236}">
                <a16:creationId xmlns:a16="http://schemas.microsoft.com/office/drawing/2014/main" id="{5074BF57-BA7F-4254-8D9F-E14F95ACA9FF}"/>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4" name="Rectangle 3">
            <a:extLst>
              <a:ext uri="{FF2B5EF4-FFF2-40B4-BE49-F238E27FC236}">
                <a16:creationId xmlns:a16="http://schemas.microsoft.com/office/drawing/2014/main" id="{2244AACA-1EC6-2384-11D0-99C671D52820}"/>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3732822"/>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4040" r:id="rId18"/>
    <p:sldLayoutId id="2147483932" r:id="rId19"/>
    <p:sldLayoutId id="2147484012" r:id="rId20"/>
    <p:sldLayoutId id="2147484013" r:id="rId21"/>
  </p:sldLayoutIdLst>
  <p:txStyles>
    <p:titleStyle>
      <a:lvl1pPr algn="l" defTabSz="914400" rtl="0" eaLnBrk="1" latinLnBrk="0" hangingPunct="1">
        <a:lnSpc>
          <a:spcPct val="100000"/>
        </a:lnSpc>
        <a:spcBef>
          <a:spcPct val="0"/>
        </a:spcBef>
        <a:buNone/>
        <a:defRPr lang="en-US" sz="2400" b="0" kern="1200" cap="all"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61">
          <p15:clr>
            <a:srgbClr val="5ACBF0"/>
          </p15:clr>
        </p15:guide>
        <p15:guide id="4" orient="horz" pos="1366">
          <p15:clr>
            <a:srgbClr val="F26B43"/>
          </p15:clr>
        </p15:guide>
        <p15:guide id="5" pos="7342">
          <p15:clr>
            <a:srgbClr val="F26B43"/>
          </p15:clr>
        </p15:guide>
        <p15:guide id="6" pos="352">
          <p15:clr>
            <a:srgbClr val="F26B43"/>
          </p15:clr>
        </p15:guide>
        <p15:guide id="8" orient="horz" pos="4122">
          <p15:clr>
            <a:srgbClr val="F26B43"/>
          </p15:clr>
        </p15:guide>
        <p15:guide id="9" orient="horz" pos="391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5"/>
            </p:custDataLst>
            <p:extLst>
              <p:ext uri="{D42A27DB-BD31-4B8C-83A1-F6EECF244321}">
                <p14:modId xmlns:p14="http://schemas.microsoft.com/office/powerpoint/2010/main" val="1693630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592" imgH="591" progId="TCLayout.ActiveDocument.1">
                  <p:embed/>
                </p:oleObj>
              </mc:Choice>
              <mc:Fallback>
                <p:oleObj name="think-cell Slide" r:id="rId46"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grpSp>
        <p:nvGrpSpPr>
          <p:cNvPr id="144" name="Grid" hidden="1">
            <a:extLst>
              <a:ext uri="{FF2B5EF4-FFF2-40B4-BE49-F238E27FC236}">
                <a16:creationId xmlns:a16="http://schemas.microsoft.com/office/drawing/2014/main" id="{ADD6BE8E-506E-4E3D-934A-EB06855F096F}"/>
              </a:ext>
            </a:extLst>
          </p:cNvPr>
          <p:cNvGrpSpPr/>
          <p:nvPr userDrawn="1">
            <p:custDataLst>
              <p:tags r:id="rId26"/>
            </p:custDataLst>
          </p:nvPr>
        </p:nvGrpSpPr>
        <p:grpSpPr>
          <a:xfrm>
            <a:off x="0" y="0"/>
            <a:ext cx="12190476" cy="6858000"/>
            <a:chOff x="0" y="0"/>
            <a:chExt cx="12190476" cy="6858000"/>
          </a:xfrm>
        </p:grpSpPr>
        <p:sp>
          <p:nvSpPr>
            <p:cNvPr id="168" name="slide margin">
              <a:extLst>
                <a:ext uri="{FF2B5EF4-FFF2-40B4-BE49-F238E27FC236}">
                  <a16:creationId xmlns:a16="http://schemas.microsoft.com/office/drawing/2014/main" id="{5BB18687-BE2E-4758-BEC8-A4A688712541}"/>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a typeface="+mn-ea"/>
                <a:cs typeface="+mn-cs"/>
              </a:endParaRPr>
            </a:p>
          </p:txBody>
        </p:sp>
        <p:cxnSp>
          <p:nvCxnSpPr>
            <p:cNvPr id="169" name="Straight Connector 168">
              <a:extLst>
                <a:ext uri="{FF2B5EF4-FFF2-40B4-BE49-F238E27FC236}">
                  <a16:creationId xmlns:a16="http://schemas.microsoft.com/office/drawing/2014/main" id="{E4EC1F06-841B-42B2-AA95-227995252C6D}"/>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E51A3B8-809B-44C1-B83D-F64E891D1EA2}"/>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034CEB2F-6152-4560-8DFB-B86B3865F692}"/>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E1306521-7546-4CA7-9B1B-CE939B5350C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067E0D7-690E-4B38-B435-8EADFFB224D5}"/>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B27AA939-F206-4FD3-8104-BC0FA241E7B1}"/>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2F4F2C8-32E3-4809-953A-974A27720D9B}"/>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412660BC-D6FC-4C7D-94C9-090D946D07A9}"/>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1F9030DF-BBEC-43F8-8B7A-3BFD3D2A85C4}"/>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92B8A8CC-E056-4532-9E7B-6B962F1F78DF}"/>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06ED83A6-C5AD-4054-AD8B-B8FD26D32A35}"/>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2BA41BFA-EE3A-4B38-90D0-B294F5FCB5FF}"/>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82" name="Freeform: Shape 181">
              <a:extLst>
                <a:ext uri="{FF2B5EF4-FFF2-40B4-BE49-F238E27FC236}">
                  <a16:creationId xmlns:a16="http://schemas.microsoft.com/office/drawing/2014/main" id="{05D8E346-368A-4142-84EE-36844AB7FB12}"/>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83" name="Freeform: Shape 182">
              <a:extLst>
                <a:ext uri="{FF2B5EF4-FFF2-40B4-BE49-F238E27FC236}">
                  <a16:creationId xmlns:a16="http://schemas.microsoft.com/office/drawing/2014/main" id="{F29B0B90-DD72-4046-B45E-7D06954C56F1}"/>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84" name="Freeform: Shape 183">
              <a:extLst>
                <a:ext uri="{FF2B5EF4-FFF2-40B4-BE49-F238E27FC236}">
                  <a16:creationId xmlns:a16="http://schemas.microsoft.com/office/drawing/2014/main" id="{C27D6BDD-28B7-4471-9B27-C51607B29446}"/>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85" name="Freeform: Shape 184">
              <a:extLst>
                <a:ext uri="{FF2B5EF4-FFF2-40B4-BE49-F238E27FC236}">
                  <a16:creationId xmlns:a16="http://schemas.microsoft.com/office/drawing/2014/main" id="{CFFF2BF4-DEF2-4A39-819D-2426B92F6C51}"/>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86" name="Freeform: Shape 185">
              <a:extLst>
                <a:ext uri="{FF2B5EF4-FFF2-40B4-BE49-F238E27FC236}">
                  <a16:creationId xmlns:a16="http://schemas.microsoft.com/office/drawing/2014/main" id="{F8B61E19-0D1F-4DC4-B5F7-A0371FA94E7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87" name="Freeform: Shape 186">
              <a:extLst>
                <a:ext uri="{FF2B5EF4-FFF2-40B4-BE49-F238E27FC236}">
                  <a16:creationId xmlns:a16="http://schemas.microsoft.com/office/drawing/2014/main" id="{026355C5-B2E3-494E-AC42-F485AD76B53E}"/>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88" name="Freeform: Shape 187">
              <a:extLst>
                <a:ext uri="{FF2B5EF4-FFF2-40B4-BE49-F238E27FC236}">
                  <a16:creationId xmlns:a16="http://schemas.microsoft.com/office/drawing/2014/main" id="{CCB0BA32-E68B-4A4E-A839-22A3D53CB178}"/>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89" name="Freeform: Shape 188">
              <a:extLst>
                <a:ext uri="{FF2B5EF4-FFF2-40B4-BE49-F238E27FC236}">
                  <a16:creationId xmlns:a16="http://schemas.microsoft.com/office/drawing/2014/main" id="{AA59B68E-1F4B-4213-B92F-25F70029E0FB}"/>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0" name="Freeform: Shape 189">
              <a:extLst>
                <a:ext uri="{FF2B5EF4-FFF2-40B4-BE49-F238E27FC236}">
                  <a16:creationId xmlns:a16="http://schemas.microsoft.com/office/drawing/2014/main" id="{591E3650-55CA-4212-BF1A-7C57819AEF6F}"/>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1" name="Freeform: Shape 190">
              <a:extLst>
                <a:ext uri="{FF2B5EF4-FFF2-40B4-BE49-F238E27FC236}">
                  <a16:creationId xmlns:a16="http://schemas.microsoft.com/office/drawing/2014/main" id="{150356AA-8A0A-4304-B016-8C82702D9C09}"/>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2" name="Freeform: Shape 191">
              <a:extLst>
                <a:ext uri="{FF2B5EF4-FFF2-40B4-BE49-F238E27FC236}">
                  <a16:creationId xmlns:a16="http://schemas.microsoft.com/office/drawing/2014/main" id="{76CF14DF-A5B7-49F4-862A-B33AE740F858}"/>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3" name="Freeform: Shape 192">
              <a:extLst>
                <a:ext uri="{FF2B5EF4-FFF2-40B4-BE49-F238E27FC236}">
                  <a16:creationId xmlns:a16="http://schemas.microsoft.com/office/drawing/2014/main" id="{A74CE4C7-6A1C-4C79-A930-36D9E48F4897}"/>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4" name="Freeform: Shape 193">
              <a:extLst>
                <a:ext uri="{FF2B5EF4-FFF2-40B4-BE49-F238E27FC236}">
                  <a16:creationId xmlns:a16="http://schemas.microsoft.com/office/drawing/2014/main" id="{BB348F41-2950-44B8-BDEF-34767FDC6DC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5" name="Freeform: Shape 194">
              <a:extLst>
                <a:ext uri="{FF2B5EF4-FFF2-40B4-BE49-F238E27FC236}">
                  <a16:creationId xmlns:a16="http://schemas.microsoft.com/office/drawing/2014/main" id="{7FC680DB-94F2-4715-AD3D-372D208A21AC}"/>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6" name="Freeform: Shape 195">
              <a:extLst>
                <a:ext uri="{FF2B5EF4-FFF2-40B4-BE49-F238E27FC236}">
                  <a16:creationId xmlns:a16="http://schemas.microsoft.com/office/drawing/2014/main" id="{DA730832-2053-4421-B4BB-E002B928A5B8}"/>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7" name="Freeform: Shape 196">
              <a:extLst>
                <a:ext uri="{FF2B5EF4-FFF2-40B4-BE49-F238E27FC236}">
                  <a16:creationId xmlns:a16="http://schemas.microsoft.com/office/drawing/2014/main" id="{2B7C0BE2-A47C-4DDE-B501-9CD1E4F9A01D}"/>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8" name="Freeform: Shape 197">
              <a:extLst>
                <a:ext uri="{FF2B5EF4-FFF2-40B4-BE49-F238E27FC236}">
                  <a16:creationId xmlns:a16="http://schemas.microsoft.com/office/drawing/2014/main" id="{B4338707-708D-4F03-BF7D-4265F7DD0978}"/>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199" name="Freeform: Shape 198">
              <a:extLst>
                <a:ext uri="{FF2B5EF4-FFF2-40B4-BE49-F238E27FC236}">
                  <a16:creationId xmlns:a16="http://schemas.microsoft.com/office/drawing/2014/main" id="{F52478E0-D1AC-4DE3-8259-E6387CEE9BCD}"/>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0" name="Freeform: Shape 199">
              <a:extLst>
                <a:ext uri="{FF2B5EF4-FFF2-40B4-BE49-F238E27FC236}">
                  <a16:creationId xmlns:a16="http://schemas.microsoft.com/office/drawing/2014/main" id="{AD534C55-DE4F-442E-8B29-C8E79037DDD7}"/>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1" name="Freeform: Shape 200">
              <a:extLst>
                <a:ext uri="{FF2B5EF4-FFF2-40B4-BE49-F238E27FC236}">
                  <a16:creationId xmlns:a16="http://schemas.microsoft.com/office/drawing/2014/main" id="{807EAE54-642A-4E92-A359-1DAC35F61757}"/>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2" name="Freeform: Shape 201">
              <a:extLst>
                <a:ext uri="{FF2B5EF4-FFF2-40B4-BE49-F238E27FC236}">
                  <a16:creationId xmlns:a16="http://schemas.microsoft.com/office/drawing/2014/main" id="{D23A56AC-8EB8-4C42-8321-D528F1E9EDE0}"/>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3" name="Freeform: Shape 202">
              <a:extLst>
                <a:ext uri="{FF2B5EF4-FFF2-40B4-BE49-F238E27FC236}">
                  <a16:creationId xmlns:a16="http://schemas.microsoft.com/office/drawing/2014/main" id="{161B0206-05AE-4076-B4A7-24B5C1B46065}"/>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4" name="Freeform: Shape 203">
              <a:extLst>
                <a:ext uri="{FF2B5EF4-FFF2-40B4-BE49-F238E27FC236}">
                  <a16:creationId xmlns:a16="http://schemas.microsoft.com/office/drawing/2014/main" id="{1631EAF9-D3F1-463F-B090-CC77FD865607}"/>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5" name="Freeform: Shape 204">
              <a:extLst>
                <a:ext uri="{FF2B5EF4-FFF2-40B4-BE49-F238E27FC236}">
                  <a16:creationId xmlns:a16="http://schemas.microsoft.com/office/drawing/2014/main" id="{77F20A08-F833-48C2-A9AF-6F0EB2E097E8}"/>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6" name="Freeform: Shape 205">
              <a:extLst>
                <a:ext uri="{FF2B5EF4-FFF2-40B4-BE49-F238E27FC236}">
                  <a16:creationId xmlns:a16="http://schemas.microsoft.com/office/drawing/2014/main" id="{9C37C555-494F-4380-966F-E48FF5C2C0DF}"/>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cxnSp>
          <p:nvCxnSpPr>
            <p:cNvPr id="302" name="Straight Connector 301">
              <a:extLst>
                <a:ext uri="{FF2B5EF4-FFF2-40B4-BE49-F238E27FC236}">
                  <a16:creationId xmlns:a16="http://schemas.microsoft.com/office/drawing/2014/main" id="{2C252E18-FD41-4C55-A0BB-0846649AF629}"/>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E3A3DCD3-0EC0-49C0-920B-F147757D311C}"/>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F4B523FC-74C7-4ACC-BC67-BC8D1D378A75}"/>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C06123ED-BA20-47E6-8049-F56527690278}"/>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C18C2E79-BE5B-4B3A-B671-7486A28FDE72}"/>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122205F9-2D65-4218-8675-18EF83326386}"/>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CE0E1DDD-24F9-4F57-8C2B-CBD1780F922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94FF7E9A-54BC-402F-B2BD-C5251533650A}"/>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0844C1EE-B694-4B72-8798-24BAD98C382A}"/>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8CFED7B0-0898-4540-9CEA-8F4066F3648D}"/>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CB6EC14E-0DDD-4582-85F0-77A9DB1B6FAE}"/>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9817696C-65D0-4D82-BEFC-A6280724A188}"/>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AD97C4B7-6B23-424D-BF7A-AA8A88734FF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992FDF01-6A48-4E4D-9BC1-CE5F70848FB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6239233E-B5CE-45C3-9A43-74D7D7A678AC}"/>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EBD487F0-3104-4482-9507-C1E4075AA7C2}"/>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9734F59D-B86B-4DC1-ADE0-31482D156F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83476951-F21F-4E28-BC6F-67516C3FCE7F}"/>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715C24EE-7622-4AC6-B319-7E687733F175}"/>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55DDC1DB-F776-44CF-B10A-3BB951D7FBA6}"/>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5D7942AD-82FD-4D7F-B57C-864E1FE185D4}"/>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74B241C6-CFA1-48DA-9427-158E4B5A379A}"/>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8CFE8C93-87C6-4556-B3AD-5D10325FEC3B}"/>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6EE05AD9-E42B-4172-8673-73DABC2CC716}"/>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CFB29ED3-1EE7-47E0-94B0-80657C70081E}"/>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B04A3EB3-5D27-40EB-A6BC-2E19F1DF7EA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1B1652D1-4476-41A9-BC86-3055EA64FD16}"/>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3A61A361-2DCB-4C08-ADD8-FFCF98669C70}"/>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6635FFEC-8C64-448C-B646-723AEBB3AE3A}"/>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CFC2CE78-CE3D-4A4A-83C0-1627A99A6A9C}"/>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53E02828-938F-4495-9400-95B6C68D5F94}"/>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E4067409-E115-4FC1-9923-354B1FDB946D}"/>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0CF43536-ED73-4DC3-9AA6-4A40C08C5479}"/>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15C6730A-1803-469A-B3FC-C0AEC70D6B03}"/>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B4074542-E58F-48B5-858A-C8172637A9F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C9836101-A7A9-4C34-814F-CB6C129450D9}"/>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4DDF3838-9EF1-478B-87E1-C2B54184F9DD}"/>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AF16AB31-F73D-48A7-B179-A02BC3083195}"/>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D538ABCE-CBF2-4A88-98C7-6081B88D2A6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097E9DDE-E33A-4BD4-8163-782533DC9853}"/>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607D3024-E4CF-4896-95FD-0E2AE265C65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B03D00E8-5171-4073-A17F-020BACC5C4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8EB156CD-5635-4E40-A51B-6905E8483B51}"/>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0424F259-AB8E-4D03-B2E0-71A4C1866BFE}"/>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346" name="main body box">
              <a:extLst>
                <a:ext uri="{FF2B5EF4-FFF2-40B4-BE49-F238E27FC236}">
                  <a16:creationId xmlns:a16="http://schemas.microsoft.com/office/drawing/2014/main" id="{4EAC53B3-5C5C-4876-A0FF-7CCFCEAB21DF}"/>
                </a:ext>
              </a:extLst>
            </p:cNvPr>
            <p:cNvSpPr/>
            <p:nvPr userDrawn="1"/>
          </p:nvSpPr>
          <p:spPr bwMode="invGray">
            <a:xfrm>
              <a:off x="554736" y="2174632"/>
              <a:ext cx="11082528" cy="4043287"/>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a typeface="+mn-ea"/>
                <a:cs typeface="+mn-cs"/>
              </a:endParaRPr>
            </a:p>
          </p:txBody>
        </p:sp>
        <p:cxnSp>
          <p:nvCxnSpPr>
            <p:cNvPr id="347" name="Straight Connector 346">
              <a:extLst>
                <a:ext uri="{FF2B5EF4-FFF2-40B4-BE49-F238E27FC236}">
                  <a16:creationId xmlns:a16="http://schemas.microsoft.com/office/drawing/2014/main" id="{ADFDA86E-7691-4E8D-B8CC-8BD23687B483}"/>
                </a:ext>
              </a:extLst>
            </p:cNvPr>
            <p:cNvCxnSpPr/>
            <p:nvPr userDrawn="1"/>
          </p:nvCxnSpPr>
          <p:spPr bwMode="invGray">
            <a:xfrm>
              <a:off x="554736" y="2634996"/>
              <a:ext cx="11082528" cy="0"/>
            </a:xfrm>
            <a:prstGeom prst="line">
              <a:avLst/>
            </a:prstGeom>
            <a:noFill/>
            <a:ln w="12700">
              <a:solidFill>
                <a:srgbClr val="19D3C5">
                  <a:alpha val="50000"/>
                </a:srgbClr>
              </a:solidFill>
            </a:ln>
          </p:spPr>
        </p:cxnSp>
        <p:cxnSp>
          <p:nvCxnSpPr>
            <p:cNvPr id="348" name="Straight Connector 347">
              <a:extLst>
                <a:ext uri="{FF2B5EF4-FFF2-40B4-BE49-F238E27FC236}">
                  <a16:creationId xmlns:a16="http://schemas.microsoft.com/office/drawing/2014/main" id="{D4A74E56-FB19-4E2D-A110-9C6FCF231116}"/>
                </a:ext>
              </a:extLst>
            </p:cNvPr>
            <p:cNvCxnSpPr/>
            <p:nvPr userDrawn="1"/>
          </p:nvCxnSpPr>
          <p:spPr bwMode="invGray">
            <a:xfrm>
              <a:off x="554736" y="2168653"/>
              <a:ext cx="11082528" cy="0"/>
            </a:xfrm>
            <a:prstGeom prst="line">
              <a:avLst/>
            </a:prstGeom>
            <a:noFill/>
            <a:ln w="12700">
              <a:solidFill>
                <a:srgbClr val="19D3C5">
                  <a:alpha val="50000"/>
                </a:srgbClr>
              </a:solidFill>
            </a:ln>
          </p:spPr>
        </p:cxnSp>
      </p:grpSp>
      <p:sp>
        <p:nvSpPr>
          <p:cNvPr id="271" name="4. Footnote" hidden="1">
            <a:extLst>
              <a:ext uri="{FF2B5EF4-FFF2-40B4-BE49-F238E27FC236}">
                <a16:creationId xmlns:a16="http://schemas.microsoft.com/office/drawing/2014/main" id="{9D5799F4-D2D3-4D3D-805F-61E52150115A}"/>
              </a:ext>
            </a:extLst>
          </p:cNvPr>
          <p:cNvSpPr txBox="1"/>
          <p:nvPr userDrawn="1">
            <p:custDataLst>
              <p:tags r:id="rId27"/>
            </p:custDataLst>
          </p:nvPr>
        </p:nvSpPr>
        <p:spPr>
          <a:xfrm>
            <a:off x="56598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272" name="2. Slide Title">
            <a:extLst>
              <a:ext uri="{FF2B5EF4-FFF2-40B4-BE49-F238E27FC236}">
                <a16:creationId xmlns:a16="http://schemas.microsoft.com/office/drawing/2014/main" id="{8A0F33EC-51A0-4E2E-8F70-1D2A05D6B161}"/>
              </a:ext>
            </a:extLst>
          </p:cNvPr>
          <p:cNvSpPr>
            <a:spLocks noGrp="1"/>
          </p:cNvSpPr>
          <p:nvPr>
            <p:ph type="title"/>
            <p:custDataLst>
              <p:tags r:id="rId28"/>
            </p:custDataLst>
          </p:nvPr>
        </p:nvSpPr>
        <p:spPr>
          <a:xfrm>
            <a:off x="565988" y="591463"/>
            <a:ext cx="970788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p>
            <a:pPr lvl="0"/>
            <a:r>
              <a:rPr lang="en-US"/>
              <a:t>Click to edit Master title style</a:t>
            </a:r>
          </a:p>
        </p:txBody>
      </p:sp>
      <p:sp>
        <p:nvSpPr>
          <p:cNvPr id="352" name="Footer Placeholder 4">
            <a:extLst>
              <a:ext uri="{FF2B5EF4-FFF2-40B4-BE49-F238E27FC236}">
                <a16:creationId xmlns:a16="http://schemas.microsoft.com/office/drawing/2014/main" id="{B3E1F9A9-F10F-4487-A99D-52233C503AD1}"/>
              </a:ext>
            </a:extLst>
          </p:cNvPr>
          <p:cNvSpPr txBox="1">
            <a:spLocks/>
          </p:cNvSpPr>
          <p:nvPr userDrawn="1"/>
        </p:nvSpPr>
        <p:spPr>
          <a:xfrm>
            <a:off x="565988" y="82170"/>
            <a:ext cx="1824217" cy="184666"/>
          </a:xfrm>
          <a:prstGeom prst="rect">
            <a:avLst/>
          </a:prstGeom>
        </p:spPr>
        <p:txBody>
          <a:bodyPr wrap="none" lIns="0" tIns="0" rIns="0" bIns="0">
            <a:spAutoFit/>
          </a:bodyPr>
          <a:lstStyle>
            <a:defPPr>
              <a:defRPr lang="en-US"/>
            </a:defPPr>
            <a:lvl1pPr marL="0" algn="l" defTabSz="914400" rtl="0" eaLnBrk="1" latinLnBrk="0" hangingPunct="1">
              <a:defRPr sz="1200" b="0" i="0" kern="1200">
                <a:solidFill>
                  <a:schemeClr val="tx1">
                    <a:lumMod val="50000"/>
                    <a:lumOff val="50000"/>
                  </a:schemeClr>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orecast Policy Scenario 2023</a:t>
            </a:r>
          </a:p>
        </p:txBody>
      </p:sp>
      <p:sp>
        <p:nvSpPr>
          <p:cNvPr id="350" name="Sticker" hidden="1">
            <a:extLst>
              <a:ext uri="{FF2B5EF4-FFF2-40B4-BE49-F238E27FC236}">
                <a16:creationId xmlns:a16="http://schemas.microsoft.com/office/drawing/2014/main" id="{5B6B83C4-FB98-444C-BC3C-54670A57BFA4}"/>
              </a:ext>
            </a:extLst>
          </p:cNvPr>
          <p:cNvSpPr txBox="1"/>
          <p:nvPr userDrawn="1"/>
        </p:nvSpPr>
        <p:spPr>
          <a:xfrm>
            <a:off x="565988" y="1768639"/>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cxnSp>
        <p:nvCxnSpPr>
          <p:cNvPr id="351" name="Straight Connector 350">
            <a:extLst>
              <a:ext uri="{FF2B5EF4-FFF2-40B4-BE49-F238E27FC236}">
                <a16:creationId xmlns:a16="http://schemas.microsoft.com/office/drawing/2014/main" id="{1EBCABD3-539A-4996-9382-60F2B4C0C516}"/>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tx1"/>
            </a:solidFill>
            <a:prstDash val="sysDot"/>
            <a:round/>
            <a:headEnd type="none" w="med" len="med"/>
            <a:tailEnd type="none" w="med" len="med"/>
          </a:ln>
          <a:effectLst/>
        </p:spPr>
      </p:cxnSp>
      <p:sp>
        <p:nvSpPr>
          <p:cNvPr id="2" name="Rectangle 1" hidden="1">
            <a:extLst>
              <a:ext uri="{FF2B5EF4-FFF2-40B4-BE49-F238E27FC236}">
                <a16:creationId xmlns:a16="http://schemas.microsoft.com/office/drawing/2014/main" id="{FB3399E7-290D-4CE6-AA08-2DA0CF307E1C}"/>
              </a:ext>
            </a:extLst>
          </p:cNvPr>
          <p:cNvSpPr/>
          <p:nvPr userDrawn="1">
            <p:custDataLst>
              <p:tags r:id="rId29"/>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30"/>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65988" y="2170800"/>
            <a:ext cx="5674660" cy="138499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35" name="LegendBoxes" hidden="1">
            <a:extLst>
              <a:ext uri="{FF2B5EF4-FFF2-40B4-BE49-F238E27FC236}">
                <a16:creationId xmlns:a16="http://schemas.microsoft.com/office/drawing/2014/main" id="{09610CCA-E1A8-48A2-B195-7BD06A0204C0}"/>
              </a:ext>
            </a:extLst>
          </p:cNvPr>
          <p:cNvGrpSpPr/>
          <p:nvPr userDrawn="1"/>
        </p:nvGrpSpPr>
        <p:grpSpPr>
          <a:xfrm>
            <a:off x="10714801" y="4520490"/>
            <a:ext cx="853663" cy="1717282"/>
            <a:chOff x="10554770" y="4322824"/>
            <a:chExt cx="853663" cy="1717282"/>
          </a:xfrm>
        </p:grpSpPr>
        <p:sp>
          <p:nvSpPr>
            <p:cNvPr id="136" name="RectangleLegend1" hidden="1">
              <a:extLst>
                <a:ext uri="{FF2B5EF4-FFF2-40B4-BE49-F238E27FC236}">
                  <a16:creationId xmlns:a16="http://schemas.microsoft.com/office/drawing/2014/main" id="{A45729F1-452B-4F68-B3D1-7F7CF17B2B2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37" name="RectangleLegend2" hidden="1">
              <a:extLst>
                <a:ext uri="{FF2B5EF4-FFF2-40B4-BE49-F238E27FC236}">
                  <a16:creationId xmlns:a16="http://schemas.microsoft.com/office/drawing/2014/main" id="{FBBCADBC-A485-44E5-9ABE-12DEB1B0C52F}"/>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38" name="RectangleLegend3" hidden="1">
              <a:extLst>
                <a:ext uri="{FF2B5EF4-FFF2-40B4-BE49-F238E27FC236}">
                  <a16:creationId xmlns:a16="http://schemas.microsoft.com/office/drawing/2014/main" id="{D8E5ADBD-8F60-416D-B955-2E4CEE7842D6}"/>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39" name="RectangleLegend4" hidden="1">
              <a:extLst>
                <a:ext uri="{FF2B5EF4-FFF2-40B4-BE49-F238E27FC236}">
                  <a16:creationId xmlns:a16="http://schemas.microsoft.com/office/drawing/2014/main" id="{276C430C-FD24-4C12-A689-4EDFF55E5284}"/>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0" name="RectangleLegend5" hidden="1">
              <a:extLst>
                <a:ext uri="{FF2B5EF4-FFF2-40B4-BE49-F238E27FC236}">
                  <a16:creationId xmlns:a16="http://schemas.microsoft.com/office/drawing/2014/main" id="{FDBF2564-367E-4EAD-A2D3-2FACCBDD7A15}"/>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1" name="Legend1" hidden="1">
              <a:extLst>
                <a:ext uri="{FF2B5EF4-FFF2-40B4-BE49-F238E27FC236}">
                  <a16:creationId xmlns:a16="http://schemas.microsoft.com/office/drawing/2014/main" id="{0A37D967-36D2-42B2-AFB3-8C6F2A6A74AE}"/>
                </a:ext>
              </a:extLst>
            </p:cNvPr>
            <p:cNvSpPr txBox="1"/>
            <p:nvPr/>
          </p:nvSpPr>
          <p:spPr>
            <a:xfrm>
              <a:off x="1088091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2" name="Legend2" hidden="1">
              <a:extLst>
                <a:ext uri="{FF2B5EF4-FFF2-40B4-BE49-F238E27FC236}">
                  <a16:creationId xmlns:a16="http://schemas.microsoft.com/office/drawing/2014/main" id="{559BA344-C492-440D-9548-E7B2C9EAC39F}"/>
                </a:ext>
              </a:extLst>
            </p:cNvPr>
            <p:cNvSpPr txBox="1"/>
            <p:nvPr/>
          </p:nvSpPr>
          <p:spPr>
            <a:xfrm>
              <a:off x="1088091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43" name="Legend3" hidden="1">
              <a:extLst>
                <a:ext uri="{FF2B5EF4-FFF2-40B4-BE49-F238E27FC236}">
                  <a16:creationId xmlns:a16="http://schemas.microsoft.com/office/drawing/2014/main" id="{AA09785D-5B6D-4FD4-9B76-12F210AD72CC}"/>
                </a:ext>
              </a:extLst>
            </p:cNvPr>
            <p:cNvSpPr txBox="1"/>
            <p:nvPr/>
          </p:nvSpPr>
          <p:spPr>
            <a:xfrm>
              <a:off x="1088091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6" name="Legend4" hidden="1">
              <a:extLst>
                <a:ext uri="{FF2B5EF4-FFF2-40B4-BE49-F238E27FC236}">
                  <a16:creationId xmlns:a16="http://schemas.microsoft.com/office/drawing/2014/main" id="{D79BDA7E-BA91-4ED8-B66C-9C8AE8D2AC4A}"/>
                </a:ext>
              </a:extLst>
            </p:cNvPr>
            <p:cNvSpPr txBox="1"/>
            <p:nvPr/>
          </p:nvSpPr>
          <p:spPr>
            <a:xfrm>
              <a:off x="1088091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73" name="Legend5" hidden="1">
              <a:extLst>
                <a:ext uri="{FF2B5EF4-FFF2-40B4-BE49-F238E27FC236}">
                  <a16:creationId xmlns:a16="http://schemas.microsoft.com/office/drawing/2014/main" id="{2CBEF6FD-DE2A-4363-B114-BA4A28119D91}"/>
                </a:ext>
              </a:extLst>
            </p:cNvPr>
            <p:cNvSpPr txBox="1"/>
            <p:nvPr/>
          </p:nvSpPr>
          <p:spPr>
            <a:xfrm>
              <a:off x="1088091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274" name="LegendLines" hidden="1">
            <a:extLst>
              <a:ext uri="{FF2B5EF4-FFF2-40B4-BE49-F238E27FC236}">
                <a16:creationId xmlns:a16="http://schemas.microsoft.com/office/drawing/2014/main" id="{A464035A-103E-4A5B-AA58-C1005D706E4D}"/>
              </a:ext>
            </a:extLst>
          </p:cNvPr>
          <p:cNvGrpSpPr/>
          <p:nvPr userDrawn="1"/>
        </p:nvGrpSpPr>
        <p:grpSpPr>
          <a:xfrm>
            <a:off x="10317304" y="3355023"/>
            <a:ext cx="1251160" cy="958286"/>
            <a:chOff x="10162879" y="3243772"/>
            <a:chExt cx="1251160" cy="958286"/>
          </a:xfrm>
        </p:grpSpPr>
        <p:sp>
          <p:nvSpPr>
            <p:cNvPr id="275" name="Legend1" hidden="1">
              <a:extLst>
                <a:ext uri="{FF2B5EF4-FFF2-40B4-BE49-F238E27FC236}">
                  <a16:creationId xmlns:a16="http://schemas.microsoft.com/office/drawing/2014/main" id="{6E0DDFFB-3C56-4925-92FC-E331BE518FE2}"/>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76" name="Legend2" hidden="1">
              <a:extLst>
                <a:ext uri="{FF2B5EF4-FFF2-40B4-BE49-F238E27FC236}">
                  <a16:creationId xmlns:a16="http://schemas.microsoft.com/office/drawing/2014/main" id="{7B6E0863-1A03-4FFD-90EE-4FD63293AAA4}"/>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77" name="Legend3" hidden="1">
              <a:extLst>
                <a:ext uri="{FF2B5EF4-FFF2-40B4-BE49-F238E27FC236}">
                  <a16:creationId xmlns:a16="http://schemas.microsoft.com/office/drawing/2014/main" id="{B03146C2-AC2E-4A75-AF98-3690CB45F723}"/>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78" name="LineLegend3" hidden="1">
              <a:extLst>
                <a:ext uri="{FF2B5EF4-FFF2-40B4-BE49-F238E27FC236}">
                  <a16:creationId xmlns:a16="http://schemas.microsoft.com/office/drawing/2014/main" id="{9381C27F-8463-4E7A-8B94-19B10CF49F4D}"/>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279" name="LineLegend2" hidden="1">
              <a:extLst>
                <a:ext uri="{FF2B5EF4-FFF2-40B4-BE49-F238E27FC236}">
                  <a16:creationId xmlns:a16="http://schemas.microsoft.com/office/drawing/2014/main" id="{1B1D5DDE-145E-419A-A7FA-437A34D272C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280" name="LineLegend1" hidden="1">
              <a:extLst>
                <a:ext uri="{FF2B5EF4-FFF2-40B4-BE49-F238E27FC236}">
                  <a16:creationId xmlns:a16="http://schemas.microsoft.com/office/drawing/2014/main" id="{BE2D862E-060F-44D5-B241-45B42834E337}"/>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281" name="LegendMoons" hidden="1">
            <a:extLst>
              <a:ext uri="{FF2B5EF4-FFF2-40B4-BE49-F238E27FC236}">
                <a16:creationId xmlns:a16="http://schemas.microsoft.com/office/drawing/2014/main" id="{C2C6D84B-0848-4C3C-B824-FF4199AB1A78}"/>
              </a:ext>
            </a:extLst>
          </p:cNvPr>
          <p:cNvGrpSpPr/>
          <p:nvPr userDrawn="1"/>
        </p:nvGrpSpPr>
        <p:grpSpPr>
          <a:xfrm>
            <a:off x="10688315" y="1415983"/>
            <a:ext cx="880149" cy="1731859"/>
            <a:chOff x="7716535" y="2630582"/>
            <a:chExt cx="880149" cy="1731859"/>
          </a:xfrm>
        </p:grpSpPr>
        <p:sp>
          <p:nvSpPr>
            <p:cNvPr id="282" name="Legend1" hidden="1">
              <a:extLst>
                <a:ext uri="{FF2B5EF4-FFF2-40B4-BE49-F238E27FC236}">
                  <a16:creationId xmlns:a16="http://schemas.microsoft.com/office/drawing/2014/main" id="{A4B3D5D3-426D-4D01-89F2-91F13494842B}"/>
                </a:ext>
              </a:extLst>
            </p:cNvPr>
            <p:cNvSpPr txBox="1"/>
            <p:nvPr/>
          </p:nvSpPr>
          <p:spPr>
            <a:xfrm>
              <a:off x="8069167" y="26379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83" name="Legend2" hidden="1">
              <a:extLst>
                <a:ext uri="{FF2B5EF4-FFF2-40B4-BE49-F238E27FC236}">
                  <a16:creationId xmlns:a16="http://schemas.microsoft.com/office/drawing/2014/main" id="{505BCD9E-B36F-4470-ABCC-5107C112F179}"/>
                </a:ext>
              </a:extLst>
            </p:cNvPr>
            <p:cNvSpPr txBox="1"/>
            <p:nvPr/>
          </p:nvSpPr>
          <p:spPr>
            <a:xfrm>
              <a:off x="8069167" y="301340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84" name="Legend3" hidden="1">
              <a:extLst>
                <a:ext uri="{FF2B5EF4-FFF2-40B4-BE49-F238E27FC236}">
                  <a16:creationId xmlns:a16="http://schemas.microsoft.com/office/drawing/2014/main" id="{EDF440EC-A3DC-4B14-ADDD-B411FB9CFBDD}"/>
                </a:ext>
              </a:extLst>
            </p:cNvPr>
            <p:cNvSpPr txBox="1"/>
            <p:nvPr/>
          </p:nvSpPr>
          <p:spPr>
            <a:xfrm>
              <a:off x="8069167" y="3388859"/>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85" name="Legend4" hidden="1">
              <a:extLst>
                <a:ext uri="{FF2B5EF4-FFF2-40B4-BE49-F238E27FC236}">
                  <a16:creationId xmlns:a16="http://schemas.microsoft.com/office/drawing/2014/main" id="{76E5CCB8-FCE3-44B4-9D42-6E63917EE7D5}"/>
                </a:ext>
              </a:extLst>
            </p:cNvPr>
            <p:cNvSpPr txBox="1"/>
            <p:nvPr/>
          </p:nvSpPr>
          <p:spPr>
            <a:xfrm>
              <a:off x="8069167" y="3764318"/>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86" name="Legend5" hidden="1">
              <a:extLst>
                <a:ext uri="{FF2B5EF4-FFF2-40B4-BE49-F238E27FC236}">
                  <a16:creationId xmlns:a16="http://schemas.microsoft.com/office/drawing/2014/main" id="{EFBECFF2-64D6-457D-AE9B-149BD4B5A4A0}"/>
                </a:ext>
              </a:extLst>
            </p:cNvPr>
            <p:cNvSpPr txBox="1"/>
            <p:nvPr/>
          </p:nvSpPr>
          <p:spPr>
            <a:xfrm>
              <a:off x="8069167" y="4139779"/>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87" name="MoonLegend1" hidden="1">
              <a:extLst>
                <a:ext uri="{FF2B5EF4-FFF2-40B4-BE49-F238E27FC236}">
                  <a16:creationId xmlns:a16="http://schemas.microsoft.com/office/drawing/2014/main" id="{E4BFE1AB-29AF-47E0-B452-ADE6C055F6E8}"/>
                </a:ext>
              </a:extLst>
            </p:cNvPr>
            <p:cNvGrpSpPr>
              <a:grpSpLocks noChangeAspect="1"/>
            </p:cNvGrpSpPr>
            <p:nvPr>
              <p:custDataLst>
                <p:tags r:id="rId31"/>
              </p:custDataLst>
            </p:nvPr>
          </p:nvGrpSpPr>
          <p:grpSpPr>
            <a:xfrm>
              <a:off x="7716535" y="2630582"/>
              <a:ext cx="228600" cy="228600"/>
              <a:chOff x="762000" y="1270000"/>
              <a:chExt cx="254000" cy="254000"/>
            </a:xfrm>
          </p:grpSpPr>
          <p:sp>
            <p:nvSpPr>
              <p:cNvPr id="300" name="Oval 299" hidden="1">
                <a:extLst>
                  <a:ext uri="{FF2B5EF4-FFF2-40B4-BE49-F238E27FC236}">
                    <a16:creationId xmlns:a16="http://schemas.microsoft.com/office/drawing/2014/main" id="{6733DE07-9D97-4027-B2C3-82789F9D48C6}"/>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301" name="Arc 300" hidden="1">
                <a:extLst>
                  <a:ext uri="{FF2B5EF4-FFF2-40B4-BE49-F238E27FC236}">
                    <a16:creationId xmlns:a16="http://schemas.microsoft.com/office/drawing/2014/main" id="{9DDBCA8A-4A00-4CF8-A441-422C6E03263F}"/>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88" name="MoonLegend2" hidden="1">
              <a:extLst>
                <a:ext uri="{FF2B5EF4-FFF2-40B4-BE49-F238E27FC236}">
                  <a16:creationId xmlns:a16="http://schemas.microsoft.com/office/drawing/2014/main" id="{D0757C02-4FA2-4F61-AFF4-DBA1EB843D5F}"/>
                </a:ext>
              </a:extLst>
            </p:cNvPr>
            <p:cNvGrpSpPr>
              <a:grpSpLocks noChangeAspect="1"/>
            </p:cNvGrpSpPr>
            <p:nvPr>
              <p:custDataLst>
                <p:tags r:id="rId32"/>
              </p:custDataLst>
            </p:nvPr>
          </p:nvGrpSpPr>
          <p:grpSpPr>
            <a:xfrm>
              <a:off x="7716535" y="3006395"/>
              <a:ext cx="228600" cy="228600"/>
              <a:chOff x="762000" y="1270000"/>
              <a:chExt cx="254000" cy="254000"/>
            </a:xfrm>
          </p:grpSpPr>
          <p:sp>
            <p:nvSpPr>
              <p:cNvPr id="298" name="Oval 297" hidden="1">
                <a:extLst>
                  <a:ext uri="{FF2B5EF4-FFF2-40B4-BE49-F238E27FC236}">
                    <a16:creationId xmlns:a16="http://schemas.microsoft.com/office/drawing/2014/main" id="{F010A04D-F557-4850-B0EC-92DBF8689EF6}"/>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9" name="Arc 298" hidden="1">
                <a:extLst>
                  <a:ext uri="{FF2B5EF4-FFF2-40B4-BE49-F238E27FC236}">
                    <a16:creationId xmlns:a16="http://schemas.microsoft.com/office/drawing/2014/main" id="{9F8E6AC1-7123-4576-8537-1EEB132E4664}"/>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89" name="MoonLegend3" hidden="1">
              <a:extLst>
                <a:ext uri="{FF2B5EF4-FFF2-40B4-BE49-F238E27FC236}">
                  <a16:creationId xmlns:a16="http://schemas.microsoft.com/office/drawing/2014/main" id="{E2A0197B-733D-410D-B01D-DDD760DF7495}"/>
                </a:ext>
              </a:extLst>
            </p:cNvPr>
            <p:cNvGrpSpPr>
              <a:grpSpLocks noChangeAspect="1"/>
            </p:cNvGrpSpPr>
            <p:nvPr>
              <p:custDataLst>
                <p:tags r:id="rId33"/>
              </p:custDataLst>
            </p:nvPr>
          </p:nvGrpSpPr>
          <p:grpSpPr>
            <a:xfrm>
              <a:off x="7716535" y="3382210"/>
              <a:ext cx="228600" cy="228600"/>
              <a:chOff x="762000" y="1270000"/>
              <a:chExt cx="254000" cy="254000"/>
            </a:xfrm>
          </p:grpSpPr>
          <p:sp>
            <p:nvSpPr>
              <p:cNvPr id="296" name="Oval 295" hidden="1">
                <a:extLst>
                  <a:ext uri="{FF2B5EF4-FFF2-40B4-BE49-F238E27FC236}">
                    <a16:creationId xmlns:a16="http://schemas.microsoft.com/office/drawing/2014/main" id="{649E8EB6-C9C5-4E9E-9C05-B1D8EDB6B19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7" name="Arc 296" hidden="1">
                <a:extLst>
                  <a:ext uri="{FF2B5EF4-FFF2-40B4-BE49-F238E27FC236}">
                    <a16:creationId xmlns:a16="http://schemas.microsoft.com/office/drawing/2014/main" id="{AAE1DE97-E0BF-4406-AFEF-6C7117D6AAC7}"/>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90" name="MoonLegend4" hidden="1">
              <a:extLst>
                <a:ext uri="{FF2B5EF4-FFF2-40B4-BE49-F238E27FC236}">
                  <a16:creationId xmlns:a16="http://schemas.microsoft.com/office/drawing/2014/main" id="{BEB6CE53-1D34-4E66-8BDD-ECFDE74A84EE}"/>
                </a:ext>
              </a:extLst>
            </p:cNvPr>
            <p:cNvGrpSpPr>
              <a:grpSpLocks noChangeAspect="1"/>
            </p:cNvGrpSpPr>
            <p:nvPr>
              <p:custDataLst>
                <p:tags r:id="rId34"/>
              </p:custDataLst>
            </p:nvPr>
          </p:nvGrpSpPr>
          <p:grpSpPr>
            <a:xfrm>
              <a:off x="7716535" y="3758025"/>
              <a:ext cx="228600" cy="228600"/>
              <a:chOff x="762000" y="1270000"/>
              <a:chExt cx="254000" cy="254000"/>
            </a:xfrm>
          </p:grpSpPr>
          <p:sp>
            <p:nvSpPr>
              <p:cNvPr id="294" name="Oval 293" hidden="1">
                <a:extLst>
                  <a:ext uri="{FF2B5EF4-FFF2-40B4-BE49-F238E27FC236}">
                    <a16:creationId xmlns:a16="http://schemas.microsoft.com/office/drawing/2014/main" id="{965D2715-1E91-4592-971C-27582D7A061B}"/>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5" name="Arc 294" hidden="1">
                <a:extLst>
                  <a:ext uri="{FF2B5EF4-FFF2-40B4-BE49-F238E27FC236}">
                    <a16:creationId xmlns:a16="http://schemas.microsoft.com/office/drawing/2014/main" id="{481CAD92-E09F-4C1B-9B6D-2F687FD533CD}"/>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91" name="MoonLegend5" hidden="1">
              <a:extLst>
                <a:ext uri="{FF2B5EF4-FFF2-40B4-BE49-F238E27FC236}">
                  <a16:creationId xmlns:a16="http://schemas.microsoft.com/office/drawing/2014/main" id="{804C7EF3-BFAF-4707-928F-566A253A3018}"/>
                </a:ext>
              </a:extLst>
            </p:cNvPr>
            <p:cNvGrpSpPr>
              <a:grpSpLocks noChangeAspect="1"/>
            </p:cNvGrpSpPr>
            <p:nvPr>
              <p:custDataLst>
                <p:tags r:id="rId35"/>
              </p:custDataLst>
            </p:nvPr>
          </p:nvGrpSpPr>
          <p:grpSpPr>
            <a:xfrm>
              <a:off x="7716535" y="4133841"/>
              <a:ext cx="228600" cy="228600"/>
              <a:chOff x="762000" y="1270000"/>
              <a:chExt cx="254000" cy="254000"/>
            </a:xfrm>
          </p:grpSpPr>
          <p:sp>
            <p:nvSpPr>
              <p:cNvPr id="292" name="Oval 291" hidden="1">
                <a:extLst>
                  <a:ext uri="{FF2B5EF4-FFF2-40B4-BE49-F238E27FC236}">
                    <a16:creationId xmlns:a16="http://schemas.microsoft.com/office/drawing/2014/main" id="{622BBD66-22F8-460F-9571-F71C4E91E42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93" name="Arc 292" hidden="1">
                <a:extLst>
                  <a:ext uri="{FF2B5EF4-FFF2-40B4-BE49-F238E27FC236}">
                    <a16:creationId xmlns:a16="http://schemas.microsoft.com/office/drawing/2014/main" id="{DF00D486-D93E-490C-8284-7412F908BA43}"/>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sp>
        <p:nvSpPr>
          <p:cNvPr id="354" name="Rectangle 353">
            <a:extLst>
              <a:ext uri="{FF2B5EF4-FFF2-40B4-BE49-F238E27FC236}">
                <a16:creationId xmlns:a16="http://schemas.microsoft.com/office/drawing/2014/main" id="{A78DEBBC-318F-492A-AE79-CF65E6B3E15A}"/>
              </a:ext>
            </a:extLst>
          </p:cNvPr>
          <p:cNvSpPr>
            <a:spLocks/>
          </p:cNvSpPr>
          <p:nvPr userDrawn="1"/>
        </p:nvSpPr>
        <p:spPr>
          <a:xfrm>
            <a:off x="0" y="-1"/>
            <a:ext cx="134911" cy="6858001"/>
          </a:xfrm>
          <a:prstGeom prst="rect">
            <a:avLst/>
          </a:prstGeom>
          <a:gradFill>
            <a:gsLst>
              <a:gs pos="50000">
                <a:schemeClr val="accent3"/>
              </a:gs>
              <a:gs pos="0">
                <a:schemeClr val="accent4"/>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55" name="Slide Number Placeholder 3">
            <a:extLst>
              <a:ext uri="{FF2B5EF4-FFF2-40B4-BE49-F238E27FC236}">
                <a16:creationId xmlns:a16="http://schemas.microsoft.com/office/drawing/2014/main" id="{E380777A-5B17-42A8-AA36-26CF98D23C1A}"/>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solidFill>
                  <a:schemeClr val="tx1"/>
                </a:solidFill>
              </a:rPr>
              <a:pPr/>
              <a:t>‹#›</a:t>
            </a:fld>
            <a:endParaRPr lang="en-GB">
              <a:solidFill>
                <a:schemeClr val="tx1"/>
              </a:solidFill>
            </a:endParaRPr>
          </a:p>
        </p:txBody>
      </p:sp>
      <p:grpSp>
        <p:nvGrpSpPr>
          <p:cNvPr id="6" name="Group 5">
            <a:extLst>
              <a:ext uri="{FF2B5EF4-FFF2-40B4-BE49-F238E27FC236}">
                <a16:creationId xmlns:a16="http://schemas.microsoft.com/office/drawing/2014/main" id="{23494B4C-63CC-445E-845D-FDD38732DA56}"/>
              </a:ext>
            </a:extLst>
          </p:cNvPr>
          <p:cNvGrpSpPr/>
          <p:nvPr userDrawn="1"/>
        </p:nvGrpSpPr>
        <p:grpSpPr>
          <a:xfrm>
            <a:off x="10672980" y="57875"/>
            <a:ext cx="1314128" cy="622341"/>
            <a:chOff x="9232351" y="5695297"/>
            <a:chExt cx="1314128" cy="622341"/>
          </a:xfrm>
        </p:grpSpPr>
        <p:pic>
          <p:nvPicPr>
            <p:cNvPr id="359" name="Picture 358">
              <a:extLst>
                <a:ext uri="{FF2B5EF4-FFF2-40B4-BE49-F238E27FC236}">
                  <a16:creationId xmlns:a16="http://schemas.microsoft.com/office/drawing/2014/main" id="{073C53C7-87AC-44D2-8605-0B680F4DFEAF}"/>
                </a:ext>
              </a:extLst>
            </p:cNvPr>
            <p:cNvPicPr>
              <a:picLocks noChangeAspect="1"/>
            </p:cNvPicPr>
            <p:nvPr userDrawn="1"/>
          </p:nvPicPr>
          <p:blipFill rotWithShape="1">
            <a:blip r:embed="rId48" cstate="print">
              <a:extLst>
                <a:ext uri="{BEBA8EAE-BF5A-486C-A8C5-ECC9F3942E4B}">
                  <a14:imgProps xmlns:a14="http://schemas.microsoft.com/office/drawing/2010/main">
                    <a14:imgLayer r:embed="rId49">
                      <a14:imgEffect>
                        <a14:brightnessContrast bright="100000"/>
                      </a14:imgEffect>
                    </a14:imgLayer>
                  </a14:imgProps>
                </a:ext>
                <a:ext uri="{28A0092B-C50C-407E-A947-70E740481C1C}">
                  <a14:useLocalDpi xmlns:a14="http://schemas.microsoft.com/office/drawing/2010/main" val="0"/>
                </a:ext>
              </a:extLst>
            </a:blip>
            <a:srcRect l="34682" b="26090"/>
            <a:stretch/>
          </p:blipFill>
          <p:spPr>
            <a:xfrm>
              <a:off x="9657080" y="5695297"/>
              <a:ext cx="889399" cy="502303"/>
            </a:xfrm>
            <a:prstGeom prst="rect">
              <a:avLst/>
            </a:prstGeom>
          </p:spPr>
        </p:pic>
        <p:pic>
          <p:nvPicPr>
            <p:cNvPr id="360" name="object 7">
              <a:extLst>
                <a:ext uri="{FF2B5EF4-FFF2-40B4-BE49-F238E27FC236}">
                  <a16:creationId xmlns:a16="http://schemas.microsoft.com/office/drawing/2014/main" id="{9471563A-41BC-4233-8BDE-C148D12FCE02}"/>
                </a:ext>
              </a:extLst>
            </p:cNvPr>
            <p:cNvPicPr/>
            <p:nvPr userDrawn="1"/>
          </p:nvPicPr>
          <p:blipFill rotWithShape="1">
            <a:blip r:embed="rId50" cstate="print"/>
            <a:srcRect t="80403" r="52383" b="7412"/>
            <a:stretch/>
          </p:blipFill>
          <p:spPr>
            <a:xfrm>
              <a:off x="9232351" y="6226197"/>
              <a:ext cx="1260690" cy="91441"/>
            </a:xfrm>
            <a:prstGeom prst="rect">
              <a:avLst/>
            </a:prstGeom>
          </p:spPr>
        </p:pic>
        <p:pic>
          <p:nvPicPr>
            <p:cNvPr id="361" name="object 7">
              <a:extLst>
                <a:ext uri="{FF2B5EF4-FFF2-40B4-BE49-F238E27FC236}">
                  <a16:creationId xmlns:a16="http://schemas.microsoft.com/office/drawing/2014/main" id="{1879E729-4C96-450E-8FB2-BE660DB11C12}"/>
                </a:ext>
              </a:extLst>
            </p:cNvPr>
            <p:cNvPicPr/>
            <p:nvPr userDrawn="1"/>
          </p:nvPicPr>
          <p:blipFill rotWithShape="1">
            <a:blip r:embed="rId50" cstate="print"/>
            <a:srcRect t="7514" r="83396" b="19716"/>
            <a:stretch/>
          </p:blipFill>
          <p:spPr>
            <a:xfrm>
              <a:off x="9266848" y="5764571"/>
              <a:ext cx="382911" cy="456621"/>
            </a:xfrm>
            <a:prstGeom prst="rect">
              <a:avLst/>
            </a:prstGeom>
          </p:spPr>
        </p:pic>
      </p:grpSp>
    </p:spTree>
    <p:extLst>
      <p:ext uri="{BB962C8B-B14F-4D97-AF65-F5344CB8AC3E}">
        <p14:creationId xmlns:p14="http://schemas.microsoft.com/office/powerpoint/2010/main" val="1887456280"/>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Lst>
  <p:txStyles>
    <p:titleStyle>
      <a:lvl1pPr algn="l" defTabSz="914400" rtl="0" eaLnBrk="1" latinLnBrk="0" hangingPunct="1">
        <a:lnSpc>
          <a:spcPct val="100000"/>
        </a:lnSpc>
        <a:spcBef>
          <a:spcPct val="0"/>
        </a:spcBef>
        <a:buNone/>
        <a:defRPr lang="en-US" sz="2400" b="0" kern="1200" cap="none"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61">
          <p15:clr>
            <a:srgbClr val="5ACBF0"/>
          </p15:clr>
        </p15:guide>
        <p15:guide id="4" orient="horz" pos="1366">
          <p15:clr>
            <a:srgbClr val="F26B43"/>
          </p15:clr>
        </p15:guide>
        <p15:guide id="5" pos="7329">
          <p15:clr>
            <a:srgbClr val="F26B43"/>
          </p15:clr>
        </p15:guide>
        <p15:guide id="6" pos="358">
          <p15:clr>
            <a:srgbClr val="F26B43"/>
          </p15:clr>
        </p15:guide>
        <p15:guide id="8" orient="horz" pos="4109">
          <p15:clr>
            <a:srgbClr val="F26B43"/>
          </p15:clr>
        </p15:guide>
        <p15:guide id="9" orient="horz" pos="391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731A71F-9642-F932-E323-3E164C8D5068}"/>
              </a:ext>
            </a:extLst>
          </p:cNvPr>
          <p:cNvGraphicFramePr>
            <a:graphicFrameLocks noChangeAspect="1"/>
          </p:cNvGraphicFramePr>
          <p:nvPr userDrawn="1">
            <p:custDataLst>
              <p:tags r:id="rId7"/>
            </p:custDataLst>
            <p:extLst>
              <p:ext uri="{D42A27DB-BD31-4B8C-83A1-F6EECF244321}">
                <p14:modId xmlns:p14="http://schemas.microsoft.com/office/powerpoint/2010/main" val="1263446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3" name="think-cell data - do not delete" hidden="1">
                        <a:extLst>
                          <a:ext uri="{FF2B5EF4-FFF2-40B4-BE49-F238E27FC236}">
                            <a16:creationId xmlns:a16="http://schemas.microsoft.com/office/drawing/2014/main" id="{3731A71F-9642-F932-E323-3E164C8D506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353C5B44-7AB2-E6D8-01A1-5B3D982B93F6}"/>
              </a:ext>
            </a:extLst>
          </p:cNvPr>
          <p:cNvSpPr>
            <a:spLocks noGrp="1"/>
          </p:cNvSpPr>
          <p:nvPr>
            <p:ph type="title"/>
          </p:nvPr>
        </p:nvSpPr>
        <p:spPr>
          <a:xfrm>
            <a:off x="460374" y="338139"/>
            <a:ext cx="11295063" cy="350836"/>
          </a:xfrm>
          <a:prstGeom prst="rect">
            <a:avLst/>
          </a:prstGeom>
        </p:spPr>
        <p:txBody>
          <a:bodyPr vert="horz" lIns="0" tIns="0" rIns="0" bIns="0" rtlCol="0" anchor="ctr">
            <a:noAutofit/>
          </a:bodyPr>
          <a:lstStyle/>
          <a:p>
            <a:r>
              <a:rPr lang="en-GB"/>
              <a:t>Click to edit Master title style</a:t>
            </a:r>
            <a:endParaRPr lang="en-DE"/>
          </a:p>
        </p:txBody>
      </p:sp>
      <p:sp>
        <p:nvSpPr>
          <p:cNvPr id="9" name="Text Placeholder 2">
            <a:extLst>
              <a:ext uri="{FF2B5EF4-FFF2-40B4-BE49-F238E27FC236}">
                <a16:creationId xmlns:a16="http://schemas.microsoft.com/office/drawing/2014/main" id="{64BB79C0-D382-86B0-4B8B-8B3C35A18FD7}"/>
              </a:ext>
            </a:extLst>
          </p:cNvPr>
          <p:cNvSpPr>
            <a:spLocks noGrp="1"/>
          </p:cNvSpPr>
          <p:nvPr>
            <p:ph type="body" idx="1"/>
          </p:nvPr>
        </p:nvSpPr>
        <p:spPr>
          <a:xfrm>
            <a:off x="460375" y="1268413"/>
            <a:ext cx="11295062" cy="1548373"/>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DE"/>
          </a:p>
        </p:txBody>
      </p:sp>
      <p:sp>
        <p:nvSpPr>
          <p:cNvPr id="17" name="CaseCode" hidden="1">
            <a:extLst>
              <a:ext uri="{FF2B5EF4-FFF2-40B4-BE49-F238E27FC236}">
                <a16:creationId xmlns:a16="http://schemas.microsoft.com/office/drawing/2014/main" id="{E48BB9F3-35BC-1832-2F38-D2EDF84E1B28}"/>
              </a:ext>
            </a:extLst>
          </p:cNvPr>
          <p:cNvSpPr txBox="1"/>
          <p:nvPr userDrawn="1">
            <p:custDataLst>
              <p:tags r:id="rId8"/>
            </p:custDataLst>
          </p:nvPr>
        </p:nvSpPr>
        <p:spPr>
          <a:xfrm>
            <a:off x="6335184" y="6519673"/>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IPR Template Breakdown</a:t>
            </a:r>
            <a:br>
              <a:rPr lang="en-US" sz="900" noProof="0">
                <a:solidFill>
                  <a:schemeClr val="tx1"/>
                </a:solidFill>
                <a:latin typeface="Calibri" panose="020F0502020204030204" pitchFamily="34" charset="0"/>
                <a:cs typeface="Calibri" panose="020F0502020204030204" pitchFamily="34" charset="0"/>
              </a:rPr>
            </a:br>
            <a:endParaRPr lang="en-US" sz="900" noProof="0">
              <a:solidFill>
                <a:schemeClr val="tx1"/>
              </a:solidFill>
              <a:latin typeface="Calibri" panose="020F0502020204030204" pitchFamily="34" charset="0"/>
              <a:cs typeface="Calibri" panose="020F0502020204030204" pitchFamily="34" charset="0"/>
            </a:endParaRPr>
          </a:p>
        </p:txBody>
      </p:sp>
      <p:sp>
        <p:nvSpPr>
          <p:cNvPr id="18" name="Copyright" hidden="1">
            <a:extLst>
              <a:ext uri="{FF2B5EF4-FFF2-40B4-BE49-F238E27FC236}">
                <a16:creationId xmlns:a16="http://schemas.microsoft.com/office/drawing/2014/main" id="{C57D4CD4-86F4-FC2D-7C79-267113C3CBFF}"/>
              </a:ext>
            </a:extLst>
          </p:cNvPr>
          <p:cNvSpPr txBox="1"/>
          <p:nvPr userDrawn="1">
            <p:custDataLst>
              <p:tags r:id="rId9"/>
            </p:custDataLst>
          </p:nvPr>
        </p:nvSpPr>
        <p:spPr>
          <a:xfrm>
            <a:off x="457200" y="6515063"/>
            <a:ext cx="5355168" cy="138499"/>
          </a:xfrm>
          <a:prstGeom prst="rect">
            <a:avLst/>
          </a:prstGeom>
          <a:noFill/>
        </p:spPr>
        <p:txBody>
          <a:bodyPr wrap="square" lIns="0" tIns="0" rIns="0" bIns="0" rtlCol="0">
            <a:spAutoFit/>
          </a:bodyPr>
          <a:lstStyle/>
          <a:p>
            <a:pPr marL="0" indent="0">
              <a:spcBef>
                <a:spcPts val="45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Deloitte 2024</a:t>
            </a:r>
          </a:p>
        </p:txBody>
      </p:sp>
      <p:sp>
        <p:nvSpPr>
          <p:cNvPr id="19" name="TextBox 18">
            <a:extLst>
              <a:ext uri="{FF2B5EF4-FFF2-40B4-BE49-F238E27FC236}">
                <a16:creationId xmlns:a16="http://schemas.microsoft.com/office/drawing/2014/main" id="{53B49F42-A6FB-5952-A0E9-40595901EAD7}"/>
              </a:ext>
            </a:extLst>
          </p:cNvPr>
          <p:cNvSpPr txBox="1"/>
          <p:nvPr userDrawn="1"/>
        </p:nvSpPr>
        <p:spPr>
          <a:xfrm>
            <a:off x="11426826" y="6519673"/>
            <a:ext cx="307975" cy="138499"/>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900" noProof="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3380731"/>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Lst>
  <p:hf sldNum="0" hdr="0" ftr="0" dt="0"/>
  <p:txStyles>
    <p:titleStyle>
      <a:lvl1pPr algn="l" defTabSz="914400" rtl="0" eaLnBrk="1" latinLnBrk="0" hangingPunct="1">
        <a:lnSpc>
          <a:spcPct val="100000"/>
        </a:lnSpc>
        <a:spcBef>
          <a:spcPct val="0"/>
        </a:spcBef>
        <a:spcAft>
          <a:spcPts val="600"/>
        </a:spcAft>
        <a:buNone/>
        <a:defRPr sz="2100" b="0" i="0" kern="1200">
          <a:solidFill>
            <a:schemeClr val="tx1"/>
          </a:solidFill>
          <a:latin typeface="Calibri" panose="020F0502020204030204" pitchFamily="34" charset="0"/>
          <a:ea typeface="Open Sans Semibold" panose="020B0606030504020204" pitchFamily="34" charset="0"/>
          <a:cs typeface="Calibri" panose="020F0502020204030204" pitchFamily="34" charset="0"/>
        </a:defRPr>
      </a:lvl1pPr>
    </p:titleStyle>
    <p:bodyStyle>
      <a:lvl1pPr marL="0" marR="0" indent="0" algn="l" defTabSz="914400" rtl="0" eaLnBrk="1" fontAlgn="auto" latinLnBrk="0" hangingPunct="1">
        <a:lnSpc>
          <a:spcPct val="120000"/>
        </a:lnSpc>
        <a:spcBef>
          <a:spcPts val="0"/>
        </a:spcBef>
        <a:spcAft>
          <a:spcPts val="600"/>
        </a:spcAft>
        <a:buClrTx/>
        <a:buSzTx/>
        <a:buFont typeface="Arial" panose="020B0604020202020204" pitchFamily="34" charset="0"/>
        <a:buNone/>
        <a:tabLst/>
        <a:defRPr sz="12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1pPr>
      <a:lvl2pPr marL="685800" indent="-228600" algn="l" defTabSz="914400" rtl="0" eaLnBrk="1" latinLnBrk="0" hangingPunct="1">
        <a:lnSpc>
          <a:spcPct val="120000"/>
        </a:lnSpc>
        <a:spcBef>
          <a:spcPts val="500"/>
        </a:spcBef>
        <a:spcAft>
          <a:spcPts val="600"/>
        </a:spcAft>
        <a:buFont typeface="Arial" panose="020B0604020202020204" pitchFamily="34" charset="0"/>
        <a:buChar char="•"/>
        <a:defRPr sz="11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1143000" indent="-228600" algn="l" defTabSz="914400" rtl="0" eaLnBrk="1" latinLnBrk="0" hangingPunct="1">
        <a:lnSpc>
          <a:spcPct val="120000"/>
        </a:lnSpc>
        <a:spcBef>
          <a:spcPts val="500"/>
        </a:spcBef>
        <a:spcAft>
          <a:spcPts val="600"/>
        </a:spcAft>
        <a:buFont typeface="Arial" panose="020B0604020202020204" pitchFamily="34" charset="0"/>
        <a:buChar char="•"/>
        <a:defRPr sz="1100" b="1"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1600200" indent="-228600" algn="l" defTabSz="914400" rtl="0" eaLnBrk="1" latinLnBrk="0" hangingPunct="1">
        <a:lnSpc>
          <a:spcPct val="120000"/>
        </a:lnSpc>
        <a:spcBef>
          <a:spcPts val="500"/>
        </a:spcBef>
        <a:spcAft>
          <a:spcPts val="600"/>
        </a:spcAft>
        <a:buFont typeface="Arial" panose="020B0604020202020204" pitchFamily="34" charset="0"/>
        <a:buChar char="•"/>
        <a:defRPr sz="10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2057400" indent="-228600" algn="l" defTabSz="914400" rtl="0" eaLnBrk="1" latinLnBrk="0" hangingPunct="1">
        <a:lnSpc>
          <a:spcPct val="120000"/>
        </a:lnSpc>
        <a:spcBef>
          <a:spcPts val="500"/>
        </a:spcBef>
        <a:spcAft>
          <a:spcPts val="600"/>
        </a:spcAft>
        <a:buFont typeface="Arial" panose="020B0604020202020204" pitchFamily="34" charset="0"/>
        <a:buChar char="•"/>
        <a:defRPr sz="1000" b="1"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2">
          <p15:clr>
            <a:srgbClr val="F26B43"/>
          </p15:clr>
        </p15:guide>
        <p15:guide id="3" pos="1309">
          <p15:clr>
            <a:srgbClr val="F26B43"/>
          </p15:clr>
        </p15:guide>
        <p15:guide id="4" pos="2732">
          <p15:clr>
            <a:srgbClr val="F26B43"/>
          </p15:clr>
        </p15:guide>
        <p15:guide id="5" pos="3749">
          <p15:clr>
            <a:srgbClr val="F26B43"/>
          </p15:clr>
        </p15:guide>
        <p15:guide id="6" pos="4959">
          <p15:clr>
            <a:srgbClr val="F26B43"/>
          </p15:clr>
        </p15:guide>
        <p15:guide id="8" pos="6185">
          <p15:clr>
            <a:srgbClr val="F26B43"/>
          </p15:clr>
        </p15:guide>
        <p15:guide id="10" orient="horz" pos="434">
          <p15:clr>
            <a:srgbClr val="F26B43"/>
          </p15:clr>
        </p15:guide>
        <p15:guide id="11" orient="horz" pos="799">
          <p15:clr>
            <a:srgbClr val="F26B43"/>
          </p15:clr>
        </p15:guide>
        <p15:guide id="12" orient="horz" pos="2227">
          <p15:clr>
            <a:srgbClr val="F26B43"/>
          </p15:clr>
        </p15:guide>
        <p15:guide id="13" orient="horz" pos="1061">
          <p15:clr>
            <a:srgbClr val="F26B43"/>
          </p15:clr>
        </p15:guide>
        <p15:guide id="14" orient="horz" pos="4006">
          <p15:clr>
            <a:srgbClr val="F26B43"/>
          </p15:clr>
        </p15:guide>
        <p15:guide id="15" pos="7405">
          <p15:clr>
            <a:srgbClr val="F26B43"/>
          </p15:clr>
        </p15:guide>
        <p15:guide id="16" pos="290">
          <p15:clr>
            <a:srgbClr val="F26B43"/>
          </p15:clr>
        </p15:guide>
        <p15:guide id="17" orient="horz" pos="1452">
          <p15:clr>
            <a:srgbClr val="F26B43"/>
          </p15:clr>
        </p15:guide>
        <p15:guide id="18" pos="1504">
          <p15:clr>
            <a:srgbClr val="F26B43"/>
          </p15:clr>
        </p15:guide>
        <p15:guide id="19" pos="3943">
          <p15:clr>
            <a:srgbClr val="F26B43"/>
          </p15:clr>
        </p15:guide>
        <p15:guide id="20" pos="2538">
          <p15:clr>
            <a:srgbClr val="F26B43"/>
          </p15:clr>
        </p15:guide>
        <p15:guide id="21" pos="5150">
          <p15:clr>
            <a:srgbClr val="F26B43"/>
          </p15:clr>
        </p15:guide>
        <p15:guide id="23" pos="6379">
          <p15:clr>
            <a:srgbClr val="F26B43"/>
          </p15:clr>
        </p15:guide>
        <p15:guide id="24" orient="horz" pos="1823">
          <p15:clr>
            <a:srgbClr val="F26B43"/>
          </p15:clr>
        </p15:guide>
        <p15:guide id="25" orient="horz" pos="21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84802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3" imgH="416" progId="TCLayout.ActiveDocument.1">
                  <p:embed/>
                </p:oleObj>
              </mc:Choice>
              <mc:Fallback>
                <p:oleObj name="think-cell Slide" r:id="rId4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grpSp>
        <p:nvGrpSpPr>
          <p:cNvPr id="172" name="Grid" hidden="1">
            <a:extLst>
              <a:ext uri="{FF2B5EF4-FFF2-40B4-BE49-F238E27FC236}">
                <a16:creationId xmlns:a16="http://schemas.microsoft.com/office/drawing/2014/main" id="{8127232C-A636-4831-B3CC-3C7305E34361}"/>
              </a:ext>
            </a:extLst>
          </p:cNvPr>
          <p:cNvGrpSpPr/>
          <p:nvPr userDrawn="1">
            <p:custDataLst>
              <p:tags r:id="rId25"/>
            </p:custDataLst>
          </p:nvPr>
        </p:nvGrpSpPr>
        <p:grpSpPr>
          <a:xfrm>
            <a:off x="0" y="0"/>
            <a:ext cx="12190476" cy="6858000"/>
            <a:chOff x="0" y="0"/>
            <a:chExt cx="12190476" cy="6858000"/>
          </a:xfrm>
        </p:grpSpPr>
        <p:sp>
          <p:nvSpPr>
            <p:cNvPr id="173" name="slide margin">
              <a:extLst>
                <a:ext uri="{FF2B5EF4-FFF2-40B4-BE49-F238E27FC236}">
                  <a16:creationId xmlns:a16="http://schemas.microsoft.com/office/drawing/2014/main" id="{F6C13CE8-8BF2-490C-B443-B680919A95C6}"/>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a typeface="+mn-ea"/>
                <a:cs typeface="+mn-cs"/>
              </a:endParaRPr>
            </a:p>
          </p:txBody>
        </p:sp>
        <p:cxnSp>
          <p:nvCxnSpPr>
            <p:cNvPr id="174" name="Straight Connector 173">
              <a:extLst>
                <a:ext uri="{FF2B5EF4-FFF2-40B4-BE49-F238E27FC236}">
                  <a16:creationId xmlns:a16="http://schemas.microsoft.com/office/drawing/2014/main" id="{286C968A-A729-4ED3-9031-8688E522050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8FB8EB64-F262-4E4C-802C-61F69B5EE7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73A3FC7F-44CB-4837-B45F-2501CDFFABA2}"/>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F6465305-73A7-4492-A299-E95A455E780D}"/>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DA66BD43-C59A-4178-894B-8963E1AB5530}"/>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6A43B59-9B9E-4D93-8799-EC84B04EFA29}"/>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50964C65-83FE-44A4-BB01-DC02382F631E}"/>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ABFD85CA-77CA-4479-9DB7-265D8C8ACDA9}"/>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7179B45-1733-40EA-819F-663BB7A43EC6}"/>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5487645B-2EFC-47E4-920F-14FD27737A2D}"/>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A8BFDADE-88E5-4360-8C5A-D14E55EE4ECA}"/>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46A3AF05-93D4-4692-9BAC-10DFB5B309AA}"/>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04" name="Freeform: Shape 203">
              <a:extLst>
                <a:ext uri="{FF2B5EF4-FFF2-40B4-BE49-F238E27FC236}">
                  <a16:creationId xmlns:a16="http://schemas.microsoft.com/office/drawing/2014/main" id="{B2DFE191-FA7E-4C81-A6D7-D2A5E704997E}"/>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5" name="Freeform: Shape 204">
              <a:extLst>
                <a:ext uri="{FF2B5EF4-FFF2-40B4-BE49-F238E27FC236}">
                  <a16:creationId xmlns:a16="http://schemas.microsoft.com/office/drawing/2014/main" id="{0ED72461-7D40-4D21-BA91-BA4A9566179D}"/>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6" name="Freeform: Shape 205">
              <a:extLst>
                <a:ext uri="{FF2B5EF4-FFF2-40B4-BE49-F238E27FC236}">
                  <a16:creationId xmlns:a16="http://schemas.microsoft.com/office/drawing/2014/main" id="{8EB3B1A2-B176-4F5C-A515-7E2D526F190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7" name="Freeform: Shape 206">
              <a:extLst>
                <a:ext uri="{FF2B5EF4-FFF2-40B4-BE49-F238E27FC236}">
                  <a16:creationId xmlns:a16="http://schemas.microsoft.com/office/drawing/2014/main" id="{0796186B-D21D-4892-891E-E7D8600E9CE4}"/>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8" name="Freeform: Shape 207">
              <a:extLst>
                <a:ext uri="{FF2B5EF4-FFF2-40B4-BE49-F238E27FC236}">
                  <a16:creationId xmlns:a16="http://schemas.microsoft.com/office/drawing/2014/main" id="{17835B87-E4AE-4ABE-87D3-A56AF44D5E18}"/>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09" name="Freeform: Shape 208">
              <a:extLst>
                <a:ext uri="{FF2B5EF4-FFF2-40B4-BE49-F238E27FC236}">
                  <a16:creationId xmlns:a16="http://schemas.microsoft.com/office/drawing/2014/main" id="{715B58B8-CB9D-410D-A6DA-605991E35278}"/>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0" name="Freeform: Shape 209">
              <a:extLst>
                <a:ext uri="{FF2B5EF4-FFF2-40B4-BE49-F238E27FC236}">
                  <a16:creationId xmlns:a16="http://schemas.microsoft.com/office/drawing/2014/main" id="{77E3B3EC-77A8-4253-AF65-336CB242FB13}"/>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1" name="Freeform: Shape 210">
              <a:extLst>
                <a:ext uri="{FF2B5EF4-FFF2-40B4-BE49-F238E27FC236}">
                  <a16:creationId xmlns:a16="http://schemas.microsoft.com/office/drawing/2014/main" id="{6D5C4748-F5EA-443C-A7E1-1F9B5E56091B}"/>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2" name="Freeform: Shape 211">
              <a:extLst>
                <a:ext uri="{FF2B5EF4-FFF2-40B4-BE49-F238E27FC236}">
                  <a16:creationId xmlns:a16="http://schemas.microsoft.com/office/drawing/2014/main" id="{7C7ED0A1-EB08-4195-8F50-3E7E31EC8A24}"/>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3" name="Freeform: Shape 212">
              <a:extLst>
                <a:ext uri="{FF2B5EF4-FFF2-40B4-BE49-F238E27FC236}">
                  <a16:creationId xmlns:a16="http://schemas.microsoft.com/office/drawing/2014/main" id="{CC81FD8D-45B9-41F9-9490-71CE346BDD1D}"/>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4" name="Freeform: Shape 213">
              <a:extLst>
                <a:ext uri="{FF2B5EF4-FFF2-40B4-BE49-F238E27FC236}">
                  <a16:creationId xmlns:a16="http://schemas.microsoft.com/office/drawing/2014/main" id="{E0609E3C-8AD1-4104-80AE-F6E1E8C8B594}"/>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5" name="Freeform: Shape 214">
              <a:extLst>
                <a:ext uri="{FF2B5EF4-FFF2-40B4-BE49-F238E27FC236}">
                  <a16:creationId xmlns:a16="http://schemas.microsoft.com/office/drawing/2014/main" id="{692329FD-A90A-4470-911E-F0E11F989A54}"/>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6" name="Freeform: Shape 215">
              <a:extLst>
                <a:ext uri="{FF2B5EF4-FFF2-40B4-BE49-F238E27FC236}">
                  <a16:creationId xmlns:a16="http://schemas.microsoft.com/office/drawing/2014/main" id="{82881AD6-0221-419B-BA0D-3E8923B3CEE7}"/>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7" name="Freeform: Shape 216">
              <a:extLst>
                <a:ext uri="{FF2B5EF4-FFF2-40B4-BE49-F238E27FC236}">
                  <a16:creationId xmlns:a16="http://schemas.microsoft.com/office/drawing/2014/main" id="{5010C7A1-E16D-4FF3-B4D7-1BB51EF24A45}"/>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8" name="Freeform: Shape 217">
              <a:extLst>
                <a:ext uri="{FF2B5EF4-FFF2-40B4-BE49-F238E27FC236}">
                  <a16:creationId xmlns:a16="http://schemas.microsoft.com/office/drawing/2014/main" id="{FFC6184B-461B-413B-88CC-66EAB4A73C8C}"/>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19" name="Freeform: Shape 218">
              <a:extLst>
                <a:ext uri="{FF2B5EF4-FFF2-40B4-BE49-F238E27FC236}">
                  <a16:creationId xmlns:a16="http://schemas.microsoft.com/office/drawing/2014/main" id="{413FA4F4-90C3-49EC-A36D-36EC86A84B48}"/>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0" name="Freeform: Shape 219">
              <a:extLst>
                <a:ext uri="{FF2B5EF4-FFF2-40B4-BE49-F238E27FC236}">
                  <a16:creationId xmlns:a16="http://schemas.microsoft.com/office/drawing/2014/main" id="{CD33B22D-2F3E-4364-BD23-00D21C5C578F}"/>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1" name="Freeform: Shape 220">
              <a:extLst>
                <a:ext uri="{FF2B5EF4-FFF2-40B4-BE49-F238E27FC236}">
                  <a16:creationId xmlns:a16="http://schemas.microsoft.com/office/drawing/2014/main" id="{5207FCB5-707E-498B-9205-C37AADB38EDC}"/>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2" name="Freeform: Shape 221">
              <a:extLst>
                <a:ext uri="{FF2B5EF4-FFF2-40B4-BE49-F238E27FC236}">
                  <a16:creationId xmlns:a16="http://schemas.microsoft.com/office/drawing/2014/main" id="{3A7A0485-8670-40B1-86C4-3366492169EB}"/>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3" name="Freeform: Shape 222">
              <a:extLst>
                <a:ext uri="{FF2B5EF4-FFF2-40B4-BE49-F238E27FC236}">
                  <a16:creationId xmlns:a16="http://schemas.microsoft.com/office/drawing/2014/main" id="{261CB912-4CB3-4500-9E2A-C129FCA80D36}"/>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4" name="Freeform: Shape 223">
              <a:extLst>
                <a:ext uri="{FF2B5EF4-FFF2-40B4-BE49-F238E27FC236}">
                  <a16:creationId xmlns:a16="http://schemas.microsoft.com/office/drawing/2014/main" id="{A04B1C24-1C4B-4C8A-A9DB-9957A3382ED6}"/>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5" name="Freeform: Shape 224">
              <a:extLst>
                <a:ext uri="{FF2B5EF4-FFF2-40B4-BE49-F238E27FC236}">
                  <a16:creationId xmlns:a16="http://schemas.microsoft.com/office/drawing/2014/main" id="{C87731C1-FF91-4362-B82C-94C9B1BF6698}"/>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6" name="Freeform: Shape 225">
              <a:extLst>
                <a:ext uri="{FF2B5EF4-FFF2-40B4-BE49-F238E27FC236}">
                  <a16:creationId xmlns:a16="http://schemas.microsoft.com/office/drawing/2014/main" id="{6D314666-4382-4BC3-8D73-C9D50FF79FA0}"/>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7" name="Freeform: Shape 226">
              <a:extLst>
                <a:ext uri="{FF2B5EF4-FFF2-40B4-BE49-F238E27FC236}">
                  <a16:creationId xmlns:a16="http://schemas.microsoft.com/office/drawing/2014/main" id="{8E11606D-7450-4DD6-9B71-0DA64EB57145}"/>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sp>
          <p:nvSpPr>
            <p:cNvPr id="228" name="Freeform: Shape 227">
              <a:extLst>
                <a:ext uri="{FF2B5EF4-FFF2-40B4-BE49-F238E27FC236}">
                  <a16:creationId xmlns:a16="http://schemas.microsoft.com/office/drawing/2014/main" id="{20A28891-9936-4998-81B6-890A915ECA5F}"/>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a typeface="+mn-ea"/>
                <a:cs typeface="+mn-cs"/>
              </a:endParaRPr>
            </a:p>
          </p:txBody>
        </p:sp>
        <p:cxnSp>
          <p:nvCxnSpPr>
            <p:cNvPr id="229" name="Straight Connector 228">
              <a:extLst>
                <a:ext uri="{FF2B5EF4-FFF2-40B4-BE49-F238E27FC236}">
                  <a16:creationId xmlns:a16="http://schemas.microsoft.com/office/drawing/2014/main" id="{0E4BCD21-8C69-433E-B061-CC46EE716727}"/>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97856643-FAC1-4BC4-9366-962E6D94DF5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7093B160-F696-4CC8-B737-95B537CFBF6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E76D123A-BBB1-4983-B401-2F7C0A610961}"/>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F5955724-33A5-4735-9516-2AFCC58314C2}"/>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B3987381-A8A2-426E-A4A4-A63987153DB7}"/>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CD2A33EA-8123-4EF0-99D8-C44FB7AB25D0}"/>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B6EAE035-9E5C-4ED6-9B22-79F978C4105B}"/>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A6EBE8FD-1639-4618-994E-0733BF7577CC}"/>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5C1E54D3-D59E-40F2-AAC7-6E5E3D04EB3A}"/>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81713F21-646A-44EC-9876-FCEB9239421C}"/>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22061FFC-B65A-4FFA-8760-9C23BB20D2A9}"/>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232645BE-2173-464E-AD8E-A8EA6692C9AD}"/>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BDAA8352-7B60-4AB6-A16A-7813F4271904}"/>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5B967BBA-F949-4944-8DEA-28BDD97D94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DCC18A4A-70DE-4176-A023-D5BB53F5F9F8}"/>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D9EB7841-B89F-45D4-A68F-270CE08B0A86}"/>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F7346CEC-93E0-4B54-8399-49B0105566DC}"/>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B60DD8AC-2391-48A1-B4B5-2AE1314528A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4FFF49AB-4BB6-44F7-AD64-E9F12FD631CA}"/>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A1223916-5703-4F77-A092-76370882311F}"/>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F546D487-FA19-4FA6-AB9A-4FF42A07D715}"/>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299C821F-D7DB-4D94-B39B-B78B1313D3C4}"/>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2EB0EB86-7EAD-4720-A9F3-0060654447AB}"/>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C7262E3D-AFC6-4213-A30A-68EF8EC8CE09}"/>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C176EB21-B291-46FD-B93B-A283BA007FEB}"/>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0254E077-88CD-4C3B-81DF-FEBDC7FB9A22}"/>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774D57B9-65C9-4FFF-A6A5-8D6060ADBAE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9E83915A-802B-4A45-8D83-2ED782442BE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7A55BC00-5785-4338-951C-7B63E84B7377}"/>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8181466D-88C2-4CE9-BDC5-C89C5AC45A44}"/>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524ABFBD-A4B6-432D-96C7-88053C9EE75B}"/>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42F5B13D-2C68-47CD-9428-ABB480A6B459}"/>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BC15448D-E91B-4E3C-B734-26670252561B}"/>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49630362-480B-453E-848D-0BED01719C22}"/>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96CF5F11-75A0-43DB-8EA5-48940CCA1E6D}"/>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339157F8-04BF-4E9C-92AD-A65BBBFB7A67}"/>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124222E3-3E52-4532-B909-84B9468441B5}"/>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A31BBCC9-BF5B-4059-B804-C16DD1A939E4}"/>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FDA88862-B3C4-4174-B206-ADDE3DDCC444}"/>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4027F1C7-AC26-4A3F-9D75-4B18B863CFB4}"/>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8CED2B98-396B-4489-A825-DB0BB15B14D6}"/>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1F19FEAB-224D-4730-A6A0-990F0D258051}"/>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E24F0D06-AEB7-413C-BBDA-A4B4124C13CC}"/>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3" name="main body box">
              <a:extLst>
                <a:ext uri="{FF2B5EF4-FFF2-40B4-BE49-F238E27FC236}">
                  <a16:creationId xmlns:a16="http://schemas.microsoft.com/office/drawing/2014/main" id="{5F9E1527-508D-479D-A2CF-D7DD32B95E99}"/>
                </a:ext>
              </a:extLst>
            </p:cNvPr>
            <p:cNvSpPr/>
            <p:nvPr userDrawn="1"/>
          </p:nvSpPr>
          <p:spPr bwMode="invGray">
            <a:xfrm>
              <a:off x="554736" y="2174632"/>
              <a:ext cx="11082528" cy="4043287"/>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a typeface="+mn-ea"/>
                <a:cs typeface="+mn-cs"/>
              </a:endParaRPr>
            </a:p>
          </p:txBody>
        </p:sp>
        <p:cxnSp>
          <p:nvCxnSpPr>
            <p:cNvPr id="356" name="Straight Connector 355">
              <a:extLst>
                <a:ext uri="{FF2B5EF4-FFF2-40B4-BE49-F238E27FC236}">
                  <a16:creationId xmlns:a16="http://schemas.microsoft.com/office/drawing/2014/main" id="{50BCF7EA-626D-42BD-AE40-86F477317B8E}"/>
                </a:ext>
              </a:extLst>
            </p:cNvPr>
            <p:cNvCxnSpPr/>
            <p:nvPr userDrawn="1"/>
          </p:nvCxnSpPr>
          <p:spPr bwMode="invGray">
            <a:xfrm>
              <a:off x="554736" y="2634996"/>
              <a:ext cx="11082528" cy="0"/>
            </a:xfrm>
            <a:prstGeom prst="line">
              <a:avLst/>
            </a:prstGeom>
            <a:noFill/>
            <a:ln w="12700">
              <a:solidFill>
                <a:srgbClr val="19D3C5">
                  <a:alpha val="50000"/>
                </a:srgbClr>
              </a:solidFill>
            </a:ln>
          </p:spPr>
        </p:cxnSp>
        <p:cxnSp>
          <p:nvCxnSpPr>
            <p:cNvPr id="357" name="Straight Connector 356">
              <a:extLst>
                <a:ext uri="{FF2B5EF4-FFF2-40B4-BE49-F238E27FC236}">
                  <a16:creationId xmlns:a16="http://schemas.microsoft.com/office/drawing/2014/main" id="{A121F431-5A72-4FC6-9C68-E17967286E25}"/>
                </a:ext>
              </a:extLst>
            </p:cNvPr>
            <p:cNvCxnSpPr/>
            <p:nvPr userDrawn="1"/>
          </p:nvCxnSpPr>
          <p:spPr bwMode="invGray">
            <a:xfrm>
              <a:off x="554736" y="2168653"/>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65988"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65988" y="591463"/>
            <a:ext cx="9707882"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p>
            <a:pPr lvl="0"/>
            <a:r>
              <a:rPr lang="en-US"/>
              <a:t>Click to edit Master title style</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9"/>
            </p:custDataLst>
          </p:nvPr>
        </p:nvSpPr>
        <p:spPr>
          <a:xfrm>
            <a:off x="5987738" y="218096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baseline="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65988" y="2180960"/>
            <a:ext cx="4341192"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5" name="Sticker" hidden="1">
            <a:extLst>
              <a:ext uri="{FF2B5EF4-FFF2-40B4-BE49-F238E27FC236}">
                <a16:creationId xmlns:a16="http://schemas.microsoft.com/office/drawing/2014/main" id="{97ED2832-F2D3-4BBC-B741-D13502E9DAA9}"/>
              </a:ext>
            </a:extLst>
          </p:cNvPr>
          <p:cNvSpPr txBox="1"/>
          <p:nvPr userDrawn="1"/>
        </p:nvSpPr>
        <p:spPr>
          <a:xfrm>
            <a:off x="565988" y="1768639"/>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grpSp>
        <p:nvGrpSpPr>
          <p:cNvPr id="148" name="LegendLines" hidden="1">
            <a:extLst>
              <a:ext uri="{FF2B5EF4-FFF2-40B4-BE49-F238E27FC236}">
                <a16:creationId xmlns:a16="http://schemas.microsoft.com/office/drawing/2014/main" id="{FB39BD02-6461-41DA-8F10-CD42ED2093D4}"/>
              </a:ext>
            </a:extLst>
          </p:cNvPr>
          <p:cNvGrpSpPr/>
          <p:nvPr userDrawn="1"/>
        </p:nvGrpSpPr>
        <p:grpSpPr>
          <a:xfrm>
            <a:off x="10317304" y="2923598"/>
            <a:ext cx="1251160" cy="958286"/>
            <a:chOff x="10162879" y="3243772"/>
            <a:chExt cx="1251160" cy="958286"/>
          </a:xfrm>
        </p:grpSpPr>
        <p:sp>
          <p:nvSpPr>
            <p:cNvPr id="149" name="Legend1">
              <a:extLst>
                <a:ext uri="{FF2B5EF4-FFF2-40B4-BE49-F238E27FC236}">
                  <a16:creationId xmlns:a16="http://schemas.microsoft.com/office/drawing/2014/main" id="{83F28FCD-9331-4741-9682-170D103C5445}"/>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0" name="Legend2">
              <a:extLst>
                <a:ext uri="{FF2B5EF4-FFF2-40B4-BE49-F238E27FC236}">
                  <a16:creationId xmlns:a16="http://schemas.microsoft.com/office/drawing/2014/main" id="{5A658585-271E-4F17-AE2D-441117F7E7DF}"/>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1" name="Legend3">
              <a:extLst>
                <a:ext uri="{FF2B5EF4-FFF2-40B4-BE49-F238E27FC236}">
                  <a16:creationId xmlns:a16="http://schemas.microsoft.com/office/drawing/2014/main" id="{C5CDD6C9-3B7B-47AF-A1C7-9EBF3BBC3A15}"/>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ineLegend3">
              <a:extLst>
                <a:ext uri="{FF2B5EF4-FFF2-40B4-BE49-F238E27FC236}">
                  <a16:creationId xmlns:a16="http://schemas.microsoft.com/office/drawing/2014/main" id="{04C38EAD-9B3E-4DCA-98EE-4D36FF5E641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3" name="LineLegend2">
              <a:extLst>
                <a:ext uri="{FF2B5EF4-FFF2-40B4-BE49-F238E27FC236}">
                  <a16:creationId xmlns:a16="http://schemas.microsoft.com/office/drawing/2014/main" id="{860A959A-FD71-4B3F-A01A-F6783B934A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54" name="LineLegend1">
              <a:extLst>
                <a:ext uri="{FF2B5EF4-FFF2-40B4-BE49-F238E27FC236}">
                  <a16:creationId xmlns:a16="http://schemas.microsoft.com/office/drawing/2014/main" id="{26D5A23B-72A2-4CCB-A758-75F4C5CFCD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55" name="LegendMoons" hidden="1">
            <a:extLst>
              <a:ext uri="{FF2B5EF4-FFF2-40B4-BE49-F238E27FC236}">
                <a16:creationId xmlns:a16="http://schemas.microsoft.com/office/drawing/2014/main" id="{E4A5CCA6-AE0D-4E8E-9A78-B65C38E912A3}"/>
              </a:ext>
            </a:extLst>
          </p:cNvPr>
          <p:cNvGrpSpPr/>
          <p:nvPr userDrawn="1"/>
        </p:nvGrpSpPr>
        <p:grpSpPr>
          <a:xfrm>
            <a:off x="10688315" y="1066205"/>
            <a:ext cx="880149" cy="1731859"/>
            <a:chOff x="7723680" y="1702457"/>
            <a:chExt cx="880149" cy="1731859"/>
          </a:xfrm>
        </p:grpSpPr>
        <p:sp>
          <p:nvSpPr>
            <p:cNvPr id="156" name="Legend1">
              <a:extLst>
                <a:ext uri="{FF2B5EF4-FFF2-40B4-BE49-F238E27FC236}">
                  <a16:creationId xmlns:a16="http://schemas.microsoft.com/office/drawing/2014/main" id="{D4D54DE9-BCE8-4C5F-A55A-29B1C025A474}"/>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7" name="Legend2">
              <a:extLst>
                <a:ext uri="{FF2B5EF4-FFF2-40B4-BE49-F238E27FC236}">
                  <a16:creationId xmlns:a16="http://schemas.microsoft.com/office/drawing/2014/main" id="{B3DAD1AC-D27C-4EEC-A409-37517BEB9DEB}"/>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8" name="Legend3">
              <a:extLst>
                <a:ext uri="{FF2B5EF4-FFF2-40B4-BE49-F238E27FC236}">
                  <a16:creationId xmlns:a16="http://schemas.microsoft.com/office/drawing/2014/main" id="{2414903C-B9B4-487E-AC1B-938D40A10B59}"/>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4">
              <a:extLst>
                <a:ext uri="{FF2B5EF4-FFF2-40B4-BE49-F238E27FC236}">
                  <a16:creationId xmlns:a16="http://schemas.microsoft.com/office/drawing/2014/main" id="{85A55130-7571-46A0-9BC4-E3E743C15632}"/>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5">
              <a:extLst>
                <a:ext uri="{FF2B5EF4-FFF2-40B4-BE49-F238E27FC236}">
                  <a16:creationId xmlns:a16="http://schemas.microsoft.com/office/drawing/2014/main" id="{610C60BD-B77A-43F8-9348-4E41FC87DA91}"/>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1" name="MoonLegend1">
              <a:extLst>
                <a:ext uri="{FF2B5EF4-FFF2-40B4-BE49-F238E27FC236}">
                  <a16:creationId xmlns:a16="http://schemas.microsoft.com/office/drawing/2014/main" id="{ECFF27DF-7790-4E33-AC30-E9C292F77026}"/>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84" name="Oval 183">
                <a:extLst>
                  <a:ext uri="{FF2B5EF4-FFF2-40B4-BE49-F238E27FC236}">
                    <a16:creationId xmlns:a16="http://schemas.microsoft.com/office/drawing/2014/main" id="{EC269A2E-8DAA-401A-9343-ADF3865141F4}"/>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5" name="Arc 184">
                <a:extLst>
                  <a:ext uri="{FF2B5EF4-FFF2-40B4-BE49-F238E27FC236}">
                    <a16:creationId xmlns:a16="http://schemas.microsoft.com/office/drawing/2014/main" id="{98F22496-0D85-4EDE-8B5E-A12A3FB8A170}"/>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2" name="MoonLegend2">
              <a:extLst>
                <a:ext uri="{FF2B5EF4-FFF2-40B4-BE49-F238E27FC236}">
                  <a16:creationId xmlns:a16="http://schemas.microsoft.com/office/drawing/2014/main" id="{951BBF62-21BE-4D0F-A560-5C8697447BF6}"/>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82" name="Oval 181">
                <a:extLst>
                  <a:ext uri="{FF2B5EF4-FFF2-40B4-BE49-F238E27FC236}">
                    <a16:creationId xmlns:a16="http://schemas.microsoft.com/office/drawing/2014/main" id="{8036F63F-BADF-4A32-ACE7-92A9B736958C}"/>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3" name="Arc 182">
                <a:extLst>
                  <a:ext uri="{FF2B5EF4-FFF2-40B4-BE49-F238E27FC236}">
                    <a16:creationId xmlns:a16="http://schemas.microsoft.com/office/drawing/2014/main" id="{8F35FCDF-D89D-47B6-9702-03BEC4E4AD0E}"/>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3" name="MoonLegend3">
              <a:extLst>
                <a:ext uri="{FF2B5EF4-FFF2-40B4-BE49-F238E27FC236}">
                  <a16:creationId xmlns:a16="http://schemas.microsoft.com/office/drawing/2014/main" id="{1CB0833C-1A8F-423B-B944-C0471443B713}"/>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80" name="Oval 179">
                <a:extLst>
                  <a:ext uri="{FF2B5EF4-FFF2-40B4-BE49-F238E27FC236}">
                    <a16:creationId xmlns:a16="http://schemas.microsoft.com/office/drawing/2014/main" id="{CD0DE725-B8CF-4A29-9DEE-32DE00DBD200}"/>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81" name="Arc 180">
                <a:extLst>
                  <a:ext uri="{FF2B5EF4-FFF2-40B4-BE49-F238E27FC236}">
                    <a16:creationId xmlns:a16="http://schemas.microsoft.com/office/drawing/2014/main" id="{893C8781-4B27-47B9-9516-BD673B967500}"/>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4">
              <a:extLst>
                <a:ext uri="{FF2B5EF4-FFF2-40B4-BE49-F238E27FC236}">
                  <a16:creationId xmlns:a16="http://schemas.microsoft.com/office/drawing/2014/main" id="{4FD7E85F-1812-4274-B65E-DEA4699D4924}"/>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68" name="Oval 167">
                <a:extLst>
                  <a:ext uri="{FF2B5EF4-FFF2-40B4-BE49-F238E27FC236}">
                    <a16:creationId xmlns:a16="http://schemas.microsoft.com/office/drawing/2014/main" id="{C5A8DD90-140E-47E7-84AE-52123E5A6088}"/>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79" name="Arc 178">
                <a:extLst>
                  <a:ext uri="{FF2B5EF4-FFF2-40B4-BE49-F238E27FC236}">
                    <a16:creationId xmlns:a16="http://schemas.microsoft.com/office/drawing/2014/main" id="{0F8FBC1B-EB3B-4E13-BDDB-C1E5D3BF371A}"/>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5">
              <a:extLst>
                <a:ext uri="{FF2B5EF4-FFF2-40B4-BE49-F238E27FC236}">
                  <a16:creationId xmlns:a16="http://schemas.microsoft.com/office/drawing/2014/main" id="{C512309C-75EB-45FF-9040-713241662282}"/>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66" name="Oval 165">
                <a:extLst>
                  <a:ext uri="{FF2B5EF4-FFF2-40B4-BE49-F238E27FC236}">
                    <a16:creationId xmlns:a16="http://schemas.microsoft.com/office/drawing/2014/main" id="{BA1A3805-7BC6-4EF8-852B-93B4906D237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67" name="Arc 166">
                <a:extLst>
                  <a:ext uri="{FF2B5EF4-FFF2-40B4-BE49-F238E27FC236}">
                    <a16:creationId xmlns:a16="http://schemas.microsoft.com/office/drawing/2014/main" id="{1E3515CC-743D-4EDE-82AA-3BAD3E8CB298}"/>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7" name="LegendBoxes" hidden="1">
            <a:extLst>
              <a:ext uri="{FF2B5EF4-FFF2-40B4-BE49-F238E27FC236}">
                <a16:creationId xmlns:a16="http://schemas.microsoft.com/office/drawing/2014/main" id="{73C855BB-1D6B-447E-B9D4-B1DEDA8F35F6}"/>
              </a:ext>
            </a:extLst>
          </p:cNvPr>
          <p:cNvGrpSpPr/>
          <p:nvPr userDrawn="1"/>
        </p:nvGrpSpPr>
        <p:grpSpPr>
          <a:xfrm>
            <a:off x="10714801" y="4007417"/>
            <a:ext cx="853663" cy="1717282"/>
            <a:chOff x="10652400" y="4322824"/>
            <a:chExt cx="853663" cy="1717282"/>
          </a:xfrm>
        </p:grpSpPr>
        <p:sp>
          <p:nvSpPr>
            <p:cNvPr id="188" name="RectangleLegend1">
              <a:extLst>
                <a:ext uri="{FF2B5EF4-FFF2-40B4-BE49-F238E27FC236}">
                  <a16:creationId xmlns:a16="http://schemas.microsoft.com/office/drawing/2014/main" id="{03036601-F2C4-4BEE-99E9-9AA5682583C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89" name="RectangleLegend2">
              <a:extLst>
                <a:ext uri="{FF2B5EF4-FFF2-40B4-BE49-F238E27FC236}">
                  <a16:creationId xmlns:a16="http://schemas.microsoft.com/office/drawing/2014/main" id="{74766F02-ED05-40A8-8C12-559A1F5E0D8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0" name="RectangleLegend3">
              <a:extLst>
                <a:ext uri="{FF2B5EF4-FFF2-40B4-BE49-F238E27FC236}">
                  <a16:creationId xmlns:a16="http://schemas.microsoft.com/office/drawing/2014/main" id="{8A9F8682-E4F0-462F-B1DB-0B0C641AC25F}"/>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1" name="RectangleLegend4">
              <a:extLst>
                <a:ext uri="{FF2B5EF4-FFF2-40B4-BE49-F238E27FC236}">
                  <a16:creationId xmlns:a16="http://schemas.microsoft.com/office/drawing/2014/main" id="{F5CF156B-3943-477C-9CC5-85C55122FD12}"/>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2" name="RectangleLegend5">
              <a:extLst>
                <a:ext uri="{FF2B5EF4-FFF2-40B4-BE49-F238E27FC236}">
                  <a16:creationId xmlns:a16="http://schemas.microsoft.com/office/drawing/2014/main" id="{982D5730-2414-45C7-88AA-0DD738615685}"/>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93" name="Legend1">
              <a:extLst>
                <a:ext uri="{FF2B5EF4-FFF2-40B4-BE49-F238E27FC236}">
                  <a16:creationId xmlns:a16="http://schemas.microsoft.com/office/drawing/2014/main" id="{C258AFFB-13FB-4F80-BB77-1A25510CEA9C}"/>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712007E0-3BCA-43EE-AF31-9154650082DA}"/>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3E401500-3BC2-4D02-B3D9-8B44D94EE945}"/>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DA8BD0B4-5C90-4A44-AA77-06DE7803231D}"/>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7F8D02B2-B99A-43A0-A1C2-0D055120F47C}"/>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37" name="Picture 136">
            <a:extLst>
              <a:ext uri="{FF2B5EF4-FFF2-40B4-BE49-F238E27FC236}">
                <a16:creationId xmlns:a16="http://schemas.microsoft.com/office/drawing/2014/main" id="{9710DFD3-0857-43FB-BFD1-34518EC3C2E2}"/>
              </a:ext>
            </a:extLst>
          </p:cNvPr>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bwMode="ltGray">
          <a:xfrm>
            <a:off x="10672980" y="57875"/>
            <a:ext cx="1361639" cy="679619"/>
          </a:xfrm>
          <a:prstGeom prst="rect">
            <a:avLst/>
          </a:prstGeom>
        </p:spPr>
      </p:pic>
      <p:sp>
        <p:nvSpPr>
          <p:cNvPr id="144" name="Slide Number Placeholder 3">
            <a:extLst>
              <a:ext uri="{FF2B5EF4-FFF2-40B4-BE49-F238E27FC236}">
                <a16:creationId xmlns:a16="http://schemas.microsoft.com/office/drawing/2014/main" id="{215B37E6-6AAE-4CEB-AF79-F7A29912BCD4}"/>
              </a:ext>
            </a:extLst>
          </p:cNvPr>
          <p:cNvSpPr txBox="1">
            <a:spLocks/>
          </p:cNvSpPr>
          <p:nvPr userDrawn="1"/>
        </p:nvSpPr>
        <p:spPr>
          <a:xfrm>
            <a:off x="11494298" y="6465387"/>
            <a:ext cx="364202" cy="276999"/>
          </a:xfrm>
          <a:prstGeom prst="rect">
            <a:avLst/>
          </a:prstGeom>
        </p:spPr>
        <p:txBody>
          <a:bodyPr wrap="none">
            <a:spAutoFit/>
          </a:bodyPr>
          <a:lstStyle>
            <a:defPPr>
              <a:defRPr lang="en-US"/>
            </a:defPPr>
            <a:lvl1pPr marL="0" algn="ctr" defTabSz="914400" rtl="0" eaLnBrk="1" latinLnBrk="0" hangingPunct="1">
              <a:defRPr sz="1200" kern="120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B1F6D6-261D-4B93-908D-DB25C66B7E54}" type="slidenum">
              <a:rPr lang="en-GB" smtClean="0"/>
              <a:pPr/>
              <a:t>‹#›</a:t>
            </a:fld>
            <a:endParaRPr lang="en-GB"/>
          </a:p>
        </p:txBody>
      </p:sp>
      <p:cxnSp>
        <p:nvCxnSpPr>
          <p:cNvPr id="139" name="Straight Connector 138">
            <a:extLst>
              <a:ext uri="{FF2B5EF4-FFF2-40B4-BE49-F238E27FC236}">
                <a16:creationId xmlns:a16="http://schemas.microsoft.com/office/drawing/2014/main" id="{5074BF57-BA7F-4254-8D9F-E14F95ACA9FF}"/>
              </a:ext>
            </a:extLst>
          </p:cNvPr>
          <p:cNvCxnSpPr>
            <a:cxnSpLocks/>
          </p:cNvCxnSpPr>
          <p:nvPr userDrawn="1"/>
        </p:nvCxnSpPr>
        <p:spPr bwMode="auto">
          <a:xfrm>
            <a:off x="565988" y="1373967"/>
            <a:ext cx="2573956" cy="0"/>
          </a:xfrm>
          <a:prstGeom prst="line">
            <a:avLst/>
          </a:prstGeom>
          <a:solidFill>
            <a:schemeClr val="accent1"/>
          </a:solidFill>
          <a:ln w="28575" cap="rnd" cmpd="sng" algn="ctr">
            <a:solidFill>
              <a:schemeClr val="accent4"/>
            </a:solidFill>
            <a:prstDash val="sysDot"/>
            <a:round/>
            <a:headEnd type="none" w="med" len="med"/>
            <a:tailEnd type="none" w="med" len="med"/>
          </a:ln>
          <a:effectLst/>
        </p:spPr>
      </p:cxnSp>
      <p:sp>
        <p:nvSpPr>
          <p:cNvPr id="4" name="Rectangle 3">
            <a:extLst>
              <a:ext uri="{FF2B5EF4-FFF2-40B4-BE49-F238E27FC236}">
                <a16:creationId xmlns:a16="http://schemas.microsoft.com/office/drawing/2014/main" id="{2244AACA-1EC6-2384-11D0-99C671D52820}"/>
              </a:ext>
            </a:extLst>
          </p:cNvPr>
          <p:cNvSpPr/>
          <p:nvPr userDrawn="1"/>
        </p:nvSpPr>
        <p:spPr>
          <a:xfrm>
            <a:off x="0" y="1"/>
            <a:ext cx="268112" cy="6858000"/>
          </a:xfrm>
          <a:prstGeom prst="rect">
            <a:avLst/>
          </a:prstGeom>
          <a:gradFill flip="none" rotWithShape="1">
            <a:gsLst>
              <a:gs pos="0">
                <a:srgbClr val="007CB0"/>
              </a:gs>
              <a:gs pos="100000">
                <a:schemeClr val="accent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11868"/>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6" r:id="rId18"/>
    <p:sldLayoutId id="2147484067" r:id="rId19"/>
    <p:sldLayoutId id="2147484068" r:id="rId20"/>
    <p:sldLayoutId id="2147484069" r:id="rId21"/>
    <p:sldLayoutId id="2147484070" r:id="rId22"/>
  </p:sldLayoutIdLst>
  <p:txStyles>
    <p:titleStyle>
      <a:lvl1pPr algn="l" defTabSz="914400" rtl="0" eaLnBrk="1" latinLnBrk="0" hangingPunct="1">
        <a:lnSpc>
          <a:spcPct val="100000"/>
        </a:lnSpc>
        <a:spcBef>
          <a:spcPct val="0"/>
        </a:spcBef>
        <a:buNone/>
        <a:defRPr lang="en-US" sz="2400" b="0" kern="1200" cap="all"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61">
          <p15:clr>
            <a:srgbClr val="5ACBF0"/>
          </p15:clr>
        </p15:guide>
        <p15:guide id="4" orient="horz" pos="1366">
          <p15:clr>
            <a:srgbClr val="F26B43"/>
          </p15:clr>
        </p15:guide>
        <p15:guide id="5" pos="7342">
          <p15:clr>
            <a:srgbClr val="F26B43"/>
          </p15:clr>
        </p15:guide>
        <p15:guide id="6" pos="352">
          <p15:clr>
            <a:srgbClr val="F26B43"/>
          </p15:clr>
        </p15:guide>
        <p15:guide id="8" orient="horz" pos="4122">
          <p15:clr>
            <a:srgbClr val="F26B43"/>
          </p15:clr>
        </p15:guide>
        <p15:guide id="9" orient="horz" pos="391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9.xml"/><Relationship Id="rId1" Type="http://schemas.openxmlformats.org/officeDocument/2006/relationships/tags" Target="../tags/tag376.xml"/><Relationship Id="rId5" Type="http://schemas.openxmlformats.org/officeDocument/2006/relationships/image" Target="../media/image10.emf"/><Relationship Id="rId4" Type="http://schemas.openxmlformats.org/officeDocument/2006/relationships/oleObject" Target="../embeddings/oleObject71.bin"/></Relationships>
</file>

<file path=ppt/slides/_rels/slide10.xml.rels><?xml version="1.0" encoding="UTF-8" standalone="yes"?>
<Relationships xmlns="http://schemas.openxmlformats.org/package/2006/relationships"><Relationship Id="rId8" Type="http://schemas.openxmlformats.org/officeDocument/2006/relationships/tags" Target="../tags/tag472.xml"/><Relationship Id="rId13" Type="http://schemas.openxmlformats.org/officeDocument/2006/relationships/oleObject" Target="../embeddings/oleObject79.bin"/><Relationship Id="rId18" Type="http://schemas.openxmlformats.org/officeDocument/2006/relationships/hyperlink" Target="https://www.reuters.com/business/energy/g7-vietnam-reach-155-bln-climate-deal-cut-coal-use-sources-2022-12-14/" TargetMode="External"/><Relationship Id="rId26" Type="http://schemas.openxmlformats.org/officeDocument/2006/relationships/image" Target="../media/image30.png"/><Relationship Id="rId3" Type="http://schemas.openxmlformats.org/officeDocument/2006/relationships/tags" Target="../tags/tag467.xml"/><Relationship Id="rId21" Type="http://schemas.openxmlformats.org/officeDocument/2006/relationships/image" Target="../media/image27.png"/><Relationship Id="rId7" Type="http://schemas.openxmlformats.org/officeDocument/2006/relationships/tags" Target="../tags/tag471.xml"/><Relationship Id="rId12" Type="http://schemas.openxmlformats.org/officeDocument/2006/relationships/slideLayout" Target="../slideLayouts/slideLayout6.xml"/><Relationship Id="rId17" Type="http://schemas.openxmlformats.org/officeDocument/2006/relationships/hyperlink" Target="https://baochinhphu.vn/tung-buoc-hinh-thanh-he-sinh-thai-cong-nghiep-nang-luong-tai-tao-102230504182651622.htm" TargetMode="External"/><Relationship Id="rId25" Type="http://schemas.openxmlformats.org/officeDocument/2006/relationships/image" Target="../media/image29.png"/><Relationship Id="rId2" Type="http://schemas.openxmlformats.org/officeDocument/2006/relationships/tags" Target="../tags/tag466.xml"/><Relationship Id="rId16" Type="http://schemas.openxmlformats.org/officeDocument/2006/relationships/hyperlink" Target="https://www.argusmedia.com/en/news-and-insights/latest-market-news/2527281-s-africa-eyes-slower-coal-phase-out" TargetMode="External"/><Relationship Id="rId20" Type="http://schemas.openxmlformats.org/officeDocument/2006/relationships/hyperlink" Target="https://www.iea.org/countries/nigeria" TargetMode="Externa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image" Target="../media/image32.png"/><Relationship Id="rId5" Type="http://schemas.openxmlformats.org/officeDocument/2006/relationships/tags" Target="../tags/tag469.xml"/><Relationship Id="rId15" Type="http://schemas.openxmlformats.org/officeDocument/2006/relationships/hyperlink" Target="https://ec.europa.eu/commission/presscorner/detail/cs/ip_21_5768" TargetMode="External"/><Relationship Id="rId23" Type="http://schemas.openxmlformats.org/officeDocument/2006/relationships/image" Target="../media/image28.png"/><Relationship Id="rId10" Type="http://schemas.openxmlformats.org/officeDocument/2006/relationships/tags" Target="../tags/tag474.xml"/><Relationship Id="rId19" Type="http://schemas.openxmlformats.org/officeDocument/2006/relationships/hyperlink" Target="https://carboncredits.com/indonesias-bold-push-to-net-zero-shutting-down-all-coal-plants-in-15-years/" TargetMode="External"/><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image" Target="../media/image11.emf"/><Relationship Id="rId22" Type="http://schemas.openxmlformats.org/officeDocument/2006/relationships/image" Target="../media/image31.png"/><Relationship Id="rId27"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tags" Target="../tags/tag483.xml"/><Relationship Id="rId13" Type="http://schemas.openxmlformats.org/officeDocument/2006/relationships/image" Target="../media/image11.emf"/><Relationship Id="rId18" Type="http://schemas.openxmlformats.org/officeDocument/2006/relationships/hyperlink" Target="https://www.nbi.org.za/wp-content/uploads/2023/01/NBI-Financing-South-Africas-Just-Transition-Dec-22.pdf" TargetMode="External"/><Relationship Id="rId26" Type="http://schemas.openxmlformats.org/officeDocument/2006/relationships/hyperlink" Target="https://www.reuters.com/world/europe/german-cabinet-approves-58-bln-eur-green-investments-plan-2024-2023-08-09/" TargetMode="External"/><Relationship Id="rId3" Type="http://schemas.openxmlformats.org/officeDocument/2006/relationships/tags" Target="../tags/tag478.xml"/><Relationship Id="rId21" Type="http://schemas.openxmlformats.org/officeDocument/2006/relationships/hyperlink" Target="https://www.epa.gov/system/files/documents/2023-05/FS-OVERVIEW-GHG-for%20Power%20Plants%20FINAL%20CLEAN.pdf" TargetMode="External"/><Relationship Id="rId34" Type="http://schemas.openxmlformats.org/officeDocument/2006/relationships/image" Target="../media/image14.png"/><Relationship Id="rId7" Type="http://schemas.openxmlformats.org/officeDocument/2006/relationships/tags" Target="../tags/tag482.xml"/><Relationship Id="rId12" Type="http://schemas.openxmlformats.org/officeDocument/2006/relationships/oleObject" Target="../embeddings/oleObject79.bin"/><Relationship Id="rId17" Type="http://schemas.openxmlformats.org/officeDocument/2006/relationships/hyperlink" Target="https://www.power-technology.com/news/eu-11-6bn-french-aid-wind/#:~:text=The%20European%20Commission%20%28EU%29%20has%20given%20the%20green,energy%20and%20transition%20towards%20a%20more%20sustainable%20future." TargetMode="External"/><Relationship Id="rId25" Type="http://schemas.openxmlformats.org/officeDocument/2006/relationships/hyperlink" Target="https://www.bundesregierung.de/breg-en/news/amendment-of-the-renewables-act-2060448#:~:text=The%20EEG%202023%20is%20the,least%2080%20percent%20by%202030." TargetMode="External"/><Relationship Id="rId33" Type="http://schemas.openxmlformats.org/officeDocument/2006/relationships/image" Target="../media/image13.png"/><Relationship Id="rId38" Type="http://schemas.openxmlformats.org/officeDocument/2006/relationships/image" Target="../media/image26.png"/><Relationship Id="rId2" Type="http://schemas.openxmlformats.org/officeDocument/2006/relationships/tags" Target="../tags/tag477.xml"/><Relationship Id="rId16" Type="http://schemas.openxmlformats.org/officeDocument/2006/relationships/hyperlink" Target="https://energy.ec.europa.eu/document/download/68bbf2ff-1eda-405c-b754-7e451fb8fdaa_en" TargetMode="External"/><Relationship Id="rId20" Type="http://schemas.openxmlformats.org/officeDocument/2006/relationships/hyperlink" Target="https://www.wri.org/insights/biden-administration-tracking-climate-action-progress" TargetMode="External"/><Relationship Id="rId29" Type="http://schemas.openxmlformats.org/officeDocument/2006/relationships/hyperlink" Target="https://www.reuters.com/business/energy/eu-approves-32-bln-german-hydrogen-pipeline-support-2024-06-21/" TargetMode="External"/><Relationship Id="rId1" Type="http://schemas.openxmlformats.org/officeDocument/2006/relationships/tags" Target="../tags/tag476.xml"/><Relationship Id="rId6" Type="http://schemas.openxmlformats.org/officeDocument/2006/relationships/tags" Target="../tags/tag481.xml"/><Relationship Id="rId11" Type="http://schemas.openxmlformats.org/officeDocument/2006/relationships/slideLayout" Target="../slideLayouts/slideLayout6.xml"/><Relationship Id="rId24" Type="http://schemas.openxmlformats.org/officeDocument/2006/relationships/hyperlink" Target="https://www.energy.gov/articles/biden-harris-administration-announces-awards-22-billion-two-regional-clean-hydrogen-hubs" TargetMode="External"/><Relationship Id="rId32" Type="http://schemas.openxmlformats.org/officeDocument/2006/relationships/hyperlink" Target="https://www.reuters.com/business/energy/italy-inches-towards-reversing-nuclear-energy-ban-2024-09-07/#:~:text=Italy%20plans%20to%20draft%2C%20by%20early%202025%2C%20rules,the%20country%27s%20current%20ban%20on%20nuclear%20power%20production." TargetMode="External"/><Relationship Id="rId37" Type="http://schemas.openxmlformats.org/officeDocument/2006/relationships/image" Target="../media/image24.png"/><Relationship Id="rId5" Type="http://schemas.openxmlformats.org/officeDocument/2006/relationships/tags" Target="../tags/tag480.xml"/><Relationship Id="rId15" Type="http://schemas.openxmlformats.org/officeDocument/2006/relationships/hyperlink" Target="https://www.reuters.com/sustainability/climate-energy/canada-proposes-changes-draft-clean-electricity-regulations-2024-02-16/" TargetMode="External"/><Relationship Id="rId23" Type="http://schemas.openxmlformats.org/officeDocument/2006/relationships/hyperlink" Target="https://www.usnews.com/news/top-news/articles/2024-12-03/biden-pushes-out-over-100-billion-in-clean-energy-grants-as-term-winds-down" TargetMode="External"/><Relationship Id="rId28" Type="http://schemas.openxmlformats.org/officeDocument/2006/relationships/hyperlink" Target="https://www.reuters.com/business/energy/german-government-signs-off-hydrogen-import-strategy-2024-07-24/" TargetMode="External"/><Relationship Id="rId36" Type="http://schemas.openxmlformats.org/officeDocument/2006/relationships/image" Target="../media/image17.png"/><Relationship Id="rId10" Type="http://schemas.openxmlformats.org/officeDocument/2006/relationships/tags" Target="../tags/tag485.xml"/><Relationship Id="rId19" Type="http://schemas.openxmlformats.org/officeDocument/2006/relationships/hyperlink" Target="https://www.gov.za/news/media-statements/president-cyril-ramaphosa-signs-electricity-regulation-amendment-act-law-16" TargetMode="External"/><Relationship Id="rId31" Type="http://schemas.openxmlformats.org/officeDocument/2006/relationships/hyperlink" Target="https://www.reuters.com/business/energy/italy-aims-turn-up-renewable-power-two-thirds-total-by-2030-2023-06-30/#:~:text=Governance-,Italy%20aims%20to%20turn%20up%20renewable%20power,thirds%20of%20total%20by%202030&amp;text=MILAN%2C%20June%2030%20(Reuters),made%20public%20three%20years%20ago." TargetMode="External"/><Relationship Id="rId4" Type="http://schemas.openxmlformats.org/officeDocument/2006/relationships/tags" Target="../tags/tag479.xml"/><Relationship Id="rId9" Type="http://schemas.openxmlformats.org/officeDocument/2006/relationships/tags" Target="../tags/tag484.xml"/><Relationship Id="rId14" Type="http://schemas.openxmlformats.org/officeDocument/2006/relationships/hyperlink" Target="https://www.canada.ca/en/environment-climate-change/services/canadian-environmental-protection-act-registry/achieving-net-zero-emissions-electricity-generation-discussion-paper.html" TargetMode="External"/><Relationship Id="rId22" Type="http://schemas.openxmlformats.org/officeDocument/2006/relationships/hyperlink" Target="https://www.energy.gov/articles/biden-harris-administration-invests-22-billion-nations-grid-protect-against-extreme" TargetMode="External"/><Relationship Id="rId27" Type="http://schemas.openxmlformats.org/officeDocument/2006/relationships/hyperlink" Target="https://www.cleanenergywire.org/factsheets/germany-draft-climate-action-programme-2023" TargetMode="External"/><Relationship Id="rId30" Type="http://schemas.openxmlformats.org/officeDocument/2006/relationships/hyperlink" Target="https://decode39.com/6682/italy-shifts-towards-embracing-nuclear-power/#:~:text=Italy%20looks%20to%20go%20nuclear%20once%20again.&amp;text=The%20text%20commits%20the%20government,%E2%80%9Caccelerate%20Italy's%20decarbonisation%20process.%E2%80%9D" TargetMode="External"/><Relationship Id="rId35" Type="http://schemas.openxmlformats.org/officeDocument/2006/relationships/image" Target="../media/image15.png"/></Relationships>
</file>

<file path=ppt/slides/_rels/slide12.xml.rels><?xml version="1.0" encoding="UTF-8" standalone="yes"?>
<Relationships xmlns="http://schemas.openxmlformats.org/package/2006/relationships"><Relationship Id="rId8" Type="http://schemas.openxmlformats.org/officeDocument/2006/relationships/tags" Target="../tags/tag493.xml"/><Relationship Id="rId13" Type="http://schemas.openxmlformats.org/officeDocument/2006/relationships/slideLayout" Target="../slideLayouts/slideLayout6.xml"/><Relationship Id="rId18" Type="http://schemas.openxmlformats.org/officeDocument/2006/relationships/hyperlink" Target="https://www.reuters.com/business/energy/japan-energy-security-fears-put-nuclear-back-favour-2040-plan-2024-06-04/" TargetMode="External"/><Relationship Id="rId26" Type="http://schemas.openxmlformats.org/officeDocument/2006/relationships/hyperlink" Target="https://newclimate.org/sites/default/files/2024-09/windsolarbenchmarks_brazil_0.pdf" TargetMode="External"/><Relationship Id="rId39" Type="http://schemas.openxmlformats.org/officeDocument/2006/relationships/image" Target="../media/image12.png"/><Relationship Id="rId3" Type="http://schemas.openxmlformats.org/officeDocument/2006/relationships/tags" Target="../tags/tag488.xml"/><Relationship Id="rId21" Type="http://schemas.openxmlformats.org/officeDocument/2006/relationships/hyperlink" Target="https://www.vietnam-briefing.com/news/vietnam-power-development-plan-approved.html/" TargetMode="External"/><Relationship Id="rId34" Type="http://schemas.openxmlformats.org/officeDocument/2006/relationships/hyperlink" Target="https://bills.parliament.uk/bills/3739" TargetMode="External"/><Relationship Id="rId42" Type="http://schemas.openxmlformats.org/officeDocument/2006/relationships/image" Target="../media/image25.png"/><Relationship Id="rId7" Type="http://schemas.openxmlformats.org/officeDocument/2006/relationships/tags" Target="../tags/tag492.xml"/><Relationship Id="rId12" Type="http://schemas.openxmlformats.org/officeDocument/2006/relationships/tags" Target="../tags/tag497.xml"/><Relationship Id="rId17" Type="http://schemas.openxmlformats.org/officeDocument/2006/relationships/hyperlink" Target="https://www.iea.org/policies/14391-sixth-strategic-energy-plan-2050-carbon-neutral" TargetMode="External"/><Relationship Id="rId25" Type="http://schemas.openxmlformats.org/officeDocument/2006/relationships/hyperlink" Target="https://www.theguardian.com/environment/2024/sep/13/labors-new-renewable-hydrogen-targets-aim-for-australia-to-produce-15m-tonnes-by-2050" TargetMode="External"/><Relationship Id="rId33" Type="http://schemas.openxmlformats.org/officeDocument/2006/relationships/hyperlink" Target="https://bills.parliament.uk/bills/3738" TargetMode="External"/><Relationship Id="rId38" Type="http://schemas.openxmlformats.org/officeDocument/2006/relationships/image" Target="../media/image23.png"/><Relationship Id="rId2" Type="http://schemas.openxmlformats.org/officeDocument/2006/relationships/tags" Target="../tags/tag487.xml"/><Relationship Id="rId16" Type="http://schemas.openxmlformats.org/officeDocument/2006/relationships/hyperlink" Target="https://www.reuters.com/sustainability/climate-energy/japan-targets-40-50-power-supply-renewable-energy-by-2040-2024-12-17/" TargetMode="External"/><Relationship Id="rId20" Type="http://schemas.openxmlformats.org/officeDocument/2006/relationships/hyperlink" Target="https://en.yna.co.kr/view/AEN20240419003300320" TargetMode="External"/><Relationship Id="rId29" Type="http://schemas.openxmlformats.org/officeDocument/2006/relationships/hyperlink" Target="https://www.worldenergy.org/experiences-events/past-events/entry/world-energy-council-brazil-national-energy-transition-policy" TargetMode="External"/><Relationship Id="rId41" Type="http://schemas.openxmlformats.org/officeDocument/2006/relationships/image" Target="../media/image18.png"/><Relationship Id="rId1" Type="http://schemas.openxmlformats.org/officeDocument/2006/relationships/tags" Target="../tags/tag486.xml"/><Relationship Id="rId6" Type="http://schemas.openxmlformats.org/officeDocument/2006/relationships/tags" Target="../tags/tag491.xml"/><Relationship Id="rId11" Type="http://schemas.openxmlformats.org/officeDocument/2006/relationships/tags" Target="../tags/tag496.xml"/><Relationship Id="rId24" Type="http://schemas.openxmlformats.org/officeDocument/2006/relationships/hyperlink" Target="https://www.energy.gov.au/government-priorities/australias-energy-strategies-and-frameworks/powering-australia#:~:text=Australia's%20first%20National%20Electric%20Vehicle,health%20and%20wellbeing%20of%20Australians." TargetMode="External"/><Relationship Id="rId32" Type="http://schemas.openxmlformats.org/officeDocument/2006/relationships/hyperlink" Target="https://www.gov.uk/government/news/plans-unveiled-to-decarbonise-uk-power-system-by-2035" TargetMode="External"/><Relationship Id="rId37" Type="http://schemas.openxmlformats.org/officeDocument/2006/relationships/image" Target="../media/image21.png"/><Relationship Id="rId40" Type="http://schemas.openxmlformats.org/officeDocument/2006/relationships/image" Target="../media/image31.png"/><Relationship Id="rId5" Type="http://schemas.openxmlformats.org/officeDocument/2006/relationships/tags" Target="../tags/tag490.xml"/><Relationship Id="rId15" Type="http://schemas.openxmlformats.org/officeDocument/2006/relationships/image" Target="../media/image11.emf"/><Relationship Id="rId23" Type="http://schemas.openxmlformats.org/officeDocument/2006/relationships/hyperlink" Target="https://dialogue.earth/en/energy/374748-argentina-targets-huge-expansion-of-renewable-energy-by-2030/" TargetMode="External"/><Relationship Id="rId28" Type="http://schemas.openxmlformats.org/officeDocument/2006/relationships/hyperlink" Target="https://www.trade.gov/country-commercial-guides/brazil-oil-and-gas" TargetMode="External"/><Relationship Id="rId36" Type="http://schemas.openxmlformats.org/officeDocument/2006/relationships/image" Target="../media/image20.png"/><Relationship Id="rId10" Type="http://schemas.openxmlformats.org/officeDocument/2006/relationships/tags" Target="../tags/tag495.xml"/><Relationship Id="rId19" Type="http://schemas.openxmlformats.org/officeDocument/2006/relationships/hyperlink" Target="https://energytracker.asia/south-koreas-energy-mix-and-its-10th-basic-energy-plan/#:~:text=The%20country%20needs%20to%20aim,the%20middle%20of%20the%20century." TargetMode="External"/><Relationship Id="rId31" Type="http://schemas.openxmlformats.org/officeDocument/2006/relationships/hyperlink" Target="https://climatecooperation.cn/climate/china-released-the-14th-five-year-plan-for-a-modern-energy-system/" TargetMode="External"/><Relationship Id="rId4" Type="http://schemas.openxmlformats.org/officeDocument/2006/relationships/tags" Target="../tags/tag489.xml"/><Relationship Id="rId9" Type="http://schemas.openxmlformats.org/officeDocument/2006/relationships/tags" Target="../tags/tag494.xml"/><Relationship Id="rId14" Type="http://schemas.openxmlformats.org/officeDocument/2006/relationships/oleObject" Target="../embeddings/oleObject80.bin"/><Relationship Id="rId22" Type="http://schemas.openxmlformats.org/officeDocument/2006/relationships/hyperlink" Target="https://vietnamnews.vn/society/1551768/national-energy-master-plan-for-2021-2030-approved-targeting-15-20-renewables-by-2030.html" TargetMode="External"/><Relationship Id="rId27" Type="http://schemas.openxmlformats.org/officeDocument/2006/relationships/hyperlink" Target="https://www.iea.org/policies/14194-angra-3-nuclear-power-plant-critical-path-acceleration-plan" TargetMode="External"/><Relationship Id="rId30" Type="http://schemas.openxmlformats.org/officeDocument/2006/relationships/hyperlink" Target="https://valorinternational.globo.com/business/news/2024/11/25/brazil-forecasts-r40bn-for-green-hydrogen-development-in-2025.ghtml" TargetMode="External"/><Relationship Id="rId35" Type="http://schemas.openxmlformats.org/officeDocument/2006/relationships/hyperlink" Target="https://assets.publishing.service.gov.uk/media/6697f5c10808eaf43b50d18e/The_King_s_Speech_2024_background_briefing_notes.pdf" TargetMode="External"/><Relationship Id="rId43"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tags" Target="../tags/tag505.xml"/><Relationship Id="rId13" Type="http://schemas.openxmlformats.org/officeDocument/2006/relationships/oleObject" Target="../embeddings/oleObject81.bin"/><Relationship Id="rId18" Type="http://schemas.openxmlformats.org/officeDocument/2006/relationships/hyperlink" Target="https://www.cnbcafrica.com/media/6361203532112/nigeria-unveils-national-integrated-electricity-policy/" TargetMode="External"/><Relationship Id="rId26" Type="http://schemas.openxmlformats.org/officeDocument/2006/relationships/hyperlink" Target="https://www.enerdata.net/publications/daily-energy-news/us-and-japan-will-grant-indonesia-us20bn-shut-its-coal-fired-plants.html#:~:text=A%20coalition%20of%20countries%20led,by%20seven%20years%2C%20to%202030." TargetMode="External"/><Relationship Id="rId3" Type="http://schemas.openxmlformats.org/officeDocument/2006/relationships/tags" Target="../tags/tag500.xml"/><Relationship Id="rId21" Type="http://schemas.openxmlformats.org/officeDocument/2006/relationships/hyperlink" Target="https://unfccc.int/sites/default/files/resource/India_LTLEDS.pdf" TargetMode="External"/><Relationship Id="rId34" Type="http://schemas.openxmlformats.org/officeDocument/2006/relationships/image" Target="../media/image28.png"/><Relationship Id="rId7" Type="http://schemas.openxmlformats.org/officeDocument/2006/relationships/tags" Target="../tags/tag504.xml"/><Relationship Id="rId12" Type="http://schemas.openxmlformats.org/officeDocument/2006/relationships/slideLayout" Target="../slideLayouts/slideLayout6.xml"/><Relationship Id="rId17" Type="http://schemas.openxmlformats.org/officeDocument/2006/relationships/hyperlink" Target="https://www.iea.org/policies/4974-nigeria-renewable-energy-master-plan#:~:text=Targets%3A,total%20energy%20consumption%20by%202025." TargetMode="External"/><Relationship Id="rId25" Type="http://schemas.openxmlformats.org/officeDocument/2006/relationships/hyperlink" Target="https://www.enerdata.net/publications/daily-energy-news/indonesia-plans-build-nuclear-power-plant-2039.html" TargetMode="External"/><Relationship Id="rId33" Type="http://schemas.openxmlformats.org/officeDocument/2006/relationships/image" Target="../media/image32.png"/><Relationship Id="rId38" Type="http://schemas.openxmlformats.org/officeDocument/2006/relationships/image" Target="../media/image26.png"/><Relationship Id="rId2" Type="http://schemas.openxmlformats.org/officeDocument/2006/relationships/tags" Target="../tags/tag499.xml"/><Relationship Id="rId16" Type="http://schemas.openxmlformats.org/officeDocument/2006/relationships/hyperlink" Target="https://www.mondaq.com/unitedstates/oil-gas-electricity/1547632/mexican-constitutional-amendment-reforms-electric-energy-and-other-strategic-sectors" TargetMode="External"/><Relationship Id="rId20" Type="http://schemas.openxmlformats.org/officeDocument/2006/relationships/hyperlink" Target="https://theistanbulpost.com/world-bank-turkiye-in-talks-to-finance-28b-energy-transmission-plan/" TargetMode="External"/><Relationship Id="rId29" Type="http://schemas.openxmlformats.org/officeDocument/2006/relationships/hyperlink" Target="https://www.sgi.gov.sa/sgi-initiatives/" TargetMode="External"/><Relationship Id="rId1" Type="http://schemas.openxmlformats.org/officeDocument/2006/relationships/tags" Target="../tags/tag498.xml"/><Relationship Id="rId6" Type="http://schemas.openxmlformats.org/officeDocument/2006/relationships/tags" Target="../tags/tag503.xml"/><Relationship Id="rId11" Type="http://schemas.openxmlformats.org/officeDocument/2006/relationships/tags" Target="../tags/tag508.xml"/><Relationship Id="rId24" Type="http://schemas.openxmlformats.org/officeDocument/2006/relationships/hyperlink" Target="https://ember-energy.org/latest-insights/indonesias-expansion-of-clean-power-can-spur-growth-and-equality/" TargetMode="External"/><Relationship Id="rId32" Type="http://schemas.openxmlformats.org/officeDocument/2006/relationships/image" Target="../media/image27.png"/><Relationship Id="rId37" Type="http://schemas.openxmlformats.org/officeDocument/2006/relationships/image" Target="../media/image29.png"/><Relationship Id="rId5" Type="http://schemas.openxmlformats.org/officeDocument/2006/relationships/tags" Target="../tags/tag502.xml"/><Relationship Id="rId15" Type="http://schemas.openxmlformats.org/officeDocument/2006/relationships/hyperlink" Target="https://www.argusmedia.com/en/news-and-insights/latest-market-news/2627394-mexico-to-boost-control-renewables-expansion#:~:text=%22This%20is%20a%20proposal%20first,in%20the%20mix%20by%202030." TargetMode="External"/><Relationship Id="rId23" Type="http://schemas.openxmlformats.org/officeDocument/2006/relationships/hyperlink" Target="https://mnre.gov.in/national-green-hydrogen-mission/" TargetMode="External"/><Relationship Id="rId28" Type="http://schemas.openxmlformats.org/officeDocument/2006/relationships/hyperlink" Target="https://www.iea.org/policies/1370-energy-strategy-of-russia-to-2030" TargetMode="External"/><Relationship Id="rId36" Type="http://schemas.openxmlformats.org/officeDocument/2006/relationships/image" Target="../media/image19.png"/><Relationship Id="rId10" Type="http://schemas.openxmlformats.org/officeDocument/2006/relationships/tags" Target="../tags/tag507.xml"/><Relationship Id="rId19" Type="http://schemas.openxmlformats.org/officeDocument/2006/relationships/hyperlink" Target="https://www.enerdata.net/publications/daily-energy-news/turkeys-national-energy-plan-2035-will-boost-solar-and-wind-capacities.html" TargetMode="External"/><Relationship Id="rId31" Type="http://schemas.openxmlformats.org/officeDocument/2006/relationships/image" Target="../media/image30.png"/><Relationship Id="rId4" Type="http://schemas.openxmlformats.org/officeDocument/2006/relationships/tags" Target="../tags/tag501.xml"/><Relationship Id="rId9" Type="http://schemas.openxmlformats.org/officeDocument/2006/relationships/tags" Target="../tags/tag506.xml"/><Relationship Id="rId14" Type="http://schemas.openxmlformats.org/officeDocument/2006/relationships/image" Target="../media/image11.emf"/><Relationship Id="rId22" Type="http://schemas.openxmlformats.org/officeDocument/2006/relationships/hyperlink" Target="https://www.reuters.com/business/energy/india-seeks-26-bln-private-nuclear-power-investments-sources-say-2024-02-20/" TargetMode="External"/><Relationship Id="rId27" Type="http://schemas.openxmlformats.org/officeDocument/2006/relationships/hyperlink" Target="https://indonesiabusinesspost.com/lobby/indonesia-proposes-us235-billion-renewable-energy-project-at-cop29/" TargetMode="External"/><Relationship Id="rId30" Type="http://schemas.openxmlformats.org/officeDocument/2006/relationships/hyperlink" Target="https://www.hydrogeninsight.com/production/saudi-arabia-to-funnel-at-least-10bn-into-low-carbon-hydrogen-via-new-subsidiary-report/2-1-1720965?zephr_sso_ott=dkpPza" TargetMode="External"/><Relationship Id="rId35"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openxmlformats.org/officeDocument/2006/relationships/tags" Target="../tags/tag516.xml"/><Relationship Id="rId13" Type="http://schemas.openxmlformats.org/officeDocument/2006/relationships/oleObject" Target="../embeddings/oleObject82.bin"/><Relationship Id="rId18" Type="http://schemas.openxmlformats.org/officeDocument/2006/relationships/hyperlink" Target="https://www.cbc.ca/news/canada/toronto/ont-gas-tax-1.7365037" TargetMode="External"/><Relationship Id="rId26" Type="http://schemas.openxmlformats.org/officeDocument/2006/relationships/image" Target="../media/image17.png"/><Relationship Id="rId3" Type="http://schemas.openxmlformats.org/officeDocument/2006/relationships/tags" Target="../tags/tag511.xml"/><Relationship Id="rId21" Type="http://schemas.openxmlformats.org/officeDocument/2006/relationships/hyperlink" Target="https://ec.europa.eu/commission/presscorner/detail/en/ip_22_6462" TargetMode="External"/><Relationship Id="rId7" Type="http://schemas.openxmlformats.org/officeDocument/2006/relationships/tags" Target="../tags/tag515.xml"/><Relationship Id="rId12" Type="http://schemas.openxmlformats.org/officeDocument/2006/relationships/slideLayout" Target="../slideLayouts/slideLayout6.xml"/><Relationship Id="rId17" Type="http://schemas.openxmlformats.org/officeDocument/2006/relationships/hyperlink" Target="https://publications.gc.ca/site/archivee-archived.html?url=https://publications.gc.ca/collections/collection_2022/eccc/En4-460-2022-eng.pdf" TargetMode="External"/><Relationship Id="rId25" Type="http://schemas.openxmlformats.org/officeDocument/2006/relationships/image" Target="../media/image13.png"/><Relationship Id="rId2" Type="http://schemas.openxmlformats.org/officeDocument/2006/relationships/tags" Target="../tags/tag510.xml"/><Relationship Id="rId16" Type="http://schemas.openxmlformats.org/officeDocument/2006/relationships/hyperlink" Target="Review%20of%20EV%20sales%20targets" TargetMode="External"/><Relationship Id="rId20" Type="http://schemas.openxmlformats.org/officeDocument/2006/relationships/hyperlink" Target="https://theicct.org/sites/default/files/publications/China-new-vehicle-industrial-dev-plan-jun2021.pdf" TargetMode="External"/><Relationship Id="rId29" Type="http://schemas.openxmlformats.org/officeDocument/2006/relationships/image" Target="../media/image22.png"/><Relationship Id="rId1" Type="http://schemas.openxmlformats.org/officeDocument/2006/relationships/tags" Target="../tags/tag509.xml"/><Relationship Id="rId6" Type="http://schemas.openxmlformats.org/officeDocument/2006/relationships/tags" Target="../tags/tag514.xml"/><Relationship Id="rId11" Type="http://schemas.openxmlformats.org/officeDocument/2006/relationships/tags" Target="../tags/tag519.xml"/><Relationship Id="rId24" Type="http://schemas.openxmlformats.org/officeDocument/2006/relationships/hyperlink" Target="https://influencemap.org/briefing/-ff01a578e9bd224294a3d1ed50469587-20598#:~:text=In%20South%20Korea%2C%20electric%20vehicles,of%20ICE%20vehicles%20by%202035." TargetMode="External"/><Relationship Id="rId5" Type="http://schemas.openxmlformats.org/officeDocument/2006/relationships/tags" Target="../tags/tag513.xml"/><Relationship Id="rId15" Type="http://schemas.openxmlformats.org/officeDocument/2006/relationships/hyperlink" Target="https://www.gov.uk/government/news/government-takes-historic-step-towards-net-zero-with-end-of-sale-of-new-petrol-and-diesel-cars-by-2030" TargetMode="External"/><Relationship Id="rId23" Type="http://schemas.openxmlformats.org/officeDocument/2006/relationships/hyperlink" Target="https://www.scmp.com/comment/opinion/article/3177143/south-koreas-new-president-must-keep-his-pledge-bold-switch" TargetMode="External"/><Relationship Id="rId28" Type="http://schemas.openxmlformats.org/officeDocument/2006/relationships/image" Target="../media/image14.png"/><Relationship Id="rId10" Type="http://schemas.openxmlformats.org/officeDocument/2006/relationships/tags" Target="../tags/tag518.xml"/><Relationship Id="rId19" Type="http://schemas.openxmlformats.org/officeDocument/2006/relationships/hyperlink" Target="https://www.reuters.com/business/autos-transportation/trudeau-says-canada-impose-100-tariff-chinese-evs-2024-08-26/" TargetMode="External"/><Relationship Id="rId31" Type="http://schemas.openxmlformats.org/officeDocument/2006/relationships/image" Target="../media/image18.png"/><Relationship Id="rId4" Type="http://schemas.openxmlformats.org/officeDocument/2006/relationships/tags" Target="../tags/tag512.xml"/><Relationship Id="rId9" Type="http://schemas.openxmlformats.org/officeDocument/2006/relationships/tags" Target="../tags/tag517.xml"/><Relationship Id="rId14" Type="http://schemas.openxmlformats.org/officeDocument/2006/relationships/image" Target="../media/image11.emf"/><Relationship Id="rId22" Type="http://schemas.openxmlformats.org/officeDocument/2006/relationships/hyperlink" Target="https://www.reuters.com/business/autos-transportation/france-plans-cut-assistance-ev-purchases-by-third-toughen-penalties-some-2024-10-10/" TargetMode="External"/><Relationship Id="rId27" Type="http://schemas.openxmlformats.org/officeDocument/2006/relationships/image" Target="../media/image15.png"/><Relationship Id="rId30"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tags" Target="../tags/tag527.xml"/><Relationship Id="rId13" Type="http://schemas.openxmlformats.org/officeDocument/2006/relationships/oleObject" Target="../embeddings/oleObject83.bin"/><Relationship Id="rId18" Type="http://schemas.openxmlformats.org/officeDocument/2006/relationships/hyperlink" Target="https://www.reuters.com/business/autos-transportation/india-allots-109-bln-rupees-scheme-promote-electric-vehicles-2024-09-11/" TargetMode="External"/><Relationship Id="rId26" Type="http://schemas.openxmlformats.org/officeDocument/2006/relationships/image" Target="../media/image12.png"/><Relationship Id="rId3" Type="http://schemas.openxmlformats.org/officeDocument/2006/relationships/tags" Target="../tags/tag522.xml"/><Relationship Id="rId21" Type="http://schemas.openxmlformats.org/officeDocument/2006/relationships/hyperlink" Target="https://www.trade.gov/market-intelligence/japan-transition-electric-vehicles#:~:text=In%20fact%2C%2097.8%25%20of%20the,electric%20vehicle%20market%20is%20growing." TargetMode="External"/><Relationship Id="rId7" Type="http://schemas.openxmlformats.org/officeDocument/2006/relationships/tags" Target="../tags/tag526.xml"/><Relationship Id="rId12" Type="http://schemas.openxmlformats.org/officeDocument/2006/relationships/slideLayout" Target="../slideLayouts/slideLayout6.xml"/><Relationship Id="rId17" Type="http://schemas.openxmlformats.org/officeDocument/2006/relationships/hyperlink" Target="https://www.dcceew.gov.au/energy/transport/national-electric-vehicle-strategy" TargetMode="External"/><Relationship Id="rId25" Type="http://schemas.openxmlformats.org/officeDocument/2006/relationships/image" Target="../media/image23.png"/><Relationship Id="rId2" Type="http://schemas.openxmlformats.org/officeDocument/2006/relationships/tags" Target="../tags/tag521.xml"/><Relationship Id="rId16" Type="http://schemas.openxmlformats.org/officeDocument/2006/relationships/hyperlink" Target="https://mercomindia.com/australia-new-vehicle-sales-ev-2035#:~:text=The%20Australian%20government%20aims%20to,to%20a%20decarbonized%20transport%20system." TargetMode="External"/><Relationship Id="rId20" Type="http://schemas.openxmlformats.org/officeDocument/2006/relationships/hyperlink" Target="https://www.reuters.com/business/sustainable-business/indonesia-aims-sell-only-electric-powered-cars-motorbikes-by-2050-2021-06-14/" TargetMode="External"/><Relationship Id="rId29" Type="http://schemas.openxmlformats.org/officeDocument/2006/relationships/image" Target="../media/image19.png"/><Relationship Id="rId1" Type="http://schemas.openxmlformats.org/officeDocument/2006/relationships/tags" Target="../tags/tag520.xml"/><Relationship Id="rId6" Type="http://schemas.openxmlformats.org/officeDocument/2006/relationships/tags" Target="../tags/tag525.xml"/><Relationship Id="rId11" Type="http://schemas.openxmlformats.org/officeDocument/2006/relationships/tags" Target="../tags/tag530.xml"/><Relationship Id="rId24" Type="http://schemas.openxmlformats.org/officeDocument/2006/relationships/image" Target="../media/image20.png"/><Relationship Id="rId5" Type="http://schemas.openxmlformats.org/officeDocument/2006/relationships/tags" Target="../tags/tag524.xml"/><Relationship Id="rId15" Type="http://schemas.openxmlformats.org/officeDocument/2006/relationships/hyperlink" Target="https://insideevs.com.ar/news/665082/proyecto-ley-promocion-electricos/" TargetMode="External"/><Relationship Id="rId23" Type="http://schemas.openxmlformats.org/officeDocument/2006/relationships/hyperlink" Target="https://mx.usembassy.gov/united-states-welcome-mexicos-commitments-announced-during-cop-27/#:~:text=The%20two%20countries%20affirm%20their,2050%20in%20their%20respective%20economies." TargetMode="External"/><Relationship Id="rId28" Type="http://schemas.openxmlformats.org/officeDocument/2006/relationships/image" Target="../media/image16.png"/><Relationship Id="rId10" Type="http://schemas.openxmlformats.org/officeDocument/2006/relationships/tags" Target="../tags/tag529.xml"/><Relationship Id="rId19" Type="http://schemas.openxmlformats.org/officeDocument/2006/relationships/hyperlink" Target="https://setkab.go.id/en/indonesia-ready-to-welcome-ev-era-minister-says/" TargetMode="External"/><Relationship Id="rId4" Type="http://schemas.openxmlformats.org/officeDocument/2006/relationships/tags" Target="../tags/tag523.xml"/><Relationship Id="rId9" Type="http://schemas.openxmlformats.org/officeDocument/2006/relationships/tags" Target="../tags/tag528.xml"/><Relationship Id="rId14" Type="http://schemas.openxmlformats.org/officeDocument/2006/relationships/image" Target="../media/image11.emf"/><Relationship Id="rId22" Type="http://schemas.openxmlformats.org/officeDocument/2006/relationships/hyperlink" Target="https://english.kyodonews.net/news/2024/11/d5f90c54dee1-japan-aims-for-all-new-vehicles-to-use-biofuel-by-early-2030s.html" TargetMode="External"/><Relationship Id="rId27" Type="http://schemas.openxmlformats.org/officeDocument/2006/relationships/image" Target="../media/image26.png"/><Relationship Id="rId30" Type="http://schemas.openxmlformats.org/officeDocument/2006/relationships/image" Target="../media/image32.png"/></Relationships>
</file>

<file path=ppt/slides/_rels/slide16.xml.rels><?xml version="1.0" encoding="UTF-8" standalone="yes"?>
<Relationships xmlns="http://schemas.openxmlformats.org/package/2006/relationships"><Relationship Id="rId8" Type="http://schemas.openxmlformats.org/officeDocument/2006/relationships/tags" Target="../tags/tag538.xml"/><Relationship Id="rId13" Type="http://schemas.openxmlformats.org/officeDocument/2006/relationships/oleObject" Target="../embeddings/oleObject83.bin"/><Relationship Id="rId18" Type="http://schemas.openxmlformats.org/officeDocument/2006/relationships/hyperlink" Target="https://www.undp.org/sites/g/files/zskgke326/files/2024-12/main_report_to_drvn_en_29.11.2024.pdf" TargetMode="External"/><Relationship Id="rId26" Type="http://schemas.openxmlformats.org/officeDocument/2006/relationships/image" Target="../media/image21.png"/><Relationship Id="rId3" Type="http://schemas.openxmlformats.org/officeDocument/2006/relationships/tags" Target="../tags/tag533.xml"/><Relationship Id="rId21" Type="http://schemas.openxmlformats.org/officeDocument/2006/relationships/hyperlink" Target="https://english.aawsat.com/business/4799691-alkhorayef-asharq-al-awsat-saudi-arabia-aims-integrated-electric-car-hub" TargetMode="External"/><Relationship Id="rId7" Type="http://schemas.openxmlformats.org/officeDocument/2006/relationships/tags" Target="../tags/tag537.xml"/><Relationship Id="rId12" Type="http://schemas.openxmlformats.org/officeDocument/2006/relationships/slideLayout" Target="../slideLayouts/slideLayout6.xml"/><Relationship Id="rId17" Type="http://schemas.openxmlformats.org/officeDocument/2006/relationships/hyperlink" Target="https://www.cnbc.com/2022/08/25/california-bans-the-sale-of-new-gas-powered-cars-by-2035.html" TargetMode="External"/><Relationship Id="rId25" Type="http://schemas.openxmlformats.org/officeDocument/2006/relationships/image" Target="../media/image29.png"/><Relationship Id="rId2" Type="http://schemas.openxmlformats.org/officeDocument/2006/relationships/tags" Target="../tags/tag532.xml"/><Relationship Id="rId16" Type="http://schemas.openxmlformats.org/officeDocument/2006/relationships/hyperlink" Target="https://www.epa.gov/regulations-emissions-vehicles-and-engines/final-rule-revise-existing-national-ghg-emissions" TargetMode="External"/><Relationship Id="rId20" Type="http://schemas.openxmlformats.org/officeDocument/2006/relationships/hyperlink" Target="https://www.wilsoncenter.org/article/fueling-future-saudi-arabias-race-electric-vehicle-dominance" TargetMode="External"/><Relationship Id="rId1" Type="http://schemas.openxmlformats.org/officeDocument/2006/relationships/tags" Target="../tags/tag531.xml"/><Relationship Id="rId6" Type="http://schemas.openxmlformats.org/officeDocument/2006/relationships/tags" Target="../tags/tag536.xml"/><Relationship Id="rId11" Type="http://schemas.openxmlformats.org/officeDocument/2006/relationships/tags" Target="../tags/tag541.xml"/><Relationship Id="rId24" Type="http://schemas.openxmlformats.org/officeDocument/2006/relationships/image" Target="../media/image27.png"/><Relationship Id="rId5" Type="http://schemas.openxmlformats.org/officeDocument/2006/relationships/tags" Target="../tags/tag535.xml"/><Relationship Id="rId15" Type="http://schemas.openxmlformats.org/officeDocument/2006/relationships/hyperlink" Target="https://www.bbc.com/news/world-us-canada-68621430" TargetMode="External"/><Relationship Id="rId23" Type="http://schemas.openxmlformats.org/officeDocument/2006/relationships/image" Target="../media/image28.png"/><Relationship Id="rId28" Type="http://schemas.openxmlformats.org/officeDocument/2006/relationships/image" Target="../media/image24.png"/><Relationship Id="rId10" Type="http://schemas.openxmlformats.org/officeDocument/2006/relationships/tags" Target="../tags/tag540.xml"/><Relationship Id="rId19" Type="http://schemas.openxmlformats.org/officeDocument/2006/relationships/hyperlink" Target="https://www.thenationalnews.com/business/road-to-net-zero/2021/10/24/saudi-arabia-wants-30-of-vehicles-on-riyadhs-roads-to-be-electric-by-2030/" TargetMode="External"/><Relationship Id="rId4" Type="http://schemas.openxmlformats.org/officeDocument/2006/relationships/tags" Target="../tags/tag534.xml"/><Relationship Id="rId9" Type="http://schemas.openxmlformats.org/officeDocument/2006/relationships/tags" Target="../tags/tag539.xml"/><Relationship Id="rId14" Type="http://schemas.openxmlformats.org/officeDocument/2006/relationships/image" Target="../media/image11.emf"/><Relationship Id="rId22" Type="http://schemas.openxmlformats.org/officeDocument/2006/relationships/image" Target="../media/image30.png"/><Relationship Id="rId27" Type="http://schemas.openxmlformats.org/officeDocument/2006/relationships/image" Target="../media/image31.png"/></Relationships>
</file>

<file path=ppt/slides/_rels/slide17.xml.rels><?xml version="1.0" encoding="UTF-8" standalone="yes"?>
<Relationships xmlns="http://schemas.openxmlformats.org/package/2006/relationships"><Relationship Id="rId8" Type="http://schemas.openxmlformats.org/officeDocument/2006/relationships/tags" Target="../tags/tag549.xml"/><Relationship Id="rId13" Type="http://schemas.openxmlformats.org/officeDocument/2006/relationships/oleObject" Target="../embeddings/oleObject84.bin"/><Relationship Id="rId18" Type="http://schemas.openxmlformats.org/officeDocument/2006/relationships/hyperlink" Target="https://ec.europa.eu/commission/presscorner/detail/en/ip_23_762" TargetMode="External"/><Relationship Id="rId26" Type="http://schemas.openxmlformats.org/officeDocument/2006/relationships/image" Target="../media/image18.png"/><Relationship Id="rId3" Type="http://schemas.openxmlformats.org/officeDocument/2006/relationships/tags" Target="../tags/tag544.xml"/><Relationship Id="rId21" Type="http://schemas.openxmlformats.org/officeDocument/2006/relationships/image" Target="../media/image12.png"/><Relationship Id="rId7" Type="http://schemas.openxmlformats.org/officeDocument/2006/relationships/tags" Target="../tags/tag548.xml"/><Relationship Id="rId12" Type="http://schemas.openxmlformats.org/officeDocument/2006/relationships/slideLayout" Target="../slideLayouts/slideLayout6.xml"/><Relationship Id="rId17" Type="http://schemas.openxmlformats.org/officeDocument/2006/relationships/hyperlink" Target="https://www.canada.ca/en/services/environment/weather/climatechange/climate-plan/climate-plan-overview/emissions-reduction-2030/sector-overview.html#sector6" TargetMode="External"/><Relationship Id="rId25" Type="http://schemas.openxmlformats.org/officeDocument/2006/relationships/image" Target="../media/image17.png"/><Relationship Id="rId2" Type="http://schemas.openxmlformats.org/officeDocument/2006/relationships/tags" Target="../tags/tag543.xml"/><Relationship Id="rId16" Type="http://schemas.openxmlformats.org/officeDocument/2006/relationships/hyperlink" Target="https://www.epw.qld.gov.au/about/initiatives/hydrogen/hydrogen-super-highway#:~:text=In%20March%202022%2C%20the%20Queensland,logistics%20along%20Australia's%20eastern%20seaboard." TargetMode="External"/><Relationship Id="rId20" Type="http://schemas.openxmlformats.org/officeDocument/2006/relationships/hyperlink" Target="https://pib.gov.in/Pressreleaseshare.aspx?PRID=1566758" TargetMode="External"/><Relationship Id="rId1" Type="http://schemas.openxmlformats.org/officeDocument/2006/relationships/tags" Target="../tags/tag542.xml"/><Relationship Id="rId6" Type="http://schemas.openxmlformats.org/officeDocument/2006/relationships/tags" Target="../tags/tag547.xml"/><Relationship Id="rId11" Type="http://schemas.openxmlformats.org/officeDocument/2006/relationships/tags" Target="../tags/tag552.xml"/><Relationship Id="rId24" Type="http://schemas.openxmlformats.org/officeDocument/2006/relationships/image" Target="../media/image15.png"/><Relationship Id="rId5" Type="http://schemas.openxmlformats.org/officeDocument/2006/relationships/tags" Target="../tags/tag546.xml"/><Relationship Id="rId15" Type="http://schemas.openxmlformats.org/officeDocument/2006/relationships/hyperlink" Target="https://www.dcceew.gov.au/energy/transport/national-electric-vehicle-strategy" TargetMode="External"/><Relationship Id="rId23" Type="http://schemas.openxmlformats.org/officeDocument/2006/relationships/image" Target="../media/image14.png"/><Relationship Id="rId10" Type="http://schemas.openxmlformats.org/officeDocument/2006/relationships/tags" Target="../tags/tag551.xml"/><Relationship Id="rId19" Type="http://schemas.openxmlformats.org/officeDocument/2006/relationships/hyperlink" Target="https://www.cleanenergyministerial.org/initiatives-campaigns/ev3030-campaign/#:~:text=Goal,share%20for%20EVs%20by%202030." TargetMode="External"/><Relationship Id="rId4" Type="http://schemas.openxmlformats.org/officeDocument/2006/relationships/tags" Target="../tags/tag545.xml"/><Relationship Id="rId9" Type="http://schemas.openxmlformats.org/officeDocument/2006/relationships/tags" Target="../tags/tag550.xml"/><Relationship Id="rId14" Type="http://schemas.openxmlformats.org/officeDocument/2006/relationships/image" Target="../media/image11.emf"/><Relationship Id="rId22" Type="http://schemas.openxmlformats.org/officeDocument/2006/relationships/image" Target="../media/image13.png"/><Relationship Id="rId27" Type="http://schemas.openxmlformats.org/officeDocument/2006/relationships/image" Target="../media/image16.png"/></Relationships>
</file>

<file path=ppt/slides/_rels/slide18.xml.rels><?xml version="1.0" encoding="UTF-8" standalone="yes"?>
<Relationships xmlns="http://schemas.openxmlformats.org/package/2006/relationships"><Relationship Id="rId8" Type="http://schemas.openxmlformats.org/officeDocument/2006/relationships/tags" Target="../tags/tag560.xml"/><Relationship Id="rId13" Type="http://schemas.openxmlformats.org/officeDocument/2006/relationships/oleObject" Target="../embeddings/oleObject85.bin"/><Relationship Id="rId18" Type="http://schemas.openxmlformats.org/officeDocument/2006/relationships/hyperlink" Target="https://www.gov.uk/government/news/uk-confirms-pledge-for-zero-emission-hgvs-by-2040-and-unveils-new-chargepoint-design" TargetMode="External"/><Relationship Id="rId26" Type="http://schemas.openxmlformats.org/officeDocument/2006/relationships/hyperlink" Target="https://www.verdict.co.uk/china-ministry-of-finance-charges-ahead-with-6bn-evs-subsidies/" TargetMode="External"/><Relationship Id="rId3" Type="http://schemas.openxmlformats.org/officeDocument/2006/relationships/tags" Target="../tags/tag555.xml"/><Relationship Id="rId21" Type="http://schemas.openxmlformats.org/officeDocument/2006/relationships/hyperlink" Target="https://www.reuters.com/business/cop/us-aims-zero-emissions-heavy-duty-vehicles-by-2040-2022-11-17/" TargetMode="External"/><Relationship Id="rId7" Type="http://schemas.openxmlformats.org/officeDocument/2006/relationships/tags" Target="../tags/tag559.xml"/><Relationship Id="rId12" Type="http://schemas.openxmlformats.org/officeDocument/2006/relationships/slideLayout" Target="../slideLayouts/slideLayout6.xml"/><Relationship Id="rId17" Type="http://schemas.openxmlformats.org/officeDocument/2006/relationships/hyperlink" Target="https://www.iea.org/policies/8716-import-tax-for-evs-resolution-972018" TargetMode="External"/><Relationship Id="rId25" Type="http://schemas.openxmlformats.org/officeDocument/2006/relationships/hyperlink" Target="https://www.electrive.com/2022/08/01/china-to-extend-sales-tax-exemption-for-nevs-to-2023/" TargetMode="External"/><Relationship Id="rId33" Type="http://schemas.openxmlformats.org/officeDocument/2006/relationships/image" Target="../media/image23.png"/><Relationship Id="rId2" Type="http://schemas.openxmlformats.org/officeDocument/2006/relationships/tags" Target="../tags/tag554.xml"/><Relationship Id="rId16" Type="http://schemas.openxmlformats.org/officeDocument/2006/relationships/hyperlink" Target="https://cms.law/en/int/expert-guides/cms-expert-guide-to-electric-vehicles/mexico" TargetMode="External"/><Relationship Id="rId20" Type="http://schemas.openxmlformats.org/officeDocument/2006/relationships/hyperlink" Target="https://www.reuters.com/sustainability/uks-go-ahead-invests-654-mln-decarbonise-buses-2024-10-07/" TargetMode="External"/><Relationship Id="rId29" Type="http://schemas.openxmlformats.org/officeDocument/2006/relationships/image" Target="../media/image21.png"/><Relationship Id="rId1" Type="http://schemas.openxmlformats.org/officeDocument/2006/relationships/tags" Target="../tags/tag553.xml"/><Relationship Id="rId6" Type="http://schemas.openxmlformats.org/officeDocument/2006/relationships/tags" Target="../tags/tag558.xml"/><Relationship Id="rId11" Type="http://schemas.openxmlformats.org/officeDocument/2006/relationships/tags" Target="../tags/tag563.xml"/><Relationship Id="rId24" Type="http://schemas.openxmlformats.org/officeDocument/2006/relationships/hyperlink" Target="https://www.nhtsa.gov/press-releases/new-fuel-economy-standards-model-years-2027-2031" TargetMode="External"/><Relationship Id="rId32" Type="http://schemas.openxmlformats.org/officeDocument/2006/relationships/image" Target="../media/image25.png"/><Relationship Id="rId5" Type="http://schemas.openxmlformats.org/officeDocument/2006/relationships/tags" Target="../tags/tag557.xml"/><Relationship Id="rId15" Type="http://schemas.openxmlformats.org/officeDocument/2006/relationships/hyperlink" Target="https://theicct.org/publication/mexico-heavy-duty-vehicle-emission-standards/" TargetMode="External"/><Relationship Id="rId23" Type="http://schemas.openxmlformats.org/officeDocument/2006/relationships/hyperlink" Target="https://www.reuters.com/business/autos-transportation/us-finalizes-tougher-new-tailpipe-emissions-limits-heavy-duty-vehicles-2024-03-29/" TargetMode="External"/><Relationship Id="rId28" Type="http://schemas.openxmlformats.org/officeDocument/2006/relationships/image" Target="../media/image20.png"/><Relationship Id="rId10" Type="http://schemas.openxmlformats.org/officeDocument/2006/relationships/tags" Target="../tags/tag562.xml"/><Relationship Id="rId19" Type="http://schemas.openxmlformats.org/officeDocument/2006/relationships/hyperlink" Target="https://www.gov.uk/plug-in-vehicle-grants" TargetMode="External"/><Relationship Id="rId31" Type="http://schemas.openxmlformats.org/officeDocument/2006/relationships/image" Target="../media/image24.png"/><Relationship Id="rId4" Type="http://schemas.openxmlformats.org/officeDocument/2006/relationships/tags" Target="../tags/tag556.xml"/><Relationship Id="rId9" Type="http://schemas.openxmlformats.org/officeDocument/2006/relationships/tags" Target="../tags/tag561.xml"/><Relationship Id="rId14" Type="http://schemas.openxmlformats.org/officeDocument/2006/relationships/image" Target="../media/image11.emf"/><Relationship Id="rId22" Type="http://schemas.openxmlformats.org/officeDocument/2006/relationships/hyperlink" Target="https://www.gov.ca.gov/2023/04/28/california-approves-worlds-first-regulation-to-phase-out-dirty-combustion-trucks-and-protect-public-health/#:~:text=WHAT%20YOU%20NEED%20TO%20KNOW,the%20nation%20to%20implement%20emissions" TargetMode="External"/><Relationship Id="rId27" Type="http://schemas.openxmlformats.org/officeDocument/2006/relationships/image" Target="../media/image19.png"/><Relationship Id="rId30" Type="http://schemas.openxmlformats.org/officeDocument/2006/relationships/image" Target="../media/image22.png"/></Relationships>
</file>

<file path=ppt/slides/_rels/slide19.xml.rels><?xml version="1.0" encoding="UTF-8" standalone="yes"?>
<Relationships xmlns="http://schemas.openxmlformats.org/package/2006/relationships"><Relationship Id="rId8" Type="http://schemas.openxmlformats.org/officeDocument/2006/relationships/tags" Target="../tags/tag571.xml"/><Relationship Id="rId13" Type="http://schemas.openxmlformats.org/officeDocument/2006/relationships/oleObject" Target="../embeddings/oleObject86.bin"/><Relationship Id="rId18" Type="http://schemas.openxmlformats.org/officeDocument/2006/relationships/hyperlink" Target="https://www.dailymaverick.co.za/article/2024-02-25-decarbonising-transport-here-are-gautrain-cape-towns-plans/" TargetMode="External"/><Relationship Id="rId26" Type="http://schemas.openxmlformats.org/officeDocument/2006/relationships/image" Target="../media/image30.png"/><Relationship Id="rId3" Type="http://schemas.openxmlformats.org/officeDocument/2006/relationships/tags" Target="../tags/tag566.xml"/><Relationship Id="rId21" Type="http://schemas.openxmlformats.org/officeDocument/2006/relationships/image" Target="../media/image27.png"/><Relationship Id="rId7" Type="http://schemas.openxmlformats.org/officeDocument/2006/relationships/tags" Target="../tags/tag570.xml"/><Relationship Id="rId12" Type="http://schemas.openxmlformats.org/officeDocument/2006/relationships/slideLayout" Target="../slideLayouts/slideLayout6.xml"/><Relationship Id="rId17" Type="http://schemas.openxmlformats.org/officeDocument/2006/relationships/hyperlink" Target="https://setkab.go.id/en/indonesia-ready-to-welcome-ev-era-minister-says/" TargetMode="External"/><Relationship Id="rId25" Type="http://schemas.openxmlformats.org/officeDocument/2006/relationships/image" Target="../media/image32.png"/><Relationship Id="rId2" Type="http://schemas.openxmlformats.org/officeDocument/2006/relationships/tags" Target="../tags/tag565.xml"/><Relationship Id="rId16" Type="http://schemas.openxmlformats.org/officeDocument/2006/relationships/hyperlink" Target="https://www.reuters.com/business/autos-transportation/russia-plans-subsidise-electric-cars-spur-demand-2021-08-04/" TargetMode="External"/><Relationship Id="rId20" Type="http://schemas.openxmlformats.org/officeDocument/2006/relationships/hyperlink" Target="https://www.wilsoncenter.org/article/fueling-future-saudi-arabias-race-electric-vehicle-dominance" TargetMode="External"/><Relationship Id="rId1" Type="http://schemas.openxmlformats.org/officeDocument/2006/relationships/tags" Target="../tags/tag564.xml"/><Relationship Id="rId6" Type="http://schemas.openxmlformats.org/officeDocument/2006/relationships/tags" Target="../tags/tag569.xml"/><Relationship Id="rId11" Type="http://schemas.openxmlformats.org/officeDocument/2006/relationships/tags" Target="../tags/tag574.xml"/><Relationship Id="rId24" Type="http://schemas.openxmlformats.org/officeDocument/2006/relationships/image" Target="../media/image31.png"/><Relationship Id="rId5" Type="http://schemas.openxmlformats.org/officeDocument/2006/relationships/tags" Target="../tags/tag568.xml"/><Relationship Id="rId15" Type="http://schemas.openxmlformats.org/officeDocument/2006/relationships/hyperlink" Target="https://theicct.org/wp-content/uploads/2022/12/asia-pacific-evs-promoting-development-evs-vietnam-dec22-2.pdf" TargetMode="External"/><Relationship Id="rId23" Type="http://schemas.openxmlformats.org/officeDocument/2006/relationships/image" Target="../media/image29.png"/><Relationship Id="rId10" Type="http://schemas.openxmlformats.org/officeDocument/2006/relationships/tags" Target="../tags/tag573.xml"/><Relationship Id="rId19" Type="http://schemas.openxmlformats.org/officeDocument/2006/relationships/hyperlink" Target="https://www.thenationalnews.com/business/road-to-net-zero/2021/10/24/saudi-arabia-wants-30-of-vehicles-on-riyadhs-roads-to-be-electric-by-2030/" TargetMode="External"/><Relationship Id="rId4" Type="http://schemas.openxmlformats.org/officeDocument/2006/relationships/tags" Target="../tags/tag567.xml"/><Relationship Id="rId9" Type="http://schemas.openxmlformats.org/officeDocument/2006/relationships/tags" Target="../tags/tag572.xml"/><Relationship Id="rId14" Type="http://schemas.openxmlformats.org/officeDocument/2006/relationships/image" Target="../media/image11.emf"/><Relationship Id="rId22" Type="http://schemas.openxmlformats.org/officeDocument/2006/relationships/image" Target="../media/image28.png"/><Relationship Id="rId27" Type="http://schemas.openxmlformats.org/officeDocument/2006/relationships/image" Target="../media/image26.png"/></Relationships>
</file>

<file path=ppt/slides/_rels/slide2.xml.rels><?xml version="1.0" encoding="UTF-8" standalone="yes"?>
<Relationships xmlns="http://schemas.openxmlformats.org/package/2006/relationships"><Relationship Id="rId8" Type="http://schemas.openxmlformats.org/officeDocument/2006/relationships/tags" Target="../tags/tag384.xml"/><Relationship Id="rId13" Type="http://schemas.openxmlformats.org/officeDocument/2006/relationships/oleObject" Target="../embeddings/oleObject72.bin"/><Relationship Id="rId18" Type="http://schemas.openxmlformats.org/officeDocument/2006/relationships/hyperlink" Target="https://www.canada.ca/en/environment-climate-change/news/2024/12/canadas-2035-target.html" TargetMode="External"/><Relationship Id="rId26" Type="http://schemas.openxmlformats.org/officeDocument/2006/relationships/image" Target="../media/image12.png"/><Relationship Id="rId3" Type="http://schemas.openxmlformats.org/officeDocument/2006/relationships/tags" Target="../tags/tag379.xml"/><Relationship Id="rId21" Type="http://schemas.openxmlformats.org/officeDocument/2006/relationships/hyperlink" Target="https://www.reuters.com/business/energy/eu-approves-28-bln-euro-german-renewable-energy-scheme-2022-12-21/#:~:text=%22The%20German%20Renewable%20Energy%20Act,receive%20for%20selling%20their%20power." TargetMode="External"/><Relationship Id="rId7" Type="http://schemas.openxmlformats.org/officeDocument/2006/relationships/tags" Target="../tags/tag383.xml"/><Relationship Id="rId12" Type="http://schemas.openxmlformats.org/officeDocument/2006/relationships/slideLayout" Target="../slideLayouts/slideLayout6.xml"/><Relationship Id="rId17" Type="http://schemas.openxmlformats.org/officeDocument/2006/relationships/hyperlink" Target="https://laws-lois.justice.gc.ca/eng/regulations/sor-2012-167/index.html" TargetMode="External"/><Relationship Id="rId25" Type="http://schemas.openxmlformats.org/officeDocument/2006/relationships/hyperlink" Target="https://www.enerdata.net/publications/daily-energy-news/south-korea-targets-346-nuclear-and-306-renewable-power-generation-2036.html" TargetMode="External"/><Relationship Id="rId2" Type="http://schemas.openxmlformats.org/officeDocument/2006/relationships/tags" Target="../tags/tag378.xml"/><Relationship Id="rId16" Type="http://schemas.openxmlformats.org/officeDocument/2006/relationships/hyperlink" Target="https://www.aph.gov.au/Parliamentary_Business/Bills_Legislation/Bills_Search_Results/Result?bId=r7177" TargetMode="External"/><Relationship Id="rId20" Type="http://schemas.openxmlformats.org/officeDocument/2006/relationships/hyperlink" Target="https://www.spglobal.com/commodityinsights/en/market-insights/latest-news/coal/012920-german-cabinet-passes-coal-exit-law" TargetMode="External"/><Relationship Id="rId29" Type="http://schemas.openxmlformats.org/officeDocument/2006/relationships/image" Target="../media/image15.png"/><Relationship Id="rId1" Type="http://schemas.openxmlformats.org/officeDocument/2006/relationships/tags" Target="../tags/tag377.xml"/><Relationship Id="rId6" Type="http://schemas.openxmlformats.org/officeDocument/2006/relationships/tags" Target="../tags/tag382.xml"/><Relationship Id="rId11" Type="http://schemas.openxmlformats.org/officeDocument/2006/relationships/tags" Target="../tags/tag387.xml"/><Relationship Id="rId24" Type="http://schemas.openxmlformats.org/officeDocument/2006/relationships/hyperlink" Target="https://energy.ec.europa.eu/system/files/2020-02/it_final_necp_main_en_0.pdf" TargetMode="External"/><Relationship Id="rId32" Type="http://schemas.openxmlformats.org/officeDocument/2006/relationships/image" Target="../media/image18.png"/><Relationship Id="rId5" Type="http://schemas.openxmlformats.org/officeDocument/2006/relationships/tags" Target="../tags/tag381.xml"/><Relationship Id="rId15" Type="http://schemas.openxmlformats.org/officeDocument/2006/relationships/hyperlink" Target="https://www.dcceew.gov.au/climate-change/emissions-reduction/net-zero" TargetMode="External"/><Relationship Id="rId23" Type="http://schemas.openxmlformats.org/officeDocument/2006/relationships/hyperlink" Target="https://climateenergyfinance.org/wp-content/uploads/2023/05/India-NEP-080523.docx-1.pdf" TargetMode="External"/><Relationship Id="rId28" Type="http://schemas.openxmlformats.org/officeDocument/2006/relationships/image" Target="../media/image14.png"/><Relationship Id="rId10" Type="http://schemas.openxmlformats.org/officeDocument/2006/relationships/tags" Target="../tags/tag386.xml"/><Relationship Id="rId19" Type="http://schemas.openxmlformats.org/officeDocument/2006/relationships/hyperlink" Target="https://www.cleanenergywire.org/factsheets/how-germanys-and-frances-climate-policies-and-greenhouse-gas-emissions-compare#:~:text=Ambitious%20roadmaps%20for%20combating%20climate%20change&amp;text=Paris%20had%20first%20set%20goals,percent%20for%20the%20same%20period." TargetMode="External"/><Relationship Id="rId31" Type="http://schemas.openxmlformats.org/officeDocument/2006/relationships/image" Target="../media/image17.png"/><Relationship Id="rId4" Type="http://schemas.openxmlformats.org/officeDocument/2006/relationships/tags" Target="../tags/tag380.xml"/><Relationship Id="rId9" Type="http://schemas.openxmlformats.org/officeDocument/2006/relationships/tags" Target="../tags/tag385.xml"/><Relationship Id="rId14" Type="http://schemas.openxmlformats.org/officeDocument/2006/relationships/image" Target="../media/image11.emf"/><Relationship Id="rId22" Type="http://schemas.openxmlformats.org/officeDocument/2006/relationships/hyperlink" Target="https://www.bundestag.de/dokumente/textarchiv/2024/kw17-de-klimaschutzgesetz-999794" TargetMode="External"/><Relationship Id="rId27" Type="http://schemas.openxmlformats.org/officeDocument/2006/relationships/image" Target="../media/image13.png"/><Relationship Id="rId30" Type="http://schemas.openxmlformats.org/officeDocument/2006/relationships/image" Target="../media/image16.png"/></Relationships>
</file>

<file path=ppt/slides/_rels/slide20.xml.rels><?xml version="1.0" encoding="UTF-8" standalone="yes"?>
<Relationships xmlns="http://schemas.openxmlformats.org/package/2006/relationships"><Relationship Id="rId8" Type="http://schemas.openxmlformats.org/officeDocument/2006/relationships/tags" Target="../tags/tag582.xml"/><Relationship Id="rId13" Type="http://schemas.openxmlformats.org/officeDocument/2006/relationships/hyperlink" Target="https://www.dcceew.gov.au/climate-change/emissions-reduction/net-zero" TargetMode="External"/><Relationship Id="rId18" Type="http://schemas.openxmlformats.org/officeDocument/2006/relationships/hyperlink" Target="https://energy.ec.europa.eu/system/files/2022-08/fr_final_necp_main_en.pdf" TargetMode="External"/><Relationship Id="rId26" Type="http://schemas.openxmlformats.org/officeDocument/2006/relationships/hyperlink" Target="https://www.iea.org/policies/6668-infrastructure-incentives?country=Italy&amp;qs=italy&amp;sector=Transport" TargetMode="External"/><Relationship Id="rId3" Type="http://schemas.openxmlformats.org/officeDocument/2006/relationships/tags" Target="../tags/tag577.xml"/><Relationship Id="rId21" Type="http://schemas.openxmlformats.org/officeDocument/2006/relationships/hyperlink" Target="https://www.argusmedia.com/en/news/2465771-german-lpg-heating-gets-lastminute-legal-reprieve?backToResults=true" TargetMode="External"/><Relationship Id="rId7" Type="http://schemas.openxmlformats.org/officeDocument/2006/relationships/tags" Target="../tags/tag581.xml"/><Relationship Id="rId12" Type="http://schemas.openxmlformats.org/officeDocument/2006/relationships/image" Target="../media/image11.emf"/><Relationship Id="rId17" Type="http://schemas.openxmlformats.org/officeDocument/2006/relationships/hyperlink" Target="https://unfccc.int/sites/default/files/resource/en_SNBC-2_summary_4-pages.pdf" TargetMode="External"/><Relationship Id="rId25" Type="http://schemas.openxmlformats.org/officeDocument/2006/relationships/hyperlink" Target="https://energy.ec.europa.eu/system/files/2020-02/it_final_necp_main_en_0.pdf" TargetMode="External"/><Relationship Id="rId2" Type="http://schemas.openxmlformats.org/officeDocument/2006/relationships/tags" Target="../tags/tag576.xml"/><Relationship Id="rId16" Type="http://schemas.openxmlformats.org/officeDocument/2006/relationships/hyperlink" Target="https://energy.ec.europa.eu/topics/energy-efficiency/energy-efficient-buildings/energy-performance-buildings-directive_en" TargetMode="External"/><Relationship Id="rId20" Type="http://schemas.openxmlformats.org/officeDocument/2006/relationships/hyperlink" Target="https://www.aedifion.com/blog-en/german-buildings-energy-act-measures-for-non-residential-buildings" TargetMode="External"/><Relationship Id="rId29" Type="http://schemas.openxmlformats.org/officeDocument/2006/relationships/image" Target="../media/image14.png"/><Relationship Id="rId1" Type="http://schemas.openxmlformats.org/officeDocument/2006/relationships/tags" Target="../tags/tag575.xml"/><Relationship Id="rId6" Type="http://schemas.openxmlformats.org/officeDocument/2006/relationships/tags" Target="../tags/tag580.xml"/><Relationship Id="rId11" Type="http://schemas.openxmlformats.org/officeDocument/2006/relationships/oleObject" Target="../embeddings/oleObject87.bin"/><Relationship Id="rId24" Type="http://schemas.openxmlformats.org/officeDocument/2006/relationships/hyperlink" Target="https://www.reuters.com/world/europe/german-cabinet-approves-58-bln-eur-green-investments-plan-2024-2023-08-09/" TargetMode="External"/><Relationship Id="rId5" Type="http://schemas.openxmlformats.org/officeDocument/2006/relationships/tags" Target="../tags/tag579.xml"/><Relationship Id="rId15" Type="http://schemas.openxmlformats.org/officeDocument/2006/relationships/hyperlink" Target="https://www.canada.ca/en/natural-resources-canada/news/2024/02/government-of-canada-to-establish-next-phase-of-canada-greener-homes-initiative-to-help-more-canadians-save-on-their-energy-bills.html" TargetMode="External"/><Relationship Id="rId23" Type="http://schemas.openxmlformats.org/officeDocument/2006/relationships/hyperlink" Target="https://www.reuters.com/business/energy/german-cabinet-approves-bill-phase-out-oil-gas-heating-systems-2023-04-19/" TargetMode="External"/><Relationship Id="rId28" Type="http://schemas.openxmlformats.org/officeDocument/2006/relationships/image" Target="../media/image13.png"/><Relationship Id="rId10" Type="http://schemas.openxmlformats.org/officeDocument/2006/relationships/slideLayout" Target="../slideLayouts/slideLayout6.xml"/><Relationship Id="rId19" Type="http://schemas.openxmlformats.org/officeDocument/2006/relationships/hyperlink" Target="https://www.euractiv.com/section/energy-environment/news/france-announces-more-financing-for-energy-renovations/" TargetMode="External"/><Relationship Id="rId31" Type="http://schemas.openxmlformats.org/officeDocument/2006/relationships/image" Target="../media/image17.png"/><Relationship Id="rId4" Type="http://schemas.openxmlformats.org/officeDocument/2006/relationships/tags" Target="../tags/tag578.xml"/><Relationship Id="rId9" Type="http://schemas.openxmlformats.org/officeDocument/2006/relationships/tags" Target="../tags/tag583.xml"/><Relationship Id="rId14" Type="http://schemas.openxmlformats.org/officeDocument/2006/relationships/hyperlink" Target="https://natural-resources.canada.ca/energy-efficiency/building-energy-efficiency/canada-green-buildings-strategy-transforming-canada-s-buildings-sector-net-zero-resilient-future" TargetMode="External"/><Relationship Id="rId22" Type="http://schemas.openxmlformats.org/officeDocument/2006/relationships/hyperlink" Target="https://www.cleanenergywire.org/factsheets/germany-draft-climate-action-programme-2023" TargetMode="External"/><Relationship Id="rId27" Type="http://schemas.openxmlformats.org/officeDocument/2006/relationships/image" Target="../media/image12.png"/><Relationship Id="rId30" Type="http://schemas.openxmlformats.org/officeDocument/2006/relationships/image" Target="../media/image15.png"/></Relationships>
</file>

<file path=ppt/slides/_rels/slide21.xml.rels><?xml version="1.0" encoding="UTF-8" standalone="yes"?>
<Relationships xmlns="http://schemas.openxmlformats.org/package/2006/relationships"><Relationship Id="rId8" Type="http://schemas.openxmlformats.org/officeDocument/2006/relationships/tags" Target="../tags/tag591.xml"/><Relationship Id="rId13" Type="http://schemas.openxmlformats.org/officeDocument/2006/relationships/oleObject" Target="../embeddings/oleObject88.bin"/><Relationship Id="rId18" Type="http://schemas.openxmlformats.org/officeDocument/2006/relationships/hyperlink" Target="https://www.climateproof.news/p/biden-s-adaptation-billions-california-climate-superfund-talk-earth-observation-tech-and-more" TargetMode="External"/><Relationship Id="rId26" Type="http://schemas.openxmlformats.org/officeDocument/2006/relationships/image" Target="../media/image20.png"/><Relationship Id="rId3" Type="http://schemas.openxmlformats.org/officeDocument/2006/relationships/tags" Target="../tags/tag586.xml"/><Relationship Id="rId21" Type="http://schemas.openxmlformats.org/officeDocument/2006/relationships/hyperlink" Target="https://chinadialogue.net/en/energy/what-next-for-clean-heating-in-rural-china/" TargetMode="External"/><Relationship Id="rId7" Type="http://schemas.openxmlformats.org/officeDocument/2006/relationships/tags" Target="../tags/tag590.xml"/><Relationship Id="rId12" Type="http://schemas.openxmlformats.org/officeDocument/2006/relationships/slideLayout" Target="../slideLayouts/slideLayout6.xml"/><Relationship Id="rId17" Type="http://schemas.openxmlformats.org/officeDocument/2006/relationships/hyperlink" Target="https://www.renewableenergyinstaller.co.uk/2025/01/the-future-of-gas-boilers-the-2035-ban-and-the-response-from-government/" TargetMode="External"/><Relationship Id="rId25" Type="http://schemas.openxmlformats.org/officeDocument/2006/relationships/hyperlink" Target="https://www.trade.gov/market-intelligence/japan-construction-sector-co2-reduction" TargetMode="External"/><Relationship Id="rId2" Type="http://schemas.openxmlformats.org/officeDocument/2006/relationships/tags" Target="../tags/tag585.xml"/><Relationship Id="rId16" Type="http://schemas.openxmlformats.org/officeDocument/2006/relationships/hyperlink" Target="https://www.gov.uk/government/publications/heat-and-buildings-strategy" TargetMode="External"/><Relationship Id="rId20" Type="http://schemas.openxmlformats.org/officeDocument/2006/relationships/hyperlink" Target="https://insideclimatenews.org/news/09022024/todays-climate-state-coalition-heat-pumps-climate-change/#:~:text=In%20a%20memorandum%20of%20understanding,properties%20over%20the%20coming%20decades." TargetMode="External"/><Relationship Id="rId29" Type="http://schemas.openxmlformats.org/officeDocument/2006/relationships/image" Target="../media/image25.png"/><Relationship Id="rId1" Type="http://schemas.openxmlformats.org/officeDocument/2006/relationships/tags" Target="../tags/tag584.xml"/><Relationship Id="rId6" Type="http://schemas.openxmlformats.org/officeDocument/2006/relationships/tags" Target="../tags/tag589.xml"/><Relationship Id="rId11" Type="http://schemas.openxmlformats.org/officeDocument/2006/relationships/tags" Target="../tags/tag594.xml"/><Relationship Id="rId24" Type="http://schemas.openxmlformats.org/officeDocument/2006/relationships/hyperlink" Target="https://grjapan.com/sites/default/files/content/articles/files/gr_japan_overview_of_gx_plans_january_2023.pdf" TargetMode="External"/><Relationship Id="rId32" Type="http://schemas.openxmlformats.org/officeDocument/2006/relationships/image" Target="../media/image28.png"/><Relationship Id="rId5" Type="http://schemas.openxmlformats.org/officeDocument/2006/relationships/tags" Target="../tags/tag588.xml"/><Relationship Id="rId15" Type="http://schemas.openxmlformats.org/officeDocument/2006/relationships/hyperlink" Target="https://www.lexology.com/library/detail.aspx?g=869ce709-2622-4606-9e19-5dd8c3ffd7c9" TargetMode="External"/><Relationship Id="rId23" Type="http://schemas.openxmlformats.org/officeDocument/2006/relationships/hyperlink" Target="https://www.china-briefing.com/news/chinas-green-building-materials-sector-policies-and-investment-opportunities/#:~:text=More%20specifically%2C%20it%20requires%20that,to%20eight%20percent%20by%202025." TargetMode="External"/><Relationship Id="rId28" Type="http://schemas.openxmlformats.org/officeDocument/2006/relationships/image" Target="../media/image24.png"/><Relationship Id="rId10" Type="http://schemas.openxmlformats.org/officeDocument/2006/relationships/tags" Target="../tags/tag593.xml"/><Relationship Id="rId19" Type="http://schemas.openxmlformats.org/officeDocument/2006/relationships/hyperlink" Target="https://www.npr.org/2023/05/04/1173724432/new-york-state-is-set-to-ban-fossil-fuels-in-new-construction-starting-in-2026#:~:text=New%20York%20state%20set%20to,construction%20starting%20in%202026%20%3A%20NPR&amp;text=Press-,New%20York%20state%20set%20to%20ban%20fossil%20fuels%20in%20new,transition%20to%20clean%20energy%20sources." TargetMode="External"/><Relationship Id="rId31" Type="http://schemas.openxmlformats.org/officeDocument/2006/relationships/image" Target="../media/image18.png"/><Relationship Id="rId4" Type="http://schemas.openxmlformats.org/officeDocument/2006/relationships/tags" Target="../tags/tag587.xml"/><Relationship Id="rId9" Type="http://schemas.openxmlformats.org/officeDocument/2006/relationships/tags" Target="../tags/tag592.xml"/><Relationship Id="rId14" Type="http://schemas.openxmlformats.org/officeDocument/2006/relationships/image" Target="../media/image11.emf"/><Relationship Id="rId22" Type="http://schemas.openxmlformats.org/officeDocument/2006/relationships/hyperlink" Target="https://unfccc.int/sites/default/files/resource/China%E2%80%99s%20Mid-Century%20Long-Term%20Low%20Greenhouse%20Gas%20Emission%20Development%20Strategy.pdf" TargetMode="External"/><Relationship Id="rId27" Type="http://schemas.openxmlformats.org/officeDocument/2006/relationships/image" Target="../media/image22.png"/><Relationship Id="rId30" Type="http://schemas.openxmlformats.org/officeDocument/2006/relationships/image" Target="../media/image23.png"/></Relationships>
</file>

<file path=ppt/slides/_rels/slide22.xml.rels><?xml version="1.0" encoding="UTF-8" standalone="yes"?>
<Relationships xmlns="http://schemas.openxmlformats.org/package/2006/relationships"><Relationship Id="rId8" Type="http://schemas.openxmlformats.org/officeDocument/2006/relationships/tags" Target="../tags/tag602.xml"/><Relationship Id="rId13" Type="http://schemas.openxmlformats.org/officeDocument/2006/relationships/tags" Target="../tags/tag607.xml"/><Relationship Id="rId18" Type="http://schemas.openxmlformats.org/officeDocument/2006/relationships/image" Target="../media/image30.png"/><Relationship Id="rId26" Type="http://schemas.openxmlformats.org/officeDocument/2006/relationships/image" Target="../media/image26.png"/><Relationship Id="rId3" Type="http://schemas.openxmlformats.org/officeDocument/2006/relationships/tags" Target="../tags/tag597.xml"/><Relationship Id="rId21" Type="http://schemas.openxmlformats.org/officeDocument/2006/relationships/image" Target="../media/image32.png"/><Relationship Id="rId7" Type="http://schemas.openxmlformats.org/officeDocument/2006/relationships/tags" Target="../tags/tag601.xml"/><Relationship Id="rId12" Type="http://schemas.openxmlformats.org/officeDocument/2006/relationships/tags" Target="../tags/tag606.xml"/><Relationship Id="rId17" Type="http://schemas.openxmlformats.org/officeDocument/2006/relationships/hyperlink" Target="https://unfccc.int/sites/default/files/resource/8NC-5BR%20T%C3%BCrkiye.pdf" TargetMode="External"/><Relationship Id="rId25" Type="http://schemas.openxmlformats.org/officeDocument/2006/relationships/image" Target="../media/image19.png"/><Relationship Id="rId2" Type="http://schemas.openxmlformats.org/officeDocument/2006/relationships/tags" Target="../tags/tag596.xml"/><Relationship Id="rId16" Type="http://schemas.openxmlformats.org/officeDocument/2006/relationships/image" Target="../media/image11.emf"/><Relationship Id="rId20" Type="http://schemas.openxmlformats.org/officeDocument/2006/relationships/image" Target="../media/image29.png"/><Relationship Id="rId1" Type="http://schemas.openxmlformats.org/officeDocument/2006/relationships/tags" Target="../tags/tag595.xml"/><Relationship Id="rId6" Type="http://schemas.openxmlformats.org/officeDocument/2006/relationships/tags" Target="../tags/tag600.xml"/><Relationship Id="rId11" Type="http://schemas.openxmlformats.org/officeDocument/2006/relationships/tags" Target="../tags/tag605.xml"/><Relationship Id="rId24" Type="http://schemas.openxmlformats.org/officeDocument/2006/relationships/image" Target="../media/image16.png"/><Relationship Id="rId5" Type="http://schemas.openxmlformats.org/officeDocument/2006/relationships/tags" Target="../tags/tag599.xml"/><Relationship Id="rId15" Type="http://schemas.openxmlformats.org/officeDocument/2006/relationships/oleObject" Target="../embeddings/oleObject89.bin"/><Relationship Id="rId23" Type="http://schemas.openxmlformats.org/officeDocument/2006/relationships/image" Target="../media/image21.png"/><Relationship Id="rId10" Type="http://schemas.openxmlformats.org/officeDocument/2006/relationships/tags" Target="../tags/tag604.xml"/><Relationship Id="rId19" Type="http://schemas.openxmlformats.org/officeDocument/2006/relationships/image" Target="../media/image27.png"/><Relationship Id="rId4" Type="http://schemas.openxmlformats.org/officeDocument/2006/relationships/tags" Target="../tags/tag598.xml"/><Relationship Id="rId9" Type="http://schemas.openxmlformats.org/officeDocument/2006/relationships/tags" Target="../tags/tag603.xml"/><Relationship Id="rId14" Type="http://schemas.openxmlformats.org/officeDocument/2006/relationships/slideLayout" Target="../slideLayouts/slideLayout6.xml"/><Relationship Id="rId22" Type="http://schemas.openxmlformats.org/officeDocument/2006/relationships/image" Target="../media/image31.png"/></Relationships>
</file>

<file path=ppt/slides/_rels/slide23.xml.rels><?xml version="1.0" encoding="UTF-8" standalone="yes"?>
<Relationships xmlns="http://schemas.openxmlformats.org/package/2006/relationships"><Relationship Id="rId8" Type="http://schemas.openxmlformats.org/officeDocument/2006/relationships/tags" Target="../tags/tag615.xml"/><Relationship Id="rId13" Type="http://schemas.openxmlformats.org/officeDocument/2006/relationships/hyperlink" Target="https://assets.publishing.service.gov.uk/government/uploads/system/uploads/attachment_data/file/970229/Industrial_Decarbonisation_Strategy_March_2021.pdf" TargetMode="External"/><Relationship Id="rId18" Type="http://schemas.openxmlformats.org/officeDocument/2006/relationships/hyperlink" Target="https://publications.gc.ca/collections/collection_2022/eccc/En4-460-2022-eng.pdf" TargetMode="External"/><Relationship Id="rId26" Type="http://schemas.openxmlformats.org/officeDocument/2006/relationships/hyperlink" Target="https://ec.europa.eu/commission/presscorner/detail/en/ip_21_7022" TargetMode="External"/><Relationship Id="rId3" Type="http://schemas.openxmlformats.org/officeDocument/2006/relationships/tags" Target="../tags/tag610.xml"/><Relationship Id="rId21" Type="http://schemas.openxmlformats.org/officeDocument/2006/relationships/hyperlink" Target="https://www.bdi.fr/wp-content/uploads/2020/03/PressKitProvisionalDraft-National-strategy-for-the-development-of-decarbonised-and-renewable-hydrogen-in-France.pdf" TargetMode="External"/><Relationship Id="rId34" Type="http://schemas.openxmlformats.org/officeDocument/2006/relationships/image" Target="../media/image14.png"/><Relationship Id="rId7" Type="http://schemas.openxmlformats.org/officeDocument/2006/relationships/tags" Target="../tags/tag614.xml"/><Relationship Id="rId12" Type="http://schemas.openxmlformats.org/officeDocument/2006/relationships/image" Target="../media/image11.emf"/><Relationship Id="rId17" Type="http://schemas.openxmlformats.org/officeDocument/2006/relationships/hyperlink" Target="https://www.gov.uk/government/publications/carbon-capture-usage-and-storage-net-zero-investment-roadmap" TargetMode="External"/><Relationship Id="rId25" Type="http://schemas.openxmlformats.org/officeDocument/2006/relationships/hyperlink" Target="https://www.cleanenergywire.org/factsheets/germanys-climate-action-programme-2030" TargetMode="External"/><Relationship Id="rId33" Type="http://schemas.openxmlformats.org/officeDocument/2006/relationships/image" Target="../media/image22.png"/><Relationship Id="rId2" Type="http://schemas.openxmlformats.org/officeDocument/2006/relationships/tags" Target="../tags/tag609.xml"/><Relationship Id="rId16" Type="http://schemas.openxmlformats.org/officeDocument/2006/relationships/hyperlink" Target="https://www.gov.uk/government/news/102-million-government-backing-for-nuclear-and-hydrogen-innovation-in-the-uk" TargetMode="External"/><Relationship Id="rId20" Type="http://schemas.openxmlformats.org/officeDocument/2006/relationships/hyperlink" Target="https://energy.ec.europa.eu/system/files/2022-08/fr_final_necp_main_en.pdf" TargetMode="External"/><Relationship Id="rId29" Type="http://schemas.openxmlformats.org/officeDocument/2006/relationships/hyperlink" Target="https://energy.ec.europa.eu/system/files/2020-02/it_final_necp_main_en_0.pdf" TargetMode="External"/><Relationship Id="rId1" Type="http://schemas.openxmlformats.org/officeDocument/2006/relationships/tags" Target="../tags/tag608.xml"/><Relationship Id="rId6" Type="http://schemas.openxmlformats.org/officeDocument/2006/relationships/tags" Target="../tags/tag613.xml"/><Relationship Id="rId11" Type="http://schemas.openxmlformats.org/officeDocument/2006/relationships/oleObject" Target="../embeddings/oleObject90.bin"/><Relationship Id="rId24" Type="http://schemas.openxmlformats.org/officeDocument/2006/relationships/hyperlink" Target="https://icapcarbonaction.com/en/news/eu-reaches-landmark-provisional-agreement-ets-reform-and-new-policies-meet-2030-target" TargetMode="External"/><Relationship Id="rId32" Type="http://schemas.openxmlformats.org/officeDocument/2006/relationships/image" Target="../media/image13.png"/><Relationship Id="rId5" Type="http://schemas.openxmlformats.org/officeDocument/2006/relationships/tags" Target="../tags/tag612.xml"/><Relationship Id="rId15" Type="http://schemas.openxmlformats.org/officeDocument/2006/relationships/hyperlink" Target="https://www.gov.uk/government/news/shapps-sets-out-plans-to-drive-multi-billion-pound-investment-in-energy-revolution" TargetMode="External"/><Relationship Id="rId23" Type="http://schemas.openxmlformats.org/officeDocument/2006/relationships/hyperlink" Target="https://carbonherald.com/france-launches-its-first-carbon-capture-storage-and-use-strategy/" TargetMode="External"/><Relationship Id="rId28" Type="http://schemas.openxmlformats.org/officeDocument/2006/relationships/hyperlink" Target="https://www.reuters.com/markets/carbon/german-cabinet-approves-plans-allow-carbon-transport-storage-2024-05-29/#:~:text=Germany%27s%20cabinet%20approved%20on%20Wednesday%20a%20draft%20bill,2045%20while%20keeping%20heavy%20industries%2C%20government%20sour" TargetMode="External"/><Relationship Id="rId36" Type="http://schemas.openxmlformats.org/officeDocument/2006/relationships/image" Target="../media/image15.png"/><Relationship Id="rId10" Type="http://schemas.openxmlformats.org/officeDocument/2006/relationships/slideLayout" Target="../slideLayouts/slideLayout6.xml"/><Relationship Id="rId19" Type="http://schemas.openxmlformats.org/officeDocument/2006/relationships/hyperlink" Target="https://www.msn.com/en-ca/money/topstories/canada-proposes-sharp-cut-in-oil-and-gas-sector-emissions-by-2030/ar-AA1tuX4n?ocid=BingNewsSerp" TargetMode="External"/><Relationship Id="rId31" Type="http://schemas.openxmlformats.org/officeDocument/2006/relationships/hyperlink" Target="https://www.reuters.com/business/energy/italy-aims-turn-up-renewable-power-two-thirds-total-by-2030-2023-06-30/#:~:text=Governance-,Italy%20aims%20to%20turn%20up%20renewable%20power,thirds%20of%20total%20by%202030&amp;text=MILAN%2C%20June%2030%20(Reuters),made%20public%20three%20years%20ago." TargetMode="External"/><Relationship Id="rId4" Type="http://schemas.openxmlformats.org/officeDocument/2006/relationships/tags" Target="../tags/tag611.xml"/><Relationship Id="rId9" Type="http://schemas.openxmlformats.org/officeDocument/2006/relationships/tags" Target="../tags/tag616.xml"/><Relationship Id="rId14" Type="http://schemas.openxmlformats.org/officeDocument/2006/relationships/hyperlink" Target="https://publications.parliament.uk/pa/cm5803/cmselect/cmsctech/1257/report.html" TargetMode="External"/><Relationship Id="rId22" Type="http://schemas.openxmlformats.org/officeDocument/2006/relationships/hyperlink" Target="https://www.energymonitor.ai/policy/macron-announces-renewables-tax-credits-france/#:~:text=French%20President%20Emmanuel%20Macron%20announced,of%20jobs%2C%20the%20government%20said." TargetMode="External"/><Relationship Id="rId27" Type="http://schemas.openxmlformats.org/officeDocument/2006/relationships/hyperlink" Target="https://www.reuters.com/business/energy/german-cabinet-approves-updated-national-hydrogen-strategy-2023-07-26/" TargetMode="External"/><Relationship Id="rId30" Type="http://schemas.openxmlformats.org/officeDocument/2006/relationships/hyperlink" Target="https://ec.europa.eu/commission/presscorner/detail/es/ip_23_2044" TargetMode="External"/><Relationship Id="rId35" Type="http://schemas.openxmlformats.org/officeDocument/2006/relationships/image" Target="../media/image17.png"/></Relationships>
</file>

<file path=ppt/slides/_rels/slide24.xml.rels><?xml version="1.0" encoding="UTF-8" standalone="yes"?>
<Relationships xmlns="http://schemas.openxmlformats.org/package/2006/relationships"><Relationship Id="rId8" Type="http://schemas.openxmlformats.org/officeDocument/2006/relationships/tags" Target="../tags/tag624.xml"/><Relationship Id="rId13" Type="http://schemas.openxmlformats.org/officeDocument/2006/relationships/hyperlink" Target="https://www.argusmedia.com/en/news-and-insights/latest-market-news/2584592-eu-german-banks-eye-h2-focused-fund-for-argentina" TargetMode="External"/><Relationship Id="rId18" Type="http://schemas.openxmlformats.org/officeDocument/2006/relationships/hyperlink" Target="https://www.spglobal.com/commodityinsights/en/market-insights/latest-news/energy-transition/113022-indian-planning-body-proposes-ccus-framework-eyeing-750-mil-mtyear-co2-capture-by-2050" TargetMode="External"/><Relationship Id="rId26" Type="http://schemas.openxmlformats.org/officeDocument/2006/relationships/hyperlink" Target="https://www.iea.org/policies/12169-transition-strategy-to-promote-the-use-of-cleaner-technologies-and-fuels" TargetMode="External"/><Relationship Id="rId3" Type="http://schemas.openxmlformats.org/officeDocument/2006/relationships/tags" Target="../tags/tag619.xml"/><Relationship Id="rId21" Type="http://schemas.openxmlformats.org/officeDocument/2006/relationships/hyperlink" Target="https://www.spglobal.com/commodityinsights/en/ci/research-analysis/indonesia-sets-2060-netzero-ambition.html" TargetMode="External"/><Relationship Id="rId7" Type="http://schemas.openxmlformats.org/officeDocument/2006/relationships/tags" Target="../tags/tag623.xml"/><Relationship Id="rId12" Type="http://schemas.openxmlformats.org/officeDocument/2006/relationships/image" Target="../media/image11.emf"/><Relationship Id="rId17" Type="http://schemas.openxmlformats.org/officeDocument/2006/relationships/hyperlink" Target="https://business.gov.au/grants-and-programs/carbon-capture-use-and-storage-development-fund#:~:text=The%20minimum%20grant%20amount%20is,must%20be%20located%20in%20Australia" TargetMode="External"/><Relationship Id="rId25" Type="http://schemas.openxmlformats.org/officeDocument/2006/relationships/hyperlink" Target="https://featured.japan-forward.com/japan2earth/2023/04/2708/" TargetMode="External"/><Relationship Id="rId33" Type="http://schemas.openxmlformats.org/officeDocument/2006/relationships/image" Target="../media/image23.png"/><Relationship Id="rId2" Type="http://schemas.openxmlformats.org/officeDocument/2006/relationships/tags" Target="../tags/tag618.xml"/><Relationship Id="rId16" Type="http://schemas.openxmlformats.org/officeDocument/2006/relationships/hyperlink" Target="https://www.aph.gov.au/Parliamentary_Business/Bills_Legislation/Bills_Search_Results/Result?bId=r6957" TargetMode="External"/><Relationship Id="rId20" Type="http://schemas.openxmlformats.org/officeDocument/2006/relationships/hyperlink" Target="https://www.reuters.com/world/india/india-announces-formula-classifying-green-steel-2024-12-12/" TargetMode="External"/><Relationship Id="rId29" Type="http://schemas.openxmlformats.org/officeDocument/2006/relationships/image" Target="../media/image12.png"/><Relationship Id="rId1" Type="http://schemas.openxmlformats.org/officeDocument/2006/relationships/tags" Target="../tags/tag617.xml"/><Relationship Id="rId6" Type="http://schemas.openxmlformats.org/officeDocument/2006/relationships/tags" Target="../tags/tag622.xml"/><Relationship Id="rId11" Type="http://schemas.openxmlformats.org/officeDocument/2006/relationships/oleObject" Target="../embeddings/oleObject91.bin"/><Relationship Id="rId24" Type="http://schemas.openxmlformats.org/officeDocument/2006/relationships/hyperlink" Target="https://www.enerdata.net/publications/daily-energy-news/japan-sets-target-reach-co2-storage-capacity-6-12-mtyear-2030.html#:~:text=Japan's%20Ministry%20of%20Industry%20(METI,MtCO2%2Fyear%20in%202050." TargetMode="External"/><Relationship Id="rId32" Type="http://schemas.openxmlformats.org/officeDocument/2006/relationships/image" Target="../media/image32.png"/><Relationship Id="rId5" Type="http://schemas.openxmlformats.org/officeDocument/2006/relationships/tags" Target="../tags/tag621.xml"/><Relationship Id="rId15" Type="http://schemas.openxmlformats.org/officeDocument/2006/relationships/hyperlink" Target="https://arena.gov.au/news/2-billion-for-scaling-up-green-hydrogen-production-in-australia/" TargetMode="External"/><Relationship Id="rId23" Type="http://schemas.openxmlformats.org/officeDocument/2006/relationships/hyperlink" Target="https://energy.ec.europa.eu/news/joint-press-statement-minister-economy-trade-and-industry-ken-saito-and-european-commissioner-energy-2024-06-03_en" TargetMode="External"/><Relationship Id="rId28" Type="http://schemas.openxmlformats.org/officeDocument/2006/relationships/hyperlink" Target="https://www.spglobal.com/commodityinsights/en/market-insights/latest-news/coal/061323-japan-selects-first-seven-ccs-projects-to-store-13-mil-mtyear-co2-by-2030#:~:text=Japan%20selected%20the%20country's%20first,forward%20toward%202050%20carbon%20neutrality." TargetMode="External"/><Relationship Id="rId10" Type="http://schemas.openxmlformats.org/officeDocument/2006/relationships/slideLayout" Target="../slideLayouts/slideLayout6.xml"/><Relationship Id="rId19" Type="http://schemas.openxmlformats.org/officeDocument/2006/relationships/hyperlink" Target="https://www.reuters.com/business/sustainable-business/india-plans-green-hydrogen-incentives-least-10-cost-source-2023-04-05/" TargetMode="External"/><Relationship Id="rId31" Type="http://schemas.openxmlformats.org/officeDocument/2006/relationships/image" Target="../media/image16.png"/><Relationship Id="rId4" Type="http://schemas.openxmlformats.org/officeDocument/2006/relationships/tags" Target="../tags/tag620.xml"/><Relationship Id="rId9" Type="http://schemas.openxmlformats.org/officeDocument/2006/relationships/tags" Target="../tags/tag625.xml"/><Relationship Id="rId14" Type="http://schemas.openxmlformats.org/officeDocument/2006/relationships/hyperlink" Target="https://energynews.pro/en/argentina-a-bill-to-encourage-the-production-of-green-hydrogen/" TargetMode="External"/><Relationship Id="rId22" Type="http://schemas.openxmlformats.org/officeDocument/2006/relationships/hyperlink" Target="https://grjapan.com/sites/default/files/content/articles/files/gr_japan_overview_of_gx_plans_january_2023.pdf" TargetMode="External"/><Relationship Id="rId27" Type="http://schemas.openxmlformats.org/officeDocument/2006/relationships/hyperlink" Target="https://www.reuters.com/business/energy/japan-invest-107-bln-hydrogen-supply-over-15-years-2023-06-06/" TargetMode="External"/><Relationship Id="rId30" Type="http://schemas.openxmlformats.org/officeDocument/2006/relationships/image" Target="../media/image20.png"/></Relationships>
</file>

<file path=ppt/slides/_rels/slide25.xml.rels><?xml version="1.0" encoding="UTF-8" standalone="yes"?>
<Relationships xmlns="http://schemas.openxmlformats.org/package/2006/relationships"><Relationship Id="rId8" Type="http://schemas.openxmlformats.org/officeDocument/2006/relationships/tags" Target="../tags/tag633.xml"/><Relationship Id="rId13" Type="http://schemas.openxmlformats.org/officeDocument/2006/relationships/oleObject" Target="../embeddings/oleObject92.bin"/><Relationship Id="rId18" Type="http://schemas.openxmlformats.org/officeDocument/2006/relationships/hyperlink" Target="https://www.reuters.com/world/us/new-us-rules-seek-curb-leaks-oil-gas-drilling-public-lands-2024-03-27/" TargetMode="External"/><Relationship Id="rId26" Type="http://schemas.openxmlformats.org/officeDocument/2006/relationships/hyperlink" Target="https://www.spglobal.com/commodity-insights/en/news-research/latest-news/energy-transition/111224-cop29-saudi-arabia-launches-carbon-credit-exchange-to-bolster-decarbonization-efforts" TargetMode="External"/><Relationship Id="rId3" Type="http://schemas.openxmlformats.org/officeDocument/2006/relationships/tags" Target="../tags/tag628.xml"/><Relationship Id="rId21" Type="http://schemas.openxmlformats.org/officeDocument/2006/relationships/hyperlink" Target="https://www.spglobal.com/commodityinsights/en/market-insights/latest-news/energy-transition/072822-vietnam-approves-national-climate-change-strategy-to-2050-to-meet-net-zero-pledge" TargetMode="External"/><Relationship Id="rId7" Type="http://schemas.openxmlformats.org/officeDocument/2006/relationships/tags" Target="../tags/tag632.xml"/><Relationship Id="rId12" Type="http://schemas.openxmlformats.org/officeDocument/2006/relationships/slideLayout" Target="../slideLayouts/slideLayout6.xml"/><Relationship Id="rId17" Type="http://schemas.openxmlformats.org/officeDocument/2006/relationships/hyperlink" Target="https://www.gasworld.com/story/us-government-unveils-the-nations-first-national-clean-hydrogen-strategy-and-roadmap/2123817.article/#:~:text=The%20Biden%2DHarris%20Administration%20has,emissions%20within%20the%20same%20year." TargetMode="External"/><Relationship Id="rId25" Type="http://schemas.openxmlformats.org/officeDocument/2006/relationships/hyperlink" Target="https://www.agbi.com/articles/8-5bn-funding-deals-signed-for-saudi-green-hydrogen-project/" TargetMode="External"/><Relationship Id="rId33" Type="http://schemas.openxmlformats.org/officeDocument/2006/relationships/image" Target="../media/image30.png"/><Relationship Id="rId2" Type="http://schemas.openxmlformats.org/officeDocument/2006/relationships/tags" Target="../tags/tag627.xml"/><Relationship Id="rId16" Type="http://schemas.openxmlformats.org/officeDocument/2006/relationships/hyperlink" Target="https://www.hydrogen.energy.gov/pdfs/us-national-clean-hydrogen-strategy-roadmap.pdf" TargetMode="External"/><Relationship Id="rId20" Type="http://schemas.openxmlformats.org/officeDocument/2006/relationships/hyperlink" Target="https://canalsolar.com.br/en/marco-legal-hidrogenio-verde-segue-senado-federal/" TargetMode="External"/><Relationship Id="rId29" Type="http://schemas.openxmlformats.org/officeDocument/2006/relationships/image" Target="../media/image21.png"/><Relationship Id="rId1" Type="http://schemas.openxmlformats.org/officeDocument/2006/relationships/tags" Target="../tags/tag626.xml"/><Relationship Id="rId6" Type="http://schemas.openxmlformats.org/officeDocument/2006/relationships/tags" Target="../tags/tag631.xml"/><Relationship Id="rId11" Type="http://schemas.openxmlformats.org/officeDocument/2006/relationships/tags" Target="../tags/tag636.xml"/><Relationship Id="rId24" Type="http://schemas.openxmlformats.org/officeDocument/2006/relationships/hyperlink" Target="https://time.com/6110199/saudi-arabia-carbon-capture-fund/" TargetMode="External"/><Relationship Id="rId32" Type="http://schemas.openxmlformats.org/officeDocument/2006/relationships/image" Target="../media/image27.png"/><Relationship Id="rId5" Type="http://schemas.openxmlformats.org/officeDocument/2006/relationships/tags" Target="../tags/tag630.xml"/><Relationship Id="rId15" Type="http://schemas.openxmlformats.org/officeDocument/2006/relationships/hyperlink" Target="https://www.bbc.co.uk/news/business-68667140" TargetMode="External"/><Relationship Id="rId23" Type="http://schemas.openxmlformats.org/officeDocument/2006/relationships/hyperlink" Target="https://icapcarbonaction.com/en/ets-pdf-download/66" TargetMode="External"/><Relationship Id="rId28" Type="http://schemas.openxmlformats.org/officeDocument/2006/relationships/image" Target="../media/image29.png"/><Relationship Id="rId10" Type="http://schemas.openxmlformats.org/officeDocument/2006/relationships/tags" Target="../tags/tag635.xml"/><Relationship Id="rId19" Type="http://schemas.openxmlformats.org/officeDocument/2006/relationships/hyperlink" Target="https://www.gov.br/fazenda/pt-br/acesso-a-informacao/acoes-e-programas/transformacao-ecologica/english-version/news/brazilian-congress-approves-law-establishing-the-brazilian-emissions-trading-system" TargetMode="External"/><Relationship Id="rId31" Type="http://schemas.openxmlformats.org/officeDocument/2006/relationships/image" Target="../media/image24.png"/><Relationship Id="rId4" Type="http://schemas.openxmlformats.org/officeDocument/2006/relationships/tags" Target="../tags/tag629.xml"/><Relationship Id="rId9" Type="http://schemas.openxmlformats.org/officeDocument/2006/relationships/tags" Target="../tags/tag634.xml"/><Relationship Id="rId14" Type="http://schemas.openxmlformats.org/officeDocument/2006/relationships/image" Target="../media/image11.emf"/><Relationship Id="rId22" Type="http://schemas.openxmlformats.org/officeDocument/2006/relationships/hyperlink" Target="https://www.hydrogeninsight.com/policy/green-hydrogen-targets-and-incentives-turkey-unveils-new-national-h2-strategy-and-roadmap/2-1-1391439" TargetMode="External"/><Relationship Id="rId27" Type="http://schemas.openxmlformats.org/officeDocument/2006/relationships/image" Target="../media/image28.png"/><Relationship Id="rId30" Type="http://schemas.openxmlformats.org/officeDocument/2006/relationships/image" Target="../media/image31.png"/></Relationships>
</file>

<file path=ppt/slides/_rels/slide26.xml.rels><?xml version="1.0" encoding="UTF-8" standalone="yes"?>
<Relationships xmlns="http://schemas.openxmlformats.org/package/2006/relationships"><Relationship Id="rId8" Type="http://schemas.openxmlformats.org/officeDocument/2006/relationships/tags" Target="../tags/tag644.xml"/><Relationship Id="rId13" Type="http://schemas.openxmlformats.org/officeDocument/2006/relationships/hyperlink" Target="https://enviliance.com/regions/east-asia/cn/report_6150" TargetMode="External"/><Relationship Id="rId18" Type="http://schemas.openxmlformats.org/officeDocument/2006/relationships/hyperlink" Target="https://www.investkorea.org/ik-en/bbs/i-465/detail.do?ntt_sn=491588" TargetMode="External"/><Relationship Id="rId3" Type="http://schemas.openxmlformats.org/officeDocument/2006/relationships/tags" Target="../tags/tag639.xml"/><Relationship Id="rId21" Type="http://schemas.openxmlformats.org/officeDocument/2006/relationships/image" Target="../media/image26.png"/><Relationship Id="rId7" Type="http://schemas.openxmlformats.org/officeDocument/2006/relationships/tags" Target="../tags/tag643.xml"/><Relationship Id="rId12" Type="http://schemas.openxmlformats.org/officeDocument/2006/relationships/hyperlink" Target="https://www.scmp.com/business/china-business/article/3187317/china-releases-plan-guide-carbon-intensive-industries-reach" TargetMode="External"/><Relationship Id="rId17" Type="http://schemas.openxmlformats.org/officeDocument/2006/relationships/hyperlink" Target="https://www.argusmedia.com/en/news/2389672-south-korea-outlines-hydrogen-roadmap-to-boost-industry" TargetMode="External"/><Relationship Id="rId2" Type="http://schemas.openxmlformats.org/officeDocument/2006/relationships/tags" Target="../tags/tag638.xml"/><Relationship Id="rId16" Type="http://schemas.openxmlformats.org/officeDocument/2006/relationships/hyperlink" Target="https://www.scmp.com/business/article/3266035/china-sets-targets-slash-carbon-emissions-steel-oil-refining-ammonia-and-cement" TargetMode="External"/><Relationship Id="rId20" Type="http://schemas.openxmlformats.org/officeDocument/2006/relationships/hyperlink" Target="https://energynews.biz/mexican-senator-proposes-green-hydrogen-bill-to-promote-renewable-energy/" TargetMode="External"/><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image" Target="../media/image11.emf"/><Relationship Id="rId24" Type="http://schemas.openxmlformats.org/officeDocument/2006/relationships/image" Target="../media/image19.png"/><Relationship Id="rId5" Type="http://schemas.openxmlformats.org/officeDocument/2006/relationships/tags" Target="../tags/tag641.xml"/><Relationship Id="rId15" Type="http://schemas.openxmlformats.org/officeDocument/2006/relationships/hyperlink" Target="https://carbon-pulse.com/198743/" TargetMode="External"/><Relationship Id="rId23" Type="http://schemas.openxmlformats.org/officeDocument/2006/relationships/image" Target="../media/image25.png"/><Relationship Id="rId10" Type="http://schemas.openxmlformats.org/officeDocument/2006/relationships/oleObject" Target="../embeddings/oleObject93.bin"/><Relationship Id="rId19" Type="http://schemas.openxmlformats.org/officeDocument/2006/relationships/hyperlink" Target="https://www.stateofthenation.gov.za/assets/downloads/climate/South%20Africa%20JET%20IP%202023-2027%20At-a-Glance.pdf" TargetMode="External"/><Relationship Id="rId4" Type="http://schemas.openxmlformats.org/officeDocument/2006/relationships/tags" Target="../tags/tag640.xml"/><Relationship Id="rId9" Type="http://schemas.openxmlformats.org/officeDocument/2006/relationships/slideLayout" Target="../slideLayouts/slideLayout6.xml"/><Relationship Id="rId14" Type="http://schemas.openxmlformats.org/officeDocument/2006/relationships/hyperlink" Target="https://www.enerdata.net/publications/daily-energy-news/south-korea-lowers-ghg-reduction-target-industry-114-2030.html#:~:text=South%20Korea%20will%20lower%20the,originally%20set%20in%202021)%2C%20according" TargetMode="External"/><Relationship Id="rId22" Type="http://schemas.openxmlformats.org/officeDocument/2006/relationships/image" Target="../media/image18.png"/></Relationships>
</file>

<file path=ppt/slides/_rels/slide27.xml.rels><?xml version="1.0" encoding="UTF-8" standalone="yes"?>
<Relationships xmlns="http://schemas.openxmlformats.org/package/2006/relationships"><Relationship Id="rId8" Type="http://schemas.openxmlformats.org/officeDocument/2006/relationships/tags" Target="../tags/tag652.xml"/><Relationship Id="rId13" Type="http://schemas.openxmlformats.org/officeDocument/2006/relationships/image" Target="../media/image13.png"/><Relationship Id="rId18" Type="http://schemas.openxmlformats.org/officeDocument/2006/relationships/hyperlink" Target="https://www.usda.gov/about-usda/news/press-releases/2024/10/23/usda-invests-15-billion-92-partnership-projects-advance-conservation-and-climate-smart-agriculture" TargetMode="External"/><Relationship Id="rId3" Type="http://schemas.openxmlformats.org/officeDocument/2006/relationships/tags" Target="../tags/tag647.xml"/><Relationship Id="rId21" Type="http://schemas.openxmlformats.org/officeDocument/2006/relationships/hyperlink" Target="https://environment.ec.europa.eu/news/nutrients-commission-seeks-views-better-management-2022-06-03_en" TargetMode="External"/><Relationship Id="rId7" Type="http://schemas.openxmlformats.org/officeDocument/2006/relationships/tags" Target="../tags/tag651.xml"/><Relationship Id="rId12" Type="http://schemas.openxmlformats.org/officeDocument/2006/relationships/image" Target="../media/image12.png"/><Relationship Id="rId17" Type="http://schemas.openxmlformats.org/officeDocument/2006/relationships/image" Target="../media/image14.png"/><Relationship Id="rId2" Type="http://schemas.openxmlformats.org/officeDocument/2006/relationships/tags" Target="../tags/tag646.xml"/><Relationship Id="rId16" Type="http://schemas.openxmlformats.org/officeDocument/2006/relationships/image" Target="../media/image17.png"/><Relationship Id="rId20" Type="http://schemas.openxmlformats.org/officeDocument/2006/relationships/hyperlink" Target="https://www.climatechangeauthority.gov.au/sites/default/files/2020-06/CFI%202017%20August/Fact%20Sheet.pdf" TargetMode="External"/><Relationship Id="rId1" Type="http://schemas.openxmlformats.org/officeDocument/2006/relationships/tags" Target="../tags/tag645.xml"/><Relationship Id="rId6" Type="http://schemas.openxmlformats.org/officeDocument/2006/relationships/tags" Target="../tags/tag650.xml"/><Relationship Id="rId11" Type="http://schemas.openxmlformats.org/officeDocument/2006/relationships/image" Target="../media/image11.emf"/><Relationship Id="rId24" Type="http://schemas.openxmlformats.org/officeDocument/2006/relationships/hyperlink" Target="https://en.acatech.de/allgemein/reducing-nitrogen-surplus-in-agriculture/" TargetMode="External"/><Relationship Id="rId5" Type="http://schemas.openxmlformats.org/officeDocument/2006/relationships/tags" Target="../tags/tag649.xml"/><Relationship Id="rId15" Type="http://schemas.openxmlformats.org/officeDocument/2006/relationships/image" Target="../media/image15.png"/><Relationship Id="rId23" Type="http://schemas.openxmlformats.org/officeDocument/2006/relationships/hyperlink" Target="https://www.bmel.de/EN/topics/farming/climate-stewardship/agriculture-climate-change-mitigation.html" TargetMode="External"/><Relationship Id="rId10" Type="http://schemas.openxmlformats.org/officeDocument/2006/relationships/oleObject" Target="../embeddings/oleObject94.bin"/><Relationship Id="rId19" Type="http://schemas.openxmlformats.org/officeDocument/2006/relationships/hyperlink" Target="https://www.reuters.com/world/us/us-house-committee-advances-farm-bill-draft-with-little-support-democrats-2024-05-24/" TargetMode="External"/><Relationship Id="rId4" Type="http://schemas.openxmlformats.org/officeDocument/2006/relationships/tags" Target="../tags/tag648.xml"/><Relationship Id="rId9" Type="http://schemas.openxmlformats.org/officeDocument/2006/relationships/slideLayout" Target="../slideLayouts/slideLayout6.xml"/><Relationship Id="rId14" Type="http://schemas.openxmlformats.org/officeDocument/2006/relationships/image" Target="../media/image24.png"/><Relationship Id="rId22" Type="http://schemas.openxmlformats.org/officeDocument/2006/relationships/hyperlink" Target="https://food.ec.europa.eu/horizontal-topics/farm-fork-strategy/legislative-framework_en" TargetMode="External"/></Relationships>
</file>

<file path=ppt/slides/_rels/slide28.xml.rels><?xml version="1.0" encoding="UTF-8" standalone="yes"?>
<Relationships xmlns="http://schemas.openxmlformats.org/package/2006/relationships"><Relationship Id="rId8" Type="http://schemas.openxmlformats.org/officeDocument/2006/relationships/tags" Target="../tags/tag660.xml"/><Relationship Id="rId13" Type="http://schemas.openxmlformats.org/officeDocument/2006/relationships/hyperlink" Target="https://www.maff.go.jp/e/policies/env/sustainagri/directpay.html" TargetMode="External"/><Relationship Id="rId18" Type="http://schemas.openxmlformats.org/officeDocument/2006/relationships/hyperlink" Target="https://www.iisd.org/articles/policy-analysis/low-carbon-agriculture-brazil?utm_source=chatgpt.com" TargetMode="External"/><Relationship Id="rId3" Type="http://schemas.openxmlformats.org/officeDocument/2006/relationships/tags" Target="../tags/tag655.xml"/><Relationship Id="rId21" Type="http://schemas.openxmlformats.org/officeDocument/2006/relationships/image" Target="../media/image31.png"/><Relationship Id="rId7" Type="http://schemas.openxmlformats.org/officeDocument/2006/relationships/tags" Target="../tags/tag659.xml"/><Relationship Id="rId12" Type="http://schemas.openxmlformats.org/officeDocument/2006/relationships/hyperlink" Target="https://www.fas.usda.gov/data/japan-japan-sets-new-2030-targets-green-food-system-strategy#:~:text=The%20Ministry%20of%20Agriculture%2C%20Forestry,in%20use%20of%20chemical%20pesticides" TargetMode="External"/><Relationship Id="rId17" Type="http://schemas.openxmlformats.org/officeDocument/2006/relationships/hyperlink" Target="https://www.gov.br/en/government-of-brazil/latest-news/2022/brazil-is-reducing-greenhouse-gas-emissions-in-agribusiness" TargetMode="External"/><Relationship Id="rId2" Type="http://schemas.openxmlformats.org/officeDocument/2006/relationships/tags" Target="../tags/tag654.xml"/><Relationship Id="rId16" Type="http://schemas.openxmlformats.org/officeDocument/2006/relationships/hyperlink" Target="https://forourclimate.org/newsroom/632" TargetMode="External"/><Relationship Id="rId20" Type="http://schemas.openxmlformats.org/officeDocument/2006/relationships/image" Target="../media/image23.png"/><Relationship Id="rId1" Type="http://schemas.openxmlformats.org/officeDocument/2006/relationships/tags" Target="../tags/tag653.xml"/><Relationship Id="rId6" Type="http://schemas.openxmlformats.org/officeDocument/2006/relationships/tags" Target="../tags/tag658.xml"/><Relationship Id="rId11" Type="http://schemas.openxmlformats.org/officeDocument/2006/relationships/image" Target="../media/image11.emf"/><Relationship Id="rId5" Type="http://schemas.openxmlformats.org/officeDocument/2006/relationships/tags" Target="../tags/tag657.xml"/><Relationship Id="rId15" Type="http://schemas.openxmlformats.org/officeDocument/2006/relationships/hyperlink" Target="https://vietnamnews.vn/economy/talking-shop/1662353/viet-nam-and-brazil-forge-sustainable-path-in-agricultural-sector.html" TargetMode="External"/><Relationship Id="rId10" Type="http://schemas.openxmlformats.org/officeDocument/2006/relationships/oleObject" Target="../embeddings/oleObject95.bin"/><Relationship Id="rId19" Type="http://schemas.openxmlformats.org/officeDocument/2006/relationships/image" Target="../media/image18.png"/><Relationship Id="rId4" Type="http://schemas.openxmlformats.org/officeDocument/2006/relationships/tags" Target="../tags/tag656.xml"/><Relationship Id="rId9" Type="http://schemas.openxmlformats.org/officeDocument/2006/relationships/slideLayout" Target="../slideLayouts/slideLayout6.xml"/><Relationship Id="rId14" Type="http://schemas.openxmlformats.org/officeDocument/2006/relationships/hyperlink" Target="https://www.spglobal.com/commodity-insights/en/news-research/latest-news/energy-transition/072822-vietnam-approves-national-climate-change-strategy-to-2050-to-meet-net-zero-pledge" TargetMode="External"/><Relationship Id="rId22" Type="http://schemas.openxmlformats.org/officeDocument/2006/relationships/image" Target="../media/image21.png"/></Relationships>
</file>

<file path=ppt/slides/_rels/slide29.xml.rels><?xml version="1.0" encoding="UTF-8" standalone="yes"?>
<Relationships xmlns="http://schemas.openxmlformats.org/package/2006/relationships"><Relationship Id="rId8" Type="http://schemas.openxmlformats.org/officeDocument/2006/relationships/tags" Target="../tags/tag668.xml"/><Relationship Id="rId13" Type="http://schemas.openxmlformats.org/officeDocument/2006/relationships/hyperlink" Target="https://www.gov.uk/government/publications/environmental-land-management-schemes-outcomes" TargetMode="External"/><Relationship Id="rId18" Type="http://schemas.openxmlformats.org/officeDocument/2006/relationships/hyperlink" Target="https://www.worldbank.org/en/news/press-release/2023/04/28/new-program-promotes-green-agriculture-and-rural-development-in-china" TargetMode="External"/><Relationship Id="rId26" Type="http://schemas.openxmlformats.org/officeDocument/2006/relationships/image" Target="../media/image19.png"/><Relationship Id="rId3" Type="http://schemas.openxmlformats.org/officeDocument/2006/relationships/tags" Target="../tags/tag663.xml"/><Relationship Id="rId21" Type="http://schemas.openxmlformats.org/officeDocument/2006/relationships/hyperlink" Target="https://icapcarbonaction.com/en/news/india-adopts-regulations-planned-compliance-carbon-market" TargetMode="External"/><Relationship Id="rId7" Type="http://schemas.openxmlformats.org/officeDocument/2006/relationships/tags" Target="../tags/tag667.xml"/><Relationship Id="rId12" Type="http://schemas.openxmlformats.org/officeDocument/2006/relationships/image" Target="../media/image11.emf"/><Relationship Id="rId17" Type="http://schemas.openxmlformats.org/officeDocument/2006/relationships/hyperlink" Target="https://www.climatechangenews.com/2022/11/10/cop27-bulletin-could-polluter-taxes-fund-loss-and-damage/" TargetMode="External"/><Relationship Id="rId25" Type="http://schemas.openxmlformats.org/officeDocument/2006/relationships/image" Target="../media/image27.png"/><Relationship Id="rId2" Type="http://schemas.openxmlformats.org/officeDocument/2006/relationships/tags" Target="../tags/tag662.xml"/><Relationship Id="rId16" Type="http://schemas.openxmlformats.org/officeDocument/2006/relationships/hyperlink" Target="https://www.gov.uk/government/publications/agricultural-transition-plan-2021-to-2024/agricultural-transition-plan-update-january-2024" TargetMode="External"/><Relationship Id="rId20" Type="http://schemas.openxmlformats.org/officeDocument/2006/relationships/hyperlink" Target="https://iklim.gov.tr/en/the-2024-2030-climate-change-mitigation-and-adaptation-strategy-and-action-plans-are-published-news-4245?utm_source=chatgpt.com" TargetMode="External"/><Relationship Id="rId1" Type="http://schemas.openxmlformats.org/officeDocument/2006/relationships/tags" Target="../tags/tag661.xml"/><Relationship Id="rId6" Type="http://schemas.openxmlformats.org/officeDocument/2006/relationships/tags" Target="../tags/tag666.xml"/><Relationship Id="rId11" Type="http://schemas.openxmlformats.org/officeDocument/2006/relationships/oleObject" Target="../embeddings/oleObject96.bin"/><Relationship Id="rId24" Type="http://schemas.openxmlformats.org/officeDocument/2006/relationships/image" Target="../media/image25.png"/><Relationship Id="rId5" Type="http://schemas.openxmlformats.org/officeDocument/2006/relationships/tags" Target="../tags/tag665.xml"/><Relationship Id="rId15" Type="http://schemas.openxmlformats.org/officeDocument/2006/relationships/hyperlink" Target="https://www.gov.uk/guidance/funding-for-farmers" TargetMode="External"/><Relationship Id="rId23" Type="http://schemas.openxmlformats.org/officeDocument/2006/relationships/image" Target="../media/image22.png"/><Relationship Id="rId10" Type="http://schemas.openxmlformats.org/officeDocument/2006/relationships/slideLayout" Target="../slideLayouts/slideLayout6.xml"/><Relationship Id="rId19" Type="http://schemas.openxmlformats.org/officeDocument/2006/relationships/hyperlink" Target="https://www.iea.org/policies/16937-carbon-tax" TargetMode="External"/><Relationship Id="rId4" Type="http://schemas.openxmlformats.org/officeDocument/2006/relationships/tags" Target="../tags/tag664.xml"/><Relationship Id="rId9" Type="http://schemas.openxmlformats.org/officeDocument/2006/relationships/tags" Target="../tags/tag669.xml"/><Relationship Id="rId14" Type="http://schemas.openxmlformats.org/officeDocument/2006/relationships/hyperlink" Target="https://www.gov.uk/government/publications/environmental-land-management-update-how-government-will-pay-for-land-based-environment-and-climate-goods-and-services/environmental-land-management-elm-update-how-government-will-pay-for-land-based-environment-and-climate-goods-and-services" TargetMode="External"/><Relationship Id="rId22" Type="http://schemas.openxmlformats.org/officeDocument/2006/relationships/hyperlink" Target="https://epaper.dawn.com/DetailImage.php?StoryImage=14_06_2024_002_004" TargetMode="External"/><Relationship Id="rId27"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tags" Target="../tags/tag395.xml"/><Relationship Id="rId13" Type="http://schemas.openxmlformats.org/officeDocument/2006/relationships/oleObject" Target="../embeddings/oleObject73.bin"/><Relationship Id="rId18" Type="http://schemas.openxmlformats.org/officeDocument/2006/relationships/hyperlink" Target="https://www.gov.uk/government/news/end-to-coal-power-brought-forward-to-october-2024" TargetMode="External"/><Relationship Id="rId26" Type="http://schemas.openxmlformats.org/officeDocument/2006/relationships/hyperlink" Target="https://www.reuters.com/markets/commodities/japan-says-aims-cut-ratio-coal-power-generation-much-possible-2022-05-27/" TargetMode="External"/><Relationship Id="rId3" Type="http://schemas.openxmlformats.org/officeDocument/2006/relationships/tags" Target="../tags/tag390.xml"/><Relationship Id="rId21" Type="http://schemas.openxmlformats.org/officeDocument/2006/relationships/hyperlink" Target="https://www.epa.gov/system/files/documents/2023-05/FS-OVERVIEW-GHG-for%20Power%20Plants%20FINAL%20CLEAN.pdf" TargetMode="External"/><Relationship Id="rId7" Type="http://schemas.openxmlformats.org/officeDocument/2006/relationships/tags" Target="../tags/tag394.xml"/><Relationship Id="rId12" Type="http://schemas.openxmlformats.org/officeDocument/2006/relationships/slideLayout" Target="../slideLayouts/slideLayout6.xml"/><Relationship Id="rId17" Type="http://schemas.openxmlformats.org/officeDocument/2006/relationships/hyperlink" Target="https://unfccc.int/sites/default/files/2024-11/Brazil_Second%20Nationally%20Determined%20Contribution%20%28NDC%29_November2024.pdf" TargetMode="External"/><Relationship Id="rId25" Type="http://schemas.openxmlformats.org/officeDocument/2006/relationships/hyperlink" Target="https://www.bloomberg.com/news/articles/2024-08-02/china-to-start-setting-hard-targets-for-cutting-carbon-emissions?embedded-checkout=true" TargetMode="External"/><Relationship Id="rId33" Type="http://schemas.openxmlformats.org/officeDocument/2006/relationships/image" Target="../media/image25.png"/><Relationship Id="rId2" Type="http://schemas.openxmlformats.org/officeDocument/2006/relationships/tags" Target="../tags/tag389.xml"/><Relationship Id="rId16" Type="http://schemas.openxmlformats.org/officeDocument/2006/relationships/hyperlink" Target="https://climateactiontracker.org/countries/argentina/targets/" TargetMode="External"/><Relationship Id="rId20" Type="http://schemas.openxmlformats.org/officeDocument/2006/relationships/hyperlink" Target="https://assets.publishing.service.gov.uk/media/6697f5c10808eaf43b50d18e/The_King_s_Speech_2024_background_briefing_notes.pdf" TargetMode="External"/><Relationship Id="rId29" Type="http://schemas.openxmlformats.org/officeDocument/2006/relationships/image" Target="../media/image21.png"/><Relationship Id="rId1" Type="http://schemas.openxmlformats.org/officeDocument/2006/relationships/tags" Target="../tags/tag388.xml"/><Relationship Id="rId6" Type="http://schemas.openxmlformats.org/officeDocument/2006/relationships/tags" Target="../tags/tag393.xml"/><Relationship Id="rId11" Type="http://schemas.openxmlformats.org/officeDocument/2006/relationships/tags" Target="../tags/tag398.xml"/><Relationship Id="rId24" Type="http://schemas.openxmlformats.org/officeDocument/2006/relationships/hyperlink" Target="https://www.reuters.com/sustainability/climate-energy/china-issue-70-national-standards-carbon-footprint-carbon-capture-2024-2024-08-08/" TargetMode="External"/><Relationship Id="rId32" Type="http://schemas.openxmlformats.org/officeDocument/2006/relationships/image" Target="../media/image24.png"/><Relationship Id="rId5" Type="http://schemas.openxmlformats.org/officeDocument/2006/relationships/tags" Target="../tags/tag392.xml"/><Relationship Id="rId15" Type="http://schemas.openxmlformats.org/officeDocument/2006/relationships/hyperlink" Target="https://www.bloomberg.com/news/articles/2024-11-21/cop29-mexico-and-eu-vow-steep-emissions-cuts-in-nudge-to-other-nations" TargetMode="External"/><Relationship Id="rId23" Type="http://schemas.openxmlformats.org/officeDocument/2006/relationships/hyperlink" Target="https://climatecooperation.cn/climate/china-released-the-14th-five-year-plan-for-a-modern-energy-system/" TargetMode="External"/><Relationship Id="rId28" Type="http://schemas.openxmlformats.org/officeDocument/2006/relationships/image" Target="../media/image20.png"/><Relationship Id="rId10" Type="http://schemas.openxmlformats.org/officeDocument/2006/relationships/tags" Target="../tags/tag397.xml"/><Relationship Id="rId19" Type="http://schemas.openxmlformats.org/officeDocument/2006/relationships/hyperlink" Target="https://www.reuters.com/sustainability/cop-29-uks-starmer-sets-out-new-2035-climate-goal-2024-11-12/" TargetMode="External"/><Relationship Id="rId31" Type="http://schemas.openxmlformats.org/officeDocument/2006/relationships/image" Target="../media/image23.png"/><Relationship Id="rId4" Type="http://schemas.openxmlformats.org/officeDocument/2006/relationships/tags" Target="../tags/tag391.xml"/><Relationship Id="rId9" Type="http://schemas.openxmlformats.org/officeDocument/2006/relationships/tags" Target="../tags/tag396.xml"/><Relationship Id="rId14" Type="http://schemas.openxmlformats.org/officeDocument/2006/relationships/image" Target="../media/image11.emf"/><Relationship Id="rId22" Type="http://schemas.openxmlformats.org/officeDocument/2006/relationships/hyperlink" Target="https://www.bloomberg.com/news/articles/2023-04-24/china-s-coal-power-building-plans-are-still-at-a-frenzied-pace?leadSource=uverify%20wall" TargetMode="External"/><Relationship Id="rId27" Type="http://schemas.openxmlformats.org/officeDocument/2006/relationships/image" Target="../media/image19.png"/><Relationship Id="rId30" Type="http://schemas.openxmlformats.org/officeDocument/2006/relationships/image" Target="../media/image22.png"/></Relationships>
</file>

<file path=ppt/slides/_rels/slide30.xml.rels><?xml version="1.0" encoding="UTF-8" standalone="yes"?>
<Relationships xmlns="http://schemas.openxmlformats.org/package/2006/relationships"><Relationship Id="rId8" Type="http://schemas.openxmlformats.org/officeDocument/2006/relationships/tags" Target="../tags/tag677.xml"/><Relationship Id="rId13" Type="http://schemas.openxmlformats.org/officeDocument/2006/relationships/image" Target="../media/image11.emf"/><Relationship Id="rId18" Type="http://schemas.openxmlformats.org/officeDocument/2006/relationships/hyperlink" Target="https://www.green.earth/news/russias-carbon-credit-methodologies-to-cut-emissions" TargetMode="External"/><Relationship Id="rId3" Type="http://schemas.openxmlformats.org/officeDocument/2006/relationships/tags" Target="../tags/tag672.xml"/><Relationship Id="rId21" Type="http://schemas.openxmlformats.org/officeDocument/2006/relationships/image" Target="../media/image20.png"/><Relationship Id="rId7" Type="http://schemas.openxmlformats.org/officeDocument/2006/relationships/tags" Target="../tags/tag676.xml"/><Relationship Id="rId12" Type="http://schemas.openxmlformats.org/officeDocument/2006/relationships/oleObject" Target="../embeddings/oleObject97.bin"/><Relationship Id="rId17" Type="http://schemas.openxmlformats.org/officeDocument/2006/relationships/hyperlink" Target="https://www.reuters.com/business/energy/indonesia-committed-introduce-b40-biodiesel-jan-1-says-minister-2024-11-29/?utm_source=chatgpt.com" TargetMode="External"/><Relationship Id="rId25" Type="http://schemas.openxmlformats.org/officeDocument/2006/relationships/image" Target="../media/image28.png"/><Relationship Id="rId2" Type="http://schemas.openxmlformats.org/officeDocument/2006/relationships/tags" Target="../tags/tag671.xml"/><Relationship Id="rId16" Type="http://schemas.openxmlformats.org/officeDocument/2006/relationships/hyperlink" Target="https://www.cips-indonesia.org/post/indonesia-s-net-zero-target-and-sustainable-agriculture-are-we-on-the-right-track#:~:text=The%20latest%20NDC%20sets%20greenhouse,compared%20to%20business%20as%20usual" TargetMode="External"/><Relationship Id="rId20" Type="http://schemas.openxmlformats.org/officeDocument/2006/relationships/image" Target="../media/image29.png"/><Relationship Id="rId1" Type="http://schemas.openxmlformats.org/officeDocument/2006/relationships/tags" Target="../tags/tag670.xml"/><Relationship Id="rId6" Type="http://schemas.openxmlformats.org/officeDocument/2006/relationships/tags" Target="../tags/tag675.xml"/><Relationship Id="rId11" Type="http://schemas.openxmlformats.org/officeDocument/2006/relationships/slideLayout" Target="../slideLayouts/slideLayout6.xml"/><Relationship Id="rId24" Type="http://schemas.openxmlformats.org/officeDocument/2006/relationships/image" Target="../media/image26.png"/><Relationship Id="rId5" Type="http://schemas.openxmlformats.org/officeDocument/2006/relationships/tags" Target="../tags/tag674.xml"/><Relationship Id="rId15" Type="http://schemas.openxmlformats.org/officeDocument/2006/relationships/hyperlink" Target="https://climateactiontracker.org/countries/nigeria/policies-action/" TargetMode="External"/><Relationship Id="rId23" Type="http://schemas.openxmlformats.org/officeDocument/2006/relationships/image" Target="../media/image32.png"/><Relationship Id="rId10" Type="http://schemas.openxmlformats.org/officeDocument/2006/relationships/tags" Target="../tags/tag679.xml"/><Relationship Id="rId19" Type="http://schemas.openxmlformats.org/officeDocument/2006/relationships/hyperlink" Target="https://www.edf.org/sites/default/files/south_africa_case_study.pdf?utm_source=chatgpt.com" TargetMode="External"/><Relationship Id="rId4" Type="http://schemas.openxmlformats.org/officeDocument/2006/relationships/tags" Target="../tags/tag673.xml"/><Relationship Id="rId9" Type="http://schemas.openxmlformats.org/officeDocument/2006/relationships/tags" Target="../tags/tag678.xml"/><Relationship Id="rId14" Type="http://schemas.openxmlformats.org/officeDocument/2006/relationships/hyperlink" Target="https://www.argusmedia.com/en/news-and-insights/latest-market-news/2525134-argentina-eyes-emissions-trading-system?utm_source=chatgpt.com" TargetMode="External"/><Relationship Id="rId22"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tags" Target="../tags/tag687.xml"/><Relationship Id="rId13" Type="http://schemas.openxmlformats.org/officeDocument/2006/relationships/tags" Target="../tags/tag692.xml"/><Relationship Id="rId18" Type="http://schemas.openxmlformats.org/officeDocument/2006/relationships/hyperlink" Target="https://www.dcceew.gov.au/sites/default/files/documents/20-million-trees-program-review.pdf" TargetMode="External"/><Relationship Id="rId26" Type="http://schemas.openxmlformats.org/officeDocument/2006/relationships/hyperlink" Target="https://unfccc.int/sites/default/files/resource/India_LTLEDS.pdf" TargetMode="External"/><Relationship Id="rId3" Type="http://schemas.openxmlformats.org/officeDocument/2006/relationships/tags" Target="../tags/tag682.xml"/><Relationship Id="rId21" Type="http://schemas.openxmlformats.org/officeDocument/2006/relationships/hyperlink" Target="https://www.newswire.ca/news-releases/2-billion-trees-program-announces-160-million-new-trees-and-nearly-triples-trees-committed-885133470.html" TargetMode="External"/><Relationship Id="rId34" Type="http://schemas.openxmlformats.org/officeDocument/2006/relationships/image" Target="../media/image17.png"/><Relationship Id="rId7" Type="http://schemas.openxmlformats.org/officeDocument/2006/relationships/tags" Target="../tags/tag686.xml"/><Relationship Id="rId12" Type="http://schemas.openxmlformats.org/officeDocument/2006/relationships/tags" Target="../tags/tag691.xml"/><Relationship Id="rId17" Type="http://schemas.openxmlformats.org/officeDocument/2006/relationships/hyperlink" Target="https://webarchive.nationalarchives.gov.uk/ukgwa/20230418175226/https:/ukcop26.org/glasgow-leaders-declaration-on-forests-and-land-use/" TargetMode="External"/><Relationship Id="rId25" Type="http://schemas.openxmlformats.org/officeDocument/2006/relationships/hyperlink" Target="https://www.bmel.de/SharedDocs/Pressemitteilungen/DE/2024/122-bundeswaldgesetz-laenderanhoerung.html#:~:text=Die%20Gesetzes%C3%A4nderung%20konzentriert%20sich%20auf,und%20schlanke%20L%C3%B6sung%20entwickeln%20k%C3%B6nnen" TargetMode="External"/><Relationship Id="rId33" Type="http://schemas.openxmlformats.org/officeDocument/2006/relationships/image" Target="../media/image16.png"/><Relationship Id="rId2" Type="http://schemas.openxmlformats.org/officeDocument/2006/relationships/tags" Target="../tags/tag681.xml"/><Relationship Id="rId16" Type="http://schemas.openxmlformats.org/officeDocument/2006/relationships/image" Target="../media/image11.emf"/><Relationship Id="rId20" Type="http://schemas.openxmlformats.org/officeDocument/2006/relationships/hyperlink" Target="https://www.canada.ca/en/campaign/natural-climate-solutions.html" TargetMode="External"/><Relationship Id="rId29" Type="http://schemas.openxmlformats.org/officeDocument/2006/relationships/image" Target="../media/image12.png"/><Relationship Id="rId1" Type="http://schemas.openxmlformats.org/officeDocument/2006/relationships/tags" Target="../tags/tag680.xml"/><Relationship Id="rId6" Type="http://schemas.openxmlformats.org/officeDocument/2006/relationships/tags" Target="../tags/tag685.xml"/><Relationship Id="rId11" Type="http://schemas.openxmlformats.org/officeDocument/2006/relationships/tags" Target="../tags/tag690.xml"/><Relationship Id="rId24" Type="http://schemas.openxmlformats.org/officeDocument/2006/relationships/hyperlink" Target="https://www.fao.org/faolex/results/details/en/c/LEX-FAOC211524/" TargetMode="External"/><Relationship Id="rId32" Type="http://schemas.openxmlformats.org/officeDocument/2006/relationships/image" Target="../media/image15.png"/><Relationship Id="rId5" Type="http://schemas.openxmlformats.org/officeDocument/2006/relationships/tags" Target="../tags/tag684.xml"/><Relationship Id="rId15" Type="http://schemas.openxmlformats.org/officeDocument/2006/relationships/oleObject" Target="../embeddings/oleObject98.bin"/><Relationship Id="rId23" Type="http://schemas.openxmlformats.org/officeDocument/2006/relationships/hyperlink" Target="https://www.green.earth/news/new-200-million-fund-targets-european-afforestation-and-biodiversity" TargetMode="External"/><Relationship Id="rId28" Type="http://schemas.openxmlformats.org/officeDocument/2006/relationships/hyperlink" Target="https://www.gov.za/sites/default/files/gcis_document/201409/a84-98.pdf" TargetMode="External"/><Relationship Id="rId36" Type="http://schemas.openxmlformats.org/officeDocument/2006/relationships/image" Target="../media/image26.png"/><Relationship Id="rId10" Type="http://schemas.openxmlformats.org/officeDocument/2006/relationships/tags" Target="../tags/tag689.xml"/><Relationship Id="rId19" Type="http://schemas.openxmlformats.org/officeDocument/2006/relationships/hyperlink" Target="https://www.canada.ca/en/environment-climate-change/services/environmental-funding/programs/nature-smart-climate-solutions-fund.html" TargetMode="External"/><Relationship Id="rId31" Type="http://schemas.openxmlformats.org/officeDocument/2006/relationships/image" Target="../media/image14.png"/><Relationship Id="rId4" Type="http://schemas.openxmlformats.org/officeDocument/2006/relationships/tags" Target="../tags/tag683.xml"/><Relationship Id="rId9" Type="http://schemas.openxmlformats.org/officeDocument/2006/relationships/tags" Target="../tags/tag688.xml"/><Relationship Id="rId14" Type="http://schemas.openxmlformats.org/officeDocument/2006/relationships/slideLayout" Target="../slideLayouts/slideLayout6.xml"/><Relationship Id="rId22" Type="http://schemas.openxmlformats.org/officeDocument/2006/relationships/hyperlink" Target="https://ec.europa.eu/commission/presscorner/detail/en/qanda_22_7159" TargetMode="External"/><Relationship Id="rId27" Type="http://schemas.openxmlformats.org/officeDocument/2006/relationships/hyperlink" Target="https://www.fao.org/faolex/results/details/en/c/LEX-FAOC193471/" TargetMode="External"/><Relationship Id="rId30" Type="http://schemas.openxmlformats.org/officeDocument/2006/relationships/image" Target="../media/image13.png"/><Relationship Id="rId35" Type="http://schemas.openxmlformats.org/officeDocument/2006/relationships/image" Target="../media/image18.png"/></Relationships>
</file>

<file path=ppt/slides/_rels/slide32.xml.rels><?xml version="1.0" encoding="UTF-8" standalone="yes"?>
<Relationships xmlns="http://schemas.openxmlformats.org/package/2006/relationships"><Relationship Id="rId8" Type="http://schemas.openxmlformats.org/officeDocument/2006/relationships/tags" Target="../tags/tag700.xml"/><Relationship Id="rId13" Type="http://schemas.openxmlformats.org/officeDocument/2006/relationships/oleObject" Target="../embeddings/oleObject99.bin"/><Relationship Id="rId18" Type="http://schemas.openxmlformats.org/officeDocument/2006/relationships/hyperlink" Target="https://www.cbd.int/financial/mexico.shtml#:~:text=The%20program%2C%20which%20is%20administered,and%20the%20risk%20of%20deforestation." TargetMode="External"/><Relationship Id="rId26" Type="http://schemas.openxmlformats.org/officeDocument/2006/relationships/hyperlink" Target="https://www.reuters.com/world/americas/brazils-lula-launches-plan-stop-deforestation-amazon-by-2030-2023-06-05/" TargetMode="External"/><Relationship Id="rId3" Type="http://schemas.openxmlformats.org/officeDocument/2006/relationships/tags" Target="../tags/tag695.xml"/><Relationship Id="rId21" Type="http://schemas.openxmlformats.org/officeDocument/2006/relationships/hyperlink" Target="https://assets.publishing.service.gov.uk/government/uploads/system/uploads/attachment_data/file/987432/england-trees-action-plan.pdf" TargetMode="External"/><Relationship Id="rId34" Type="http://schemas.openxmlformats.org/officeDocument/2006/relationships/image" Target="../media/image21.png"/><Relationship Id="rId7" Type="http://schemas.openxmlformats.org/officeDocument/2006/relationships/tags" Target="../tags/tag699.xml"/><Relationship Id="rId12" Type="http://schemas.openxmlformats.org/officeDocument/2006/relationships/slideLayout" Target="../slideLayouts/slideLayout6.xml"/><Relationship Id="rId17" Type="http://schemas.openxmlformats.org/officeDocument/2006/relationships/hyperlink" Target="https://effectivecooperation.org/content/mexico-national-development-plan-2019-2024" TargetMode="External"/><Relationship Id="rId25" Type="http://schemas.openxmlformats.org/officeDocument/2006/relationships/hyperlink" Target="https://www.politico.com/news/2023/06/06/brazils-lula-lays-out-plan-to-halt-amazon-deforestation-00100342" TargetMode="External"/><Relationship Id="rId33" Type="http://schemas.openxmlformats.org/officeDocument/2006/relationships/image" Target="../media/image20.png"/><Relationship Id="rId38" Type="http://schemas.openxmlformats.org/officeDocument/2006/relationships/image" Target="../media/image26.png"/><Relationship Id="rId2" Type="http://schemas.openxmlformats.org/officeDocument/2006/relationships/tags" Target="../tags/tag694.xml"/><Relationship Id="rId16" Type="http://schemas.openxmlformats.org/officeDocument/2006/relationships/hyperlink" Target="https://unfccc.int/sites/default/files/NDC/2022-11/Mexico_NDC_UNFCCC_update2022_FINAL.pdf" TargetMode="External"/><Relationship Id="rId20" Type="http://schemas.openxmlformats.org/officeDocument/2006/relationships/hyperlink" Target="https://www.jdsupra.com/legalnews/argentine-reforestation-initiative-78245/" TargetMode="External"/><Relationship Id="rId29" Type="http://schemas.openxmlformats.org/officeDocument/2006/relationships/hyperlink" Target="https://webarchive.nationalarchives.gov.uk/ukgwa/20230418175226/https:/ukcop26.org/glasgow-leaders-declaration-on-forests-and-land-use/" TargetMode="External"/><Relationship Id="rId1" Type="http://schemas.openxmlformats.org/officeDocument/2006/relationships/tags" Target="../tags/tag693.xml"/><Relationship Id="rId6" Type="http://schemas.openxmlformats.org/officeDocument/2006/relationships/tags" Target="../tags/tag698.xml"/><Relationship Id="rId11" Type="http://schemas.openxmlformats.org/officeDocument/2006/relationships/tags" Target="../tags/tag703.xml"/><Relationship Id="rId24" Type="http://schemas.openxmlformats.org/officeDocument/2006/relationships/hyperlink" Target="https://www.bivica.org/files/5919_16_PLANAVEG_EN.pdf" TargetMode="External"/><Relationship Id="rId32" Type="http://schemas.openxmlformats.org/officeDocument/2006/relationships/image" Target="../media/image19.png"/><Relationship Id="rId37" Type="http://schemas.openxmlformats.org/officeDocument/2006/relationships/image" Target="../media/image25.png"/><Relationship Id="rId5" Type="http://schemas.openxmlformats.org/officeDocument/2006/relationships/tags" Target="../tags/tag697.xml"/><Relationship Id="rId15" Type="http://schemas.openxmlformats.org/officeDocument/2006/relationships/hyperlink" Target="https://www.usda.gov/media/press-releases/2022/07/25/biden-harris-administration-announces-plans-reforestation-climate#:~:text=The%20REPLANT%20Act%20directs%20the,every%20year%20to%20do%20so." TargetMode="External"/><Relationship Id="rId23" Type="http://schemas.openxmlformats.org/officeDocument/2006/relationships/hyperlink" Target="https://www.gov.br/planalto/en/latest-news/president-lula-highlights-brazil2019s-commitment-to-zero-deforestation-and-calls-for-action-by-developed-countries-during-climate-and-energy-forum#:~:text=In%20his%20speech%2C%20Lula%20highlighted,to%20combat%20global%20climate%20changes." TargetMode="External"/><Relationship Id="rId28" Type="http://schemas.openxmlformats.org/officeDocument/2006/relationships/hyperlink" Target="https://apnews.com/article/amazon-deforestation-cattle-jbs-nyse-brazil-76bd1fe0c0f3cd77f0e5a4be8e366ab5#:~:text=BRASILIA%2C%20Brazil%20(AP)%20%E2%80%94,Meat%202%2C%20launched%20last%20week." TargetMode="External"/><Relationship Id="rId36" Type="http://schemas.openxmlformats.org/officeDocument/2006/relationships/image" Target="../media/image24.png"/><Relationship Id="rId10" Type="http://schemas.openxmlformats.org/officeDocument/2006/relationships/tags" Target="../tags/tag702.xml"/><Relationship Id="rId19" Type="http://schemas.openxmlformats.org/officeDocument/2006/relationships/hyperlink" Target="https://www.un-redd.org/partner-countries/latin-america-and-caribbean/argentina#:~:text=The%20country%20also%20launched%20the,native%20forest%20restored%20by%202023." TargetMode="External"/><Relationship Id="rId31" Type="http://schemas.openxmlformats.org/officeDocument/2006/relationships/hyperlink" Target="https://english.www.gov.cn/statecouncil/ministries/202108/25/content_WS61258116c6d0df57f98df156.html" TargetMode="External"/><Relationship Id="rId4" Type="http://schemas.openxmlformats.org/officeDocument/2006/relationships/tags" Target="../tags/tag696.xml"/><Relationship Id="rId9" Type="http://schemas.openxmlformats.org/officeDocument/2006/relationships/tags" Target="../tags/tag701.xml"/><Relationship Id="rId14" Type="http://schemas.openxmlformats.org/officeDocument/2006/relationships/image" Target="../media/image11.emf"/><Relationship Id="rId22" Type="http://schemas.openxmlformats.org/officeDocument/2006/relationships/hyperlink" Target="https://www.gov.uk/government/news/government-launches-treeplantingtaskforce-to-oversee-planting-of-millions-of-trees-across-our-four-nations" TargetMode="External"/><Relationship Id="rId27" Type="http://schemas.openxmlformats.org/officeDocument/2006/relationships/hyperlink" Target="https://happyeconews.com/10-billion-brazilian-forest-restoration/" TargetMode="External"/><Relationship Id="rId30" Type="http://schemas.openxmlformats.org/officeDocument/2006/relationships/hyperlink" Target="https://unfccc.int/sites/default/files/resource/China%E2%80%99s%20Mid-Century%20Long-Term%20Low%20Greenhouse%20Gas%20Emission%20Development%20Strategy.pdf" TargetMode="External"/><Relationship Id="rId35" Type="http://schemas.openxmlformats.org/officeDocument/2006/relationships/image" Target="../media/image22.png"/></Relationships>
</file>

<file path=ppt/slides/_rels/slide33.xml.rels><?xml version="1.0" encoding="UTF-8" standalone="yes"?>
<Relationships xmlns="http://schemas.openxmlformats.org/package/2006/relationships"><Relationship Id="rId8" Type="http://schemas.openxmlformats.org/officeDocument/2006/relationships/tags" Target="../tags/tag711.xml"/><Relationship Id="rId13" Type="http://schemas.openxmlformats.org/officeDocument/2006/relationships/slideLayout" Target="../slideLayouts/slideLayout6.xml"/><Relationship Id="rId18" Type="http://schemas.openxmlformats.org/officeDocument/2006/relationships/hyperlink" Target="https://faolex.fao.org/docs/pdf/tur175972.pdf" TargetMode="External"/><Relationship Id="rId26" Type="http://schemas.openxmlformats.org/officeDocument/2006/relationships/hyperlink" Target="https://www.theguardian.com/world/2021/nov/05/indonesia-says-cop26-zero-deforestation-pledge-it-signed-unfair" TargetMode="External"/><Relationship Id="rId3" Type="http://schemas.openxmlformats.org/officeDocument/2006/relationships/tags" Target="../tags/tag706.xml"/><Relationship Id="rId21" Type="http://schemas.openxmlformats.org/officeDocument/2006/relationships/hyperlink" Target="https://www.fas.usda.gov/data/vietnam-vietnam-issues-national-strategy-climate-change-2050-and-action-plan-methane-emissions" TargetMode="External"/><Relationship Id="rId34" Type="http://schemas.openxmlformats.org/officeDocument/2006/relationships/image" Target="../media/image31.png"/><Relationship Id="rId7" Type="http://schemas.openxmlformats.org/officeDocument/2006/relationships/tags" Target="../tags/tag710.xml"/><Relationship Id="rId12" Type="http://schemas.openxmlformats.org/officeDocument/2006/relationships/tags" Target="../tags/tag715.xml"/><Relationship Id="rId17" Type="http://schemas.openxmlformats.org/officeDocument/2006/relationships/hyperlink" Target="https://www.unccd.int/sites/default/files/documents/2019-08/Forest%20brochure%20-%20web.pdf" TargetMode="External"/><Relationship Id="rId25" Type="http://schemas.openxmlformats.org/officeDocument/2006/relationships/hyperlink" Target="https://climateactiontracker.org/countries/nigeria/targets/#:~:text=NDC%20Updates,Government%20of%20Nigeria%2C%202021)." TargetMode="External"/><Relationship Id="rId33" Type="http://schemas.openxmlformats.org/officeDocument/2006/relationships/image" Target="../media/image29.png"/><Relationship Id="rId2" Type="http://schemas.openxmlformats.org/officeDocument/2006/relationships/tags" Target="../tags/tag705.xml"/><Relationship Id="rId16" Type="http://schemas.openxmlformats.org/officeDocument/2006/relationships/image" Target="../media/image11.emf"/><Relationship Id="rId20" Type="http://schemas.openxmlformats.org/officeDocument/2006/relationships/hyperlink" Target="https://www.spglobal.com/commodityinsights/en/market-insights/latest-news/energy-transition/072822-vietnam-approves-national-climate-change-strategy-to-2050-to-meet-net-zero-pledge" TargetMode="External"/><Relationship Id="rId29" Type="http://schemas.openxmlformats.org/officeDocument/2006/relationships/hyperlink" Target="https://gulfnews.com/world/gulf/saudi/saudi-arabia-to-plant-10-billion-trees-in-a-major-step-towards-environmental-sustainability-1.98658743" TargetMode="External"/><Relationship Id="rId1" Type="http://schemas.openxmlformats.org/officeDocument/2006/relationships/tags" Target="../tags/tag704.xml"/><Relationship Id="rId6" Type="http://schemas.openxmlformats.org/officeDocument/2006/relationships/tags" Target="../tags/tag709.xml"/><Relationship Id="rId11" Type="http://schemas.openxmlformats.org/officeDocument/2006/relationships/tags" Target="../tags/tag714.xml"/><Relationship Id="rId24" Type="http://schemas.openxmlformats.org/officeDocument/2006/relationships/hyperlink" Target="https://www.rbc.ru/economics/21/02/2024/65d31b689a79476e9160ba4f" TargetMode="External"/><Relationship Id="rId32" Type="http://schemas.openxmlformats.org/officeDocument/2006/relationships/image" Target="../media/image28.png"/><Relationship Id="rId37" Type="http://schemas.openxmlformats.org/officeDocument/2006/relationships/image" Target="../media/image30.png"/><Relationship Id="rId5" Type="http://schemas.openxmlformats.org/officeDocument/2006/relationships/tags" Target="../tags/tag708.xml"/><Relationship Id="rId15" Type="http://schemas.openxmlformats.org/officeDocument/2006/relationships/oleObject" Target="../embeddings/oleObject100.bin"/><Relationship Id="rId23" Type="http://schemas.openxmlformats.org/officeDocument/2006/relationships/hyperlink" Target="https://english.luatvietnam.vn/legal-updates/vietnam-issues-plan-to-implement-glasgow-declaration-on-forests-892-95363-article.html" TargetMode="External"/><Relationship Id="rId28" Type="http://schemas.openxmlformats.org/officeDocument/2006/relationships/hyperlink" Target="https://www.sgi.gov.sa/sgi-initiatives/" TargetMode="External"/><Relationship Id="rId36" Type="http://schemas.openxmlformats.org/officeDocument/2006/relationships/image" Target="../media/image23.png"/><Relationship Id="rId10" Type="http://schemas.openxmlformats.org/officeDocument/2006/relationships/tags" Target="../tags/tag713.xml"/><Relationship Id="rId19" Type="http://schemas.openxmlformats.org/officeDocument/2006/relationships/hyperlink" Target="https://webarchive.nationalarchives.gov.uk/ukgwa/20230418175226/https:/ukcop26.org/glasgow-leaders-declaration-on-forests-and-land-use/" TargetMode="External"/><Relationship Id="rId31" Type="http://schemas.openxmlformats.org/officeDocument/2006/relationships/image" Target="../media/image27.png"/><Relationship Id="rId4" Type="http://schemas.openxmlformats.org/officeDocument/2006/relationships/tags" Target="../tags/tag707.xml"/><Relationship Id="rId9" Type="http://schemas.openxmlformats.org/officeDocument/2006/relationships/tags" Target="../tags/tag712.xml"/><Relationship Id="rId14" Type="http://schemas.openxmlformats.org/officeDocument/2006/relationships/notesSlide" Target="../notesSlides/notesSlide2.xml"/><Relationship Id="rId22" Type="http://schemas.openxmlformats.org/officeDocument/2006/relationships/hyperlink" Target="https://news.mongabay.com/2021/05/drastic-forest-development-vietnam-to-plant-1-billion-trees-but-how/" TargetMode="External"/><Relationship Id="rId27" Type="http://schemas.openxmlformats.org/officeDocument/2006/relationships/hyperlink" Target="https://asianews.network/indonesias-deforestation-rate-off-target-for-2030-climate-goal/" TargetMode="External"/><Relationship Id="rId30" Type="http://schemas.openxmlformats.org/officeDocument/2006/relationships/hyperlink" Target="https://www.greeninitiatives.gov.sa/sgi-initiatives/" TargetMode="External"/><Relationship Id="rId35" Type="http://schemas.openxmlformats.org/officeDocument/2006/relationships/image" Target="../media/image32.png"/></Relationships>
</file>

<file path=ppt/slides/_rels/slide34.xml.rels><?xml version="1.0" encoding="UTF-8" standalone="yes"?>
<Relationships xmlns="http://schemas.openxmlformats.org/package/2006/relationships"><Relationship Id="rId8" Type="http://schemas.openxmlformats.org/officeDocument/2006/relationships/tags" Target="../tags/tag723.xml"/><Relationship Id="rId13" Type="http://schemas.openxmlformats.org/officeDocument/2006/relationships/hyperlink" Target="https://www.australiasnaturehub.gov.au/national-strategy" TargetMode="External"/><Relationship Id="rId18" Type="http://schemas.openxmlformats.org/officeDocument/2006/relationships/hyperlink" Target="https://www.ifaw.org/international/journal/eu-nature-restoration-law-compromises-and-challenges" TargetMode="External"/><Relationship Id="rId26" Type="http://schemas.openxmlformats.org/officeDocument/2006/relationships/image" Target="../media/image12.png"/><Relationship Id="rId3" Type="http://schemas.openxmlformats.org/officeDocument/2006/relationships/tags" Target="../tags/tag718.xml"/><Relationship Id="rId21" Type="http://schemas.openxmlformats.org/officeDocument/2006/relationships/hyperlink" Target="https://www.gov.uk/government/publications/nature-recovery-plan-summary-moj" TargetMode="External"/><Relationship Id="rId7" Type="http://schemas.openxmlformats.org/officeDocument/2006/relationships/tags" Target="../tags/tag722.xml"/><Relationship Id="rId12" Type="http://schemas.openxmlformats.org/officeDocument/2006/relationships/hyperlink" Target="https://ort.cbd.int/nbsaps/analyzer?countries=au&amp;countries=ar&amp;countries=ca&amp;countries=cn&amp;countries=fr&amp;countries=de&amp;countries=id&amp;countries=in&amp;countries=jp&amp;countries=mx&amp;countries=kr&amp;countries=vn#0.8/0/0" TargetMode="External"/><Relationship Id="rId17" Type="http://schemas.openxmlformats.org/officeDocument/2006/relationships/hyperlink" Target="https://earth.org/explainer-all-you-need-to-know-about-the-eu-nature-restoration-law/" TargetMode="External"/><Relationship Id="rId25" Type="http://schemas.openxmlformats.org/officeDocument/2006/relationships/image" Target="../media/image14.png"/><Relationship Id="rId2" Type="http://schemas.openxmlformats.org/officeDocument/2006/relationships/tags" Target="../tags/tag717.xml"/><Relationship Id="rId16" Type="http://schemas.openxmlformats.org/officeDocument/2006/relationships/hyperlink" Target="https://environment.ec.europa.eu/topics/nature-and-biodiversity/nature-restoration-law_en" TargetMode="External"/><Relationship Id="rId20" Type="http://schemas.openxmlformats.org/officeDocument/2006/relationships/hyperlink" Target="https://www.gov.uk/government/publications/criteria-for-30by30-on-land-in-england/30by30-on-land-in-england-confirmed-criteria-and-next-steps" TargetMode="External"/><Relationship Id="rId1" Type="http://schemas.openxmlformats.org/officeDocument/2006/relationships/tags" Target="../tags/tag716.xml"/><Relationship Id="rId6" Type="http://schemas.openxmlformats.org/officeDocument/2006/relationships/tags" Target="../tags/tag721.xml"/><Relationship Id="rId11" Type="http://schemas.openxmlformats.org/officeDocument/2006/relationships/image" Target="../media/image11.emf"/><Relationship Id="rId24" Type="http://schemas.openxmlformats.org/officeDocument/2006/relationships/image" Target="../media/image13.png"/><Relationship Id="rId5" Type="http://schemas.openxmlformats.org/officeDocument/2006/relationships/tags" Target="../tags/tag720.xml"/><Relationship Id="rId15" Type="http://schemas.openxmlformats.org/officeDocument/2006/relationships/hyperlink" Target="https://www.euronews.com/my-europe/2023/06/15/nature-restoration-law-survives-first-crucial-vote-in-the-eu-parliament-but-uncertainty-re" TargetMode="External"/><Relationship Id="rId23" Type="http://schemas.openxmlformats.org/officeDocument/2006/relationships/image" Target="../media/image17.png"/><Relationship Id="rId10" Type="http://schemas.openxmlformats.org/officeDocument/2006/relationships/oleObject" Target="../embeddings/oleObject101.bin"/><Relationship Id="rId19" Type="http://schemas.openxmlformats.org/officeDocument/2006/relationships/hyperlink" Target="https://post.parliament.uk/research-briefings/post-pn-0678/#:~:text=Under%20the%20Environment%20Act%202021,%25%20of%20England's%20land%20area)." TargetMode="External"/><Relationship Id="rId4" Type="http://schemas.openxmlformats.org/officeDocument/2006/relationships/tags" Target="../tags/tag719.xml"/><Relationship Id="rId9" Type="http://schemas.openxmlformats.org/officeDocument/2006/relationships/slideLayout" Target="../slideLayouts/slideLayout6.xml"/><Relationship Id="rId14" Type="http://schemas.openxmlformats.org/officeDocument/2006/relationships/hyperlink" Target="https://www.canada.ca/en/environment-climate-change/services/environmental-indicators/conserved-areas.html" TargetMode="External"/><Relationship Id="rId22" Type="http://schemas.openxmlformats.org/officeDocument/2006/relationships/image" Target="../media/image15.png"/><Relationship Id="rId27" Type="http://schemas.openxmlformats.org/officeDocument/2006/relationships/image" Target="../media/image22.png"/></Relationships>
</file>

<file path=ppt/slides/_rels/slide35.xml.rels><?xml version="1.0" encoding="UTF-8" standalone="yes"?>
<Relationships xmlns="http://schemas.openxmlformats.org/package/2006/relationships"><Relationship Id="rId8" Type="http://schemas.openxmlformats.org/officeDocument/2006/relationships/tags" Target="../tags/tag731.xml"/><Relationship Id="rId13" Type="http://schemas.openxmlformats.org/officeDocument/2006/relationships/hyperlink" Target="https://www.doi.gov/pressreleases/biden-harris-administration-announces-more-68-million-bipartisan-infrastructure-law" TargetMode="External"/><Relationship Id="rId18" Type="http://schemas.openxmlformats.org/officeDocument/2006/relationships/hyperlink" Target="https://www.reuters.com/sustainability/sustainable-finance-reporting/brazil-france-launch-11-bln-investment-program-focused-amazon-rainforest-2024-03-26/" TargetMode="External"/><Relationship Id="rId26" Type="http://schemas.openxmlformats.org/officeDocument/2006/relationships/image" Target="../media/image21.png"/><Relationship Id="rId3" Type="http://schemas.openxmlformats.org/officeDocument/2006/relationships/tags" Target="../tags/tag726.xml"/><Relationship Id="rId21" Type="http://schemas.openxmlformats.org/officeDocument/2006/relationships/hyperlink" Target="https://www.chinadaily.com.cn/a/202401/18/WS65a923b8a3105f21a507d184.html" TargetMode="External"/><Relationship Id="rId7" Type="http://schemas.openxmlformats.org/officeDocument/2006/relationships/tags" Target="../tags/tag730.xml"/><Relationship Id="rId12" Type="http://schemas.openxmlformats.org/officeDocument/2006/relationships/image" Target="../media/image11.emf"/><Relationship Id="rId17" Type="http://schemas.openxmlformats.org/officeDocument/2006/relationships/hyperlink" Target="https://news.mongabay.com/2024/11/experts-welcome-brazils-revived-reforestation-plan-as-much-needed-boost/#:~:text=By%202030%2C%20Brazil%20aims%20to,biodiversity%20summit%20in%20Cali%2C%20Colombia." TargetMode="External"/><Relationship Id="rId25" Type="http://schemas.openxmlformats.org/officeDocument/2006/relationships/image" Target="../media/image23.png"/><Relationship Id="rId2" Type="http://schemas.openxmlformats.org/officeDocument/2006/relationships/tags" Target="../tags/tag725.xml"/><Relationship Id="rId16" Type="http://schemas.openxmlformats.org/officeDocument/2006/relationships/hyperlink" Target="https://mainichi.jp/english/articles/20240504/p2g/00m/0in/009000c" TargetMode="External"/><Relationship Id="rId20" Type="http://schemas.openxmlformats.org/officeDocument/2006/relationships/hyperlink" Target="https://climatecooperation.cn/environment/policy-summary-on-the-master-plan-for-national-key-ecosystem-protection-and-restoration-major-projects-2021-2035/" TargetMode="External"/><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oleObject" Target="../embeddings/oleObject102.bin"/><Relationship Id="rId24" Type="http://schemas.openxmlformats.org/officeDocument/2006/relationships/image" Target="../media/image24.png"/><Relationship Id="rId5" Type="http://schemas.openxmlformats.org/officeDocument/2006/relationships/tags" Target="../tags/tag728.xml"/><Relationship Id="rId15" Type="http://schemas.openxmlformats.org/officeDocument/2006/relationships/hyperlink" Target="https://www.env.go.jp/en/headline/2608.html" TargetMode="External"/><Relationship Id="rId23" Type="http://schemas.openxmlformats.org/officeDocument/2006/relationships/hyperlink" Target="https://english.www.gov.cn/policies/latestreleases/202404/10/content_WS66168934c6d0868f4e8e5ea7.html#:~:text=Effective%20June%201%2C%202024%2C%20the,market%2Doriented%20compensation%2C%20and%20strengthening" TargetMode="External"/><Relationship Id="rId10" Type="http://schemas.openxmlformats.org/officeDocument/2006/relationships/notesSlide" Target="../notesSlides/notesSlide3.xml"/><Relationship Id="rId19" Type="http://schemas.openxmlformats.org/officeDocument/2006/relationships/hyperlink" Target="https://www.xm.com/research/markets/allNews/reuters/brazils-first-blended-finance-auction-raises-79-bln-for-sustainable-projects-53948536" TargetMode="External"/><Relationship Id="rId4" Type="http://schemas.openxmlformats.org/officeDocument/2006/relationships/tags" Target="../tags/tag727.xml"/><Relationship Id="rId9" Type="http://schemas.openxmlformats.org/officeDocument/2006/relationships/slideLayout" Target="../slideLayouts/slideLayout6.xml"/><Relationship Id="rId14" Type="http://schemas.openxmlformats.org/officeDocument/2006/relationships/hyperlink" Target="https://ort.cbd.int/nbsaps/analyzer?countries=au&amp;countries=ar&amp;countries=ca&amp;countries=cn&amp;countries=fr&amp;countries=de&amp;countries=id&amp;countries=in&amp;countries=jp&amp;countries=mx&amp;countries=kr&amp;countries=vn#0.8/0/0" TargetMode="External"/><Relationship Id="rId22" Type="http://schemas.openxmlformats.org/officeDocument/2006/relationships/hyperlink" Target="https://montsame.mn/en/read/340652" TargetMode="External"/><Relationship Id="rId27" Type="http://schemas.openxmlformats.org/officeDocument/2006/relationships/image" Target="../media/image25.png"/></Relationships>
</file>

<file path=ppt/slides/_rels/slide36.xml.rels><?xml version="1.0" encoding="UTF-8" standalone="yes"?>
<Relationships xmlns="http://schemas.openxmlformats.org/package/2006/relationships"><Relationship Id="rId8" Type="http://schemas.openxmlformats.org/officeDocument/2006/relationships/tags" Target="../tags/tag739.xml"/><Relationship Id="rId13" Type="http://schemas.openxmlformats.org/officeDocument/2006/relationships/hyperlink" Target="https://ort.cbd.int/nbsaps/analyzer?countries=au&amp;countries=ar&amp;countries=ca&amp;countries=cn&amp;countries=fr&amp;countries=de&amp;countries=id&amp;countries=in&amp;countries=jp&amp;countries=mx&amp;countries=kr&amp;countries=vn#0.8/0/0" TargetMode="External"/><Relationship Id="rId18" Type="http://schemas.openxmlformats.org/officeDocument/2006/relationships/hyperlink" Target="https://www.batimes.com.ar/news/argentina/enrique-viale-the-urgent-decree-and-omnibus-law-combo-is-an-invitation-to-destruction.phtml" TargetMode="External"/><Relationship Id="rId3" Type="http://schemas.openxmlformats.org/officeDocument/2006/relationships/tags" Target="../tags/tag734.xml"/><Relationship Id="rId21" Type="http://schemas.openxmlformats.org/officeDocument/2006/relationships/image" Target="../media/image16.png"/><Relationship Id="rId7" Type="http://schemas.openxmlformats.org/officeDocument/2006/relationships/tags" Target="../tags/tag738.xml"/><Relationship Id="rId12" Type="http://schemas.openxmlformats.org/officeDocument/2006/relationships/image" Target="../media/image11.emf"/><Relationship Id="rId17" Type="http://schemas.openxmlformats.org/officeDocument/2006/relationships/hyperlink" Target="https://www.weforum.org/stories/2022/03/forest-restoration-india-ambitious-climate-goals/" TargetMode="External"/><Relationship Id="rId2" Type="http://schemas.openxmlformats.org/officeDocument/2006/relationships/tags" Target="../tags/tag733.xml"/><Relationship Id="rId16" Type="http://schemas.openxmlformats.org/officeDocument/2006/relationships/hyperlink" Target="https://news.mongabay.com/2024/01/mexico-announces-20-new-protected-areas-despite-budget-cuts/" TargetMode="External"/><Relationship Id="rId20" Type="http://schemas.openxmlformats.org/officeDocument/2006/relationships/image" Target="../media/image19.png"/><Relationship Id="rId1" Type="http://schemas.openxmlformats.org/officeDocument/2006/relationships/tags" Target="../tags/tag732.xml"/><Relationship Id="rId6" Type="http://schemas.openxmlformats.org/officeDocument/2006/relationships/tags" Target="../tags/tag737.xml"/><Relationship Id="rId11" Type="http://schemas.openxmlformats.org/officeDocument/2006/relationships/oleObject" Target="../embeddings/oleObject103.bin"/><Relationship Id="rId5" Type="http://schemas.openxmlformats.org/officeDocument/2006/relationships/tags" Target="../tags/tag736.xml"/><Relationship Id="rId15" Type="http://schemas.openxmlformats.org/officeDocument/2006/relationships/hyperlink" Target="https://mexiconewsdaily.com/news/mexico-in-numbers-nature-reserves/" TargetMode="External"/><Relationship Id="rId10" Type="http://schemas.openxmlformats.org/officeDocument/2006/relationships/slideLayout" Target="../slideLayouts/slideLayout6.xml"/><Relationship Id="rId19" Type="http://schemas.openxmlformats.org/officeDocument/2006/relationships/image" Target="../media/image18.png"/><Relationship Id="rId4" Type="http://schemas.openxmlformats.org/officeDocument/2006/relationships/tags" Target="../tags/tag735.xml"/><Relationship Id="rId9" Type="http://schemas.openxmlformats.org/officeDocument/2006/relationships/tags" Target="../tags/tag740.xml"/><Relationship Id="rId14" Type="http://schemas.openxmlformats.org/officeDocument/2006/relationships/hyperlink" Target="https://carbon-pulse.com/190136/" TargetMode="External"/><Relationship Id="rId22" Type="http://schemas.openxmlformats.org/officeDocument/2006/relationships/image" Target="../media/image20.png"/></Relationships>
</file>

<file path=ppt/slides/_rels/slide37.xml.rels><?xml version="1.0" encoding="UTF-8" standalone="yes"?>
<Relationships xmlns="http://schemas.openxmlformats.org/package/2006/relationships"><Relationship Id="rId8" Type="http://schemas.openxmlformats.org/officeDocument/2006/relationships/tags" Target="../tags/tag748.xml"/><Relationship Id="rId13" Type="http://schemas.openxmlformats.org/officeDocument/2006/relationships/hyperlink" Target="https://ort.cbd.int/nbsaps/analyzer?countries=au&amp;countries=ar&amp;countries=ca&amp;countries=cn&amp;countries=fr&amp;countries=de&amp;countries=id&amp;countries=in&amp;countries=jp&amp;countries=mx&amp;countries=kr&amp;countries=vn#0.8/0/0" TargetMode="External"/><Relationship Id="rId18" Type="http://schemas.openxmlformats.org/officeDocument/2006/relationships/hyperlink" Target="https://www.spa.gov.sa/en/N2050700" TargetMode="External"/><Relationship Id="rId3" Type="http://schemas.openxmlformats.org/officeDocument/2006/relationships/tags" Target="../tags/tag743.xml"/><Relationship Id="rId21" Type="http://schemas.openxmlformats.org/officeDocument/2006/relationships/image" Target="../media/image30.png"/><Relationship Id="rId7" Type="http://schemas.openxmlformats.org/officeDocument/2006/relationships/tags" Target="../tags/tag747.xml"/><Relationship Id="rId12" Type="http://schemas.openxmlformats.org/officeDocument/2006/relationships/image" Target="../media/image11.emf"/><Relationship Id="rId17" Type="http://schemas.openxmlformats.org/officeDocument/2006/relationships/hyperlink" Target="https://ort.cbd.int/national-targets/my-country/part-1/326392C2-5AD3-2638-0682-795A9EC2A1D1/view" TargetMode="External"/><Relationship Id="rId2" Type="http://schemas.openxmlformats.org/officeDocument/2006/relationships/tags" Target="../tags/tag742.xml"/><Relationship Id="rId16" Type="http://schemas.openxmlformats.org/officeDocument/2006/relationships/hyperlink" Target="https://landconservationnetwork.org/wp-content/uploads/legacy-files/VietnamCambodiaProfile%20.pdf" TargetMode="External"/><Relationship Id="rId20" Type="http://schemas.openxmlformats.org/officeDocument/2006/relationships/image" Target="../media/image26.png"/><Relationship Id="rId1" Type="http://schemas.openxmlformats.org/officeDocument/2006/relationships/tags" Target="../tags/tag741.xml"/><Relationship Id="rId6" Type="http://schemas.openxmlformats.org/officeDocument/2006/relationships/tags" Target="../tags/tag746.xml"/><Relationship Id="rId11" Type="http://schemas.openxmlformats.org/officeDocument/2006/relationships/oleObject" Target="../embeddings/oleObject104.bin"/><Relationship Id="rId5" Type="http://schemas.openxmlformats.org/officeDocument/2006/relationships/tags" Target="../tags/tag745.xml"/><Relationship Id="rId15" Type="http://schemas.openxmlformats.org/officeDocument/2006/relationships/hyperlink" Target="https://www.engineeringnews.co.za/article/partnership-set-to-establish-one-of-the-largest-big-five-game-reserves-in-south-africa-2024-02-23" TargetMode="External"/><Relationship Id="rId23" Type="http://schemas.openxmlformats.org/officeDocument/2006/relationships/image" Target="../media/image32.png"/><Relationship Id="rId10" Type="http://schemas.openxmlformats.org/officeDocument/2006/relationships/slideLayout" Target="../slideLayouts/slideLayout6.xml"/><Relationship Id="rId19" Type="http://schemas.openxmlformats.org/officeDocument/2006/relationships/hyperlink" Target="https://faolex.fao.org/docs/pdf/ins176625.pdf" TargetMode="External"/><Relationship Id="rId4" Type="http://schemas.openxmlformats.org/officeDocument/2006/relationships/tags" Target="../tags/tag744.xml"/><Relationship Id="rId9" Type="http://schemas.openxmlformats.org/officeDocument/2006/relationships/tags" Target="../tags/tag749.xml"/><Relationship Id="rId14" Type="http://schemas.openxmlformats.org/officeDocument/2006/relationships/hyperlink" Target="https://chm.cbd.int/api/v2013/documents/33303CBE-1BB9-9034-35F8-283CC0A1D63F/attachments/204909/Land%20Degradation%20Neutrality%20Targets%20for%20South%20Africa.pdf" TargetMode="External"/><Relationship Id="rId22" Type="http://schemas.openxmlformats.org/officeDocument/2006/relationships/image" Target="../media/image31.png"/></Relationships>
</file>

<file path=ppt/slides/_rels/slide38.xml.rels><?xml version="1.0" encoding="UTF-8" standalone="yes"?>
<Relationships xmlns="http://schemas.openxmlformats.org/package/2006/relationships"><Relationship Id="rId8" Type="http://schemas.openxmlformats.org/officeDocument/2006/relationships/tags" Target="../tags/tag757.xml"/><Relationship Id="rId13" Type="http://schemas.openxmlformats.org/officeDocument/2006/relationships/hyperlink" Target="https://iucn.org/news/eastern-europe-and-central-asia/201710/iucn-commends-russia-centenary-its-%E2%80%98zapovedniks%E2%80%99" TargetMode="External"/><Relationship Id="rId18" Type="http://schemas.openxmlformats.org/officeDocument/2006/relationships/image" Target="../media/image27.png"/><Relationship Id="rId3" Type="http://schemas.openxmlformats.org/officeDocument/2006/relationships/tags" Target="../tags/tag752.xml"/><Relationship Id="rId7" Type="http://schemas.openxmlformats.org/officeDocument/2006/relationships/tags" Target="../tags/tag756.xml"/><Relationship Id="rId12" Type="http://schemas.openxmlformats.org/officeDocument/2006/relationships/hyperlink" Target="https://www.unccd.int/sites/default/files/ldn_targets/Nigeria%20LDN%20Country%20Commitments.pdf" TargetMode="External"/><Relationship Id="rId17" Type="http://schemas.openxmlformats.org/officeDocument/2006/relationships/image" Target="../media/image29.png"/><Relationship Id="rId2" Type="http://schemas.openxmlformats.org/officeDocument/2006/relationships/tags" Target="../tags/tag751.xml"/><Relationship Id="rId16" Type="http://schemas.openxmlformats.org/officeDocument/2006/relationships/image" Target="../media/image28.png"/><Relationship Id="rId1" Type="http://schemas.openxmlformats.org/officeDocument/2006/relationships/tags" Target="../tags/tag750.xml"/><Relationship Id="rId6" Type="http://schemas.openxmlformats.org/officeDocument/2006/relationships/tags" Target="../tags/tag755.xml"/><Relationship Id="rId11" Type="http://schemas.openxmlformats.org/officeDocument/2006/relationships/image" Target="../media/image11.emf"/><Relationship Id="rId5" Type="http://schemas.openxmlformats.org/officeDocument/2006/relationships/tags" Target="../tags/tag754.xml"/><Relationship Id="rId15" Type="http://schemas.openxmlformats.org/officeDocument/2006/relationships/hyperlink" Target="https://www.unccd.int/sites/default/files/naps/2018-07/Turkey%20Strategy%20and%20Action%20Plan.pdf" TargetMode="External"/><Relationship Id="rId10" Type="http://schemas.openxmlformats.org/officeDocument/2006/relationships/oleObject" Target="../embeddings/oleObject105.bin"/><Relationship Id="rId4" Type="http://schemas.openxmlformats.org/officeDocument/2006/relationships/tags" Target="../tags/tag753.xml"/><Relationship Id="rId9" Type="http://schemas.openxmlformats.org/officeDocument/2006/relationships/slideLayout" Target="../slideLayouts/slideLayout6.xml"/><Relationship Id="rId14" Type="http://schemas.openxmlformats.org/officeDocument/2006/relationships/hyperlink" Target="https://www.statista.com/statistics/1140717/protected-natural-areas-in-russia/" TargetMode="External"/></Relationships>
</file>

<file path=ppt/slides/_rels/slide39.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hyperlink" Target="https://www.researchgate.net/publication/358935404_Willingness_of_private_landowners_to_participate_in_forest_conservation_in_the_Chaco_region_of_Argentina" TargetMode="External"/><Relationship Id="rId18" Type="http://schemas.openxmlformats.org/officeDocument/2006/relationships/image" Target="../media/image20.png"/><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hyperlink" Target="https://cer.gov.au/schemes/nature-repair-market" TargetMode="External"/><Relationship Id="rId17" Type="http://schemas.openxmlformats.org/officeDocument/2006/relationships/image" Target="../media/image12.png"/><Relationship Id="rId2" Type="http://schemas.openxmlformats.org/officeDocument/2006/relationships/tags" Target="../tags/tag759.xml"/><Relationship Id="rId16" Type="http://schemas.openxmlformats.org/officeDocument/2006/relationships/hyperlink" Target="https://www.ecosystemmarketplace.com/wp-content/uploads/2015/09/sbdmr.pdf" TargetMode="External"/><Relationship Id="rId20" Type="http://schemas.openxmlformats.org/officeDocument/2006/relationships/image" Target="../media/image13.png"/><Relationship Id="rId1" Type="http://schemas.openxmlformats.org/officeDocument/2006/relationships/tags" Target="../tags/tag758.xml"/><Relationship Id="rId6" Type="http://schemas.openxmlformats.org/officeDocument/2006/relationships/tags" Target="../tags/tag763.xml"/><Relationship Id="rId11" Type="http://schemas.openxmlformats.org/officeDocument/2006/relationships/image" Target="../media/image11.emf"/><Relationship Id="rId5" Type="http://schemas.openxmlformats.org/officeDocument/2006/relationships/tags" Target="../tags/tag762.xml"/><Relationship Id="rId15" Type="http://schemas.openxmlformats.org/officeDocument/2006/relationships/hyperlink" Target="https://www.spglobal.com/commodityinsights/en/market-insights/latest-news/energy-transition/012224-chinas-national-voluntary-carbon-market-starts-trading-jan-22" TargetMode="External"/><Relationship Id="rId10" Type="http://schemas.openxmlformats.org/officeDocument/2006/relationships/oleObject" Target="../embeddings/oleObject106.bin"/><Relationship Id="rId19" Type="http://schemas.openxmlformats.org/officeDocument/2006/relationships/image" Target="../media/image25.png"/><Relationship Id="rId4" Type="http://schemas.openxmlformats.org/officeDocument/2006/relationships/tags" Target="../tags/tag761.xml"/><Relationship Id="rId9" Type="http://schemas.openxmlformats.org/officeDocument/2006/relationships/slideLayout" Target="../slideLayouts/slideLayout6.xml"/><Relationship Id="rId14" Type="http://schemas.openxmlformats.org/officeDocument/2006/relationships/hyperlink" Target="https://dialogue.earth/en/nature/is-china-ready-for-biodiversity-cop16/"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406.xml"/><Relationship Id="rId13" Type="http://schemas.openxmlformats.org/officeDocument/2006/relationships/oleObject" Target="../embeddings/oleObject74.bin"/><Relationship Id="rId18" Type="http://schemas.openxmlformats.org/officeDocument/2006/relationships/hyperlink" Target="https://vietnamnews.vn/society/1551768/national-energy-master-plan-for-2021-2030-approved-targeting-15-20-renewables-by-2030.html" TargetMode="External"/><Relationship Id="rId26" Type="http://schemas.openxmlformats.org/officeDocument/2006/relationships/image" Target="../media/image27.png"/><Relationship Id="rId3" Type="http://schemas.openxmlformats.org/officeDocument/2006/relationships/tags" Target="../tags/tag401.xml"/><Relationship Id="rId21" Type="http://schemas.openxmlformats.org/officeDocument/2006/relationships/hyperlink" Target="https://www.thejakartapost.com/opinion/2021/11/17/indonesias-coal-hard-facts.html" TargetMode="External"/><Relationship Id="rId7" Type="http://schemas.openxmlformats.org/officeDocument/2006/relationships/tags" Target="../tags/tag405.xml"/><Relationship Id="rId12" Type="http://schemas.openxmlformats.org/officeDocument/2006/relationships/slideLayout" Target="../slideLayouts/slideLayout6.xml"/><Relationship Id="rId17" Type="http://schemas.openxmlformats.org/officeDocument/2006/relationships/hyperlink" Target="https://climateactiontracker.org/countries/turkey/targets/" TargetMode="External"/><Relationship Id="rId25" Type="http://schemas.openxmlformats.org/officeDocument/2006/relationships/image" Target="../media/image26.png"/><Relationship Id="rId2" Type="http://schemas.openxmlformats.org/officeDocument/2006/relationships/tags" Target="../tags/tag400.xml"/><Relationship Id="rId16" Type="http://schemas.openxmlformats.org/officeDocument/2006/relationships/hyperlink" Target="https://www.gov.za/documents/acts/climate-change-act-22-2024-english-tshivenda-23-jul-2024" TargetMode="External"/><Relationship Id="rId20" Type="http://schemas.openxmlformats.org/officeDocument/2006/relationships/hyperlink" Target="https://www.reuters.com/business/energy/g7-vietnam-reach-155-bln-climate-deal-cut-coal-use-sources-2022-12-14/" TargetMode="External"/><Relationship Id="rId29" Type="http://schemas.openxmlformats.org/officeDocument/2006/relationships/image" Target="../media/image30.png"/><Relationship Id="rId1" Type="http://schemas.openxmlformats.org/officeDocument/2006/relationships/tags" Target="../tags/tag399.xml"/><Relationship Id="rId6" Type="http://schemas.openxmlformats.org/officeDocument/2006/relationships/tags" Target="../tags/tag404.xml"/><Relationship Id="rId11" Type="http://schemas.openxmlformats.org/officeDocument/2006/relationships/tags" Target="../tags/tag409.xml"/><Relationship Id="rId24" Type="http://schemas.openxmlformats.org/officeDocument/2006/relationships/hyperlink" Target="https://www.climatechangenews.com/2021/11/22/nigeria-commits-annual-carbon-budgets-reach-net-zero-climate-law/" TargetMode="External"/><Relationship Id="rId5" Type="http://schemas.openxmlformats.org/officeDocument/2006/relationships/tags" Target="../tags/tag403.xml"/><Relationship Id="rId15" Type="http://schemas.openxmlformats.org/officeDocument/2006/relationships/hyperlink" Target="https://ec.europa.eu/commission/presscorner/detail/cs/ip_21_5768" TargetMode="External"/><Relationship Id="rId23" Type="http://schemas.openxmlformats.org/officeDocument/2006/relationships/hyperlink" Target="https://www.themoscowtimes.com/2021/10/13/moscow-offers-pensioners-140-to-get-vaccinated-a75282" TargetMode="External"/><Relationship Id="rId28" Type="http://schemas.openxmlformats.org/officeDocument/2006/relationships/image" Target="../media/image29.png"/><Relationship Id="rId10" Type="http://schemas.openxmlformats.org/officeDocument/2006/relationships/tags" Target="../tags/tag408.xml"/><Relationship Id="rId19" Type="http://schemas.openxmlformats.org/officeDocument/2006/relationships/hyperlink" Target="https://baochinhphu.vn/tung-buoc-hinh-thanh-he-sinh-thai-cong-nghiep-nang-luong-tai-tao-102230504182651622.htm" TargetMode="External"/><Relationship Id="rId31" Type="http://schemas.openxmlformats.org/officeDocument/2006/relationships/image" Target="../media/image32.png"/><Relationship Id="rId4" Type="http://schemas.openxmlformats.org/officeDocument/2006/relationships/tags" Target="../tags/tag402.xml"/><Relationship Id="rId9" Type="http://schemas.openxmlformats.org/officeDocument/2006/relationships/tags" Target="../tags/tag407.xml"/><Relationship Id="rId14" Type="http://schemas.openxmlformats.org/officeDocument/2006/relationships/image" Target="../media/image11.emf"/><Relationship Id="rId22" Type="http://schemas.openxmlformats.org/officeDocument/2006/relationships/hyperlink" Target="https://home.treasury.gov/news/press-releases/jy1278" TargetMode="External"/><Relationship Id="rId27" Type="http://schemas.openxmlformats.org/officeDocument/2006/relationships/image" Target="../media/image28.png"/><Relationship Id="rId30" Type="http://schemas.openxmlformats.org/officeDocument/2006/relationships/image" Target="../media/image31.png"/></Relationships>
</file>

<file path=ppt/slides/_rels/slide40.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hyperlink" Target="https://news.mongabay.com/2024/12/brazils-big-push-for-tropical-forest-funding-gets-support-for-2025-debut/" TargetMode="External"/><Relationship Id="rId18" Type="http://schemas.openxmlformats.org/officeDocument/2006/relationships/image" Target="../media/image21.png"/><Relationship Id="rId3" Type="http://schemas.openxmlformats.org/officeDocument/2006/relationships/tags" Target="../tags/tag768.xml"/><Relationship Id="rId7" Type="http://schemas.openxmlformats.org/officeDocument/2006/relationships/tags" Target="../tags/tag772.xml"/><Relationship Id="rId12" Type="http://schemas.openxmlformats.org/officeDocument/2006/relationships/hyperlink" Target="https://www.argusmedia.com/en/news-and-insights/latest-market-news/2450464-brazil-government-to-submit-carbon-market-bill-by-june" TargetMode="External"/><Relationship Id="rId17" Type="http://schemas.openxmlformats.org/officeDocument/2006/relationships/hyperlink" Target="https://www.local.gov.uk/pas/topics/environment/biodiversity-net-gain-local-authorities/biodiversity-net-gain-faqs" TargetMode="External"/><Relationship Id="rId2" Type="http://schemas.openxmlformats.org/officeDocument/2006/relationships/tags" Target="../tags/tag767.xml"/><Relationship Id="rId16" Type="http://schemas.openxmlformats.org/officeDocument/2006/relationships/hyperlink" Target="https://www.gov.uk/government/news/new-housing-developments-to-deliver-nature-boost-in-landmark-move" TargetMode="External"/><Relationship Id="rId20" Type="http://schemas.openxmlformats.org/officeDocument/2006/relationships/image" Target="../media/image22.png"/><Relationship Id="rId1" Type="http://schemas.openxmlformats.org/officeDocument/2006/relationships/tags" Target="../tags/tag766.xml"/><Relationship Id="rId6" Type="http://schemas.openxmlformats.org/officeDocument/2006/relationships/tags" Target="../tags/tag771.xml"/><Relationship Id="rId11" Type="http://schemas.openxmlformats.org/officeDocument/2006/relationships/hyperlink" Target="https://www.gcftf.org/brazil-approves-law-establishing-the-brazilian-emissions-trading-system/#:~:text=On%20December%2012%2C%20Law%20No,largest%20country%20of%20South%20America." TargetMode="External"/><Relationship Id="rId5" Type="http://schemas.openxmlformats.org/officeDocument/2006/relationships/tags" Target="../tags/tag770.xml"/><Relationship Id="rId15" Type="http://schemas.openxmlformats.org/officeDocument/2006/relationships/hyperlink" Target="https://www.ecosystemmarketplace.com/wp-content/uploads/2015/09/sbdmr.pdf" TargetMode="External"/><Relationship Id="rId10" Type="http://schemas.openxmlformats.org/officeDocument/2006/relationships/image" Target="../media/image11.emf"/><Relationship Id="rId19" Type="http://schemas.openxmlformats.org/officeDocument/2006/relationships/image" Target="../media/image26.png"/><Relationship Id="rId4" Type="http://schemas.openxmlformats.org/officeDocument/2006/relationships/tags" Target="../tags/tag769.xml"/><Relationship Id="rId9" Type="http://schemas.openxmlformats.org/officeDocument/2006/relationships/oleObject" Target="../embeddings/oleObject107.bin"/><Relationship Id="rId14" Type="http://schemas.openxmlformats.org/officeDocument/2006/relationships/hyperlink" Target="https://www.iadb.org/en/news/four-countries-region-boost-nature-based-solutions-idb-and-canada-support" TargetMode="External"/></Relationships>
</file>

<file path=ppt/slides/_rels/slide41.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hyperlink" Target="https://carbon-pulse.com/208979/" TargetMode="External"/><Relationship Id="rId18" Type="http://schemas.openxmlformats.org/officeDocument/2006/relationships/image" Target="../media/image24.png"/><Relationship Id="rId3" Type="http://schemas.openxmlformats.org/officeDocument/2006/relationships/tags" Target="../tags/tag775.xml"/><Relationship Id="rId7" Type="http://schemas.openxmlformats.org/officeDocument/2006/relationships/tags" Target="../tags/tag779.xml"/><Relationship Id="rId12" Type="http://schemas.openxmlformats.org/officeDocument/2006/relationships/hyperlink" Target="https://www.fws.gov/testimony/us-fish-and-wildlife-services-proposed-fiscal-year-2025-budget" TargetMode="External"/><Relationship Id="rId17" Type="http://schemas.openxmlformats.org/officeDocument/2006/relationships/hyperlink" Target="https://www.cbd.int/doc/world/ng/ng-nbsap-v2-en.pdf" TargetMode="External"/><Relationship Id="rId2" Type="http://schemas.openxmlformats.org/officeDocument/2006/relationships/tags" Target="../tags/tag774.xml"/><Relationship Id="rId16" Type="http://schemas.openxmlformats.org/officeDocument/2006/relationships/hyperlink" Target="https://www.fao.org/faolex/results/details/en/c/LEX-FAOC168968/" TargetMode="External"/><Relationship Id="rId20" Type="http://schemas.openxmlformats.org/officeDocument/2006/relationships/image" Target="../media/image18.png"/><Relationship Id="rId1" Type="http://schemas.openxmlformats.org/officeDocument/2006/relationships/tags" Target="../tags/tag773.xml"/><Relationship Id="rId6" Type="http://schemas.openxmlformats.org/officeDocument/2006/relationships/tags" Target="../tags/tag778.xml"/><Relationship Id="rId11" Type="http://schemas.openxmlformats.org/officeDocument/2006/relationships/hyperlink" Target="https://www.ecosystemmarketplace.com/wp-content/uploads/2015/09/sbdmr.pdf" TargetMode="External"/><Relationship Id="rId5" Type="http://schemas.openxmlformats.org/officeDocument/2006/relationships/tags" Target="../tags/tag777.xml"/><Relationship Id="rId15" Type="http://schemas.openxmlformats.org/officeDocument/2006/relationships/hyperlink" Target="https://carbon-pulse.com/190136/" TargetMode="External"/><Relationship Id="rId10" Type="http://schemas.openxmlformats.org/officeDocument/2006/relationships/image" Target="../media/image11.emf"/><Relationship Id="rId19" Type="http://schemas.openxmlformats.org/officeDocument/2006/relationships/image" Target="../media/image29.png"/><Relationship Id="rId4" Type="http://schemas.openxmlformats.org/officeDocument/2006/relationships/tags" Target="../tags/tag776.xml"/><Relationship Id="rId9" Type="http://schemas.openxmlformats.org/officeDocument/2006/relationships/oleObject" Target="../embeddings/oleObject108.bin"/><Relationship Id="rId14" Type="http://schemas.openxmlformats.org/officeDocument/2006/relationships/hyperlink" Target="https://www.climatescorecard.org/2020/06/south-korea-has-a-strong-biodiversity-plan-that-is-not-being-effectively-implemented/" TargetMode="External"/></Relationships>
</file>

<file path=ppt/slides/_rels/slide42.xml.rels><?xml version="1.0" encoding="UTF-8" standalone="yes"?>
<Relationships xmlns="http://schemas.openxmlformats.org/package/2006/relationships"><Relationship Id="rId8" Type="http://schemas.openxmlformats.org/officeDocument/2006/relationships/tags" Target="../tags/tag787.xml"/><Relationship Id="rId13" Type="http://schemas.openxmlformats.org/officeDocument/2006/relationships/hyperlink" Target="https://www.undp.org/policy-centre/nairobi/news/viet-nams-first-national-ecosystem-assessment-warns-steady-biodiversity-loss-upending-economy" TargetMode="External"/><Relationship Id="rId18" Type="http://schemas.openxmlformats.org/officeDocument/2006/relationships/image" Target="../media/image31.png"/><Relationship Id="rId3" Type="http://schemas.openxmlformats.org/officeDocument/2006/relationships/tags" Target="../tags/tag782.xml"/><Relationship Id="rId21" Type="http://schemas.openxmlformats.org/officeDocument/2006/relationships/image" Target="../media/image27.png"/><Relationship Id="rId7" Type="http://schemas.openxmlformats.org/officeDocument/2006/relationships/tags" Target="../tags/tag786.xml"/><Relationship Id="rId12" Type="http://schemas.openxmlformats.org/officeDocument/2006/relationships/hyperlink" Target="https://www.ecosystemmarketplace.com/articles/vietnam-leads-southeast-asia-in-payments-for-ecosystem-services/#:~:text=Currently%2C%20%242.8%20million%20is%20being,400%20percent%20increase%20in%20income" TargetMode="External"/><Relationship Id="rId17" Type="http://schemas.openxmlformats.org/officeDocument/2006/relationships/hyperlink" Target="https://india.mongabay.com/2024/11/conserving-indias-biodiversity-will-cost-rs-816-billion-per-year-says-new-plan/" TargetMode="External"/><Relationship Id="rId2" Type="http://schemas.openxmlformats.org/officeDocument/2006/relationships/tags" Target="../tags/tag781.xml"/><Relationship Id="rId16" Type="http://schemas.openxmlformats.org/officeDocument/2006/relationships/hyperlink" Target="https://www.europarl.europa.eu/RegData/etudes/IDAN/2024/754196/IPOL_IDA(2024)754196_EN.pdf" TargetMode="External"/><Relationship Id="rId20" Type="http://schemas.openxmlformats.org/officeDocument/2006/relationships/image" Target="../media/image19.png"/><Relationship Id="rId1" Type="http://schemas.openxmlformats.org/officeDocument/2006/relationships/tags" Target="../tags/tag780.xml"/><Relationship Id="rId6" Type="http://schemas.openxmlformats.org/officeDocument/2006/relationships/tags" Target="../tags/tag785.xml"/><Relationship Id="rId11" Type="http://schemas.openxmlformats.org/officeDocument/2006/relationships/image" Target="../media/image11.emf"/><Relationship Id="rId5" Type="http://schemas.openxmlformats.org/officeDocument/2006/relationships/tags" Target="../tags/tag784.xml"/><Relationship Id="rId15" Type="http://schemas.openxmlformats.org/officeDocument/2006/relationships/hyperlink" Target="https://www.iadb.org/en/news/four-countries-region-boost-nature-based-solutions-idb-and-canada-support" TargetMode="External"/><Relationship Id="rId10" Type="http://schemas.openxmlformats.org/officeDocument/2006/relationships/oleObject" Target="../embeddings/oleObject109.bin"/><Relationship Id="rId19" Type="http://schemas.openxmlformats.org/officeDocument/2006/relationships/image" Target="../media/image16.png"/><Relationship Id="rId4" Type="http://schemas.openxmlformats.org/officeDocument/2006/relationships/tags" Target="../tags/tag783.xml"/><Relationship Id="rId9" Type="http://schemas.openxmlformats.org/officeDocument/2006/relationships/slideLayout" Target="../slideLayouts/slideLayout6.xml"/><Relationship Id="rId14" Type="http://schemas.openxmlformats.org/officeDocument/2006/relationships/hyperlink" Target="https://www.profor.info/content/mexico-payments-ecosystem-services-benefit-forests-and-communities" TargetMode="External"/></Relationships>
</file>

<file path=ppt/slides/_rels/slide43.xml.rels><?xml version="1.0" encoding="UTF-8" standalone="yes"?>
<Relationships xmlns="http://schemas.openxmlformats.org/package/2006/relationships"><Relationship Id="rId8" Type="http://schemas.openxmlformats.org/officeDocument/2006/relationships/tags" Target="../tags/tag795.xml"/><Relationship Id="rId13" Type="http://schemas.openxmlformats.org/officeDocument/2006/relationships/hyperlink" Target="https://knowledge4policy.ec.europa.eu/biodiversity/eu-action-biodiversity-financing_en" TargetMode="External"/><Relationship Id="rId18" Type="http://schemas.openxmlformats.org/officeDocument/2006/relationships/hyperlink" Target="https://www.eib.org/en/press/all/2022-012-france-eib-and-eau-de-paris-commit-to-protecting-biodiversity-and-ecosystems-in-ile-de-france" TargetMode="External"/><Relationship Id="rId26" Type="http://schemas.openxmlformats.org/officeDocument/2006/relationships/image" Target="../media/image17.png"/><Relationship Id="rId3" Type="http://schemas.openxmlformats.org/officeDocument/2006/relationships/tags" Target="../tags/tag790.xml"/><Relationship Id="rId21" Type="http://schemas.openxmlformats.org/officeDocument/2006/relationships/hyperlink" Target="https://www.international-climate-initiative.com/en/iki-media/video/launching-a-new-era-indonesias-ibsap-2025-2045-for-biodiversity-protection-new674452164199d520214033/" TargetMode="External"/><Relationship Id="rId7" Type="http://schemas.openxmlformats.org/officeDocument/2006/relationships/tags" Target="../tags/tag794.xml"/><Relationship Id="rId12" Type="http://schemas.openxmlformats.org/officeDocument/2006/relationships/image" Target="../media/image11.emf"/><Relationship Id="rId17" Type="http://schemas.openxmlformats.org/officeDocument/2006/relationships/hyperlink" Target="https://www.green.earth/news/italian-nature-tech-firm-unveils-biodiversity-credit-initiative" TargetMode="External"/><Relationship Id="rId25" Type="http://schemas.openxmlformats.org/officeDocument/2006/relationships/image" Target="../media/image15.png"/><Relationship Id="rId2" Type="http://schemas.openxmlformats.org/officeDocument/2006/relationships/tags" Target="../tags/tag789.xml"/><Relationship Id="rId16" Type="http://schemas.openxmlformats.org/officeDocument/2006/relationships/hyperlink" Target="https://www.bmz.de/en/news/press-releases/germany-steps-up-its-global-efforts-for-nature-231308" TargetMode="External"/><Relationship Id="rId20" Type="http://schemas.openxmlformats.org/officeDocument/2006/relationships/hyperlink" Target="https://uk.ambafrance.org/France-pledges-EUR5-million-to-Global-Biodiversity-Framework-Fund" TargetMode="External"/><Relationship Id="rId29" Type="http://schemas.openxmlformats.org/officeDocument/2006/relationships/image" Target="../media/image32.png"/><Relationship Id="rId1" Type="http://schemas.openxmlformats.org/officeDocument/2006/relationships/tags" Target="../tags/tag788.xml"/><Relationship Id="rId6" Type="http://schemas.openxmlformats.org/officeDocument/2006/relationships/tags" Target="../tags/tag793.xml"/><Relationship Id="rId11" Type="http://schemas.openxmlformats.org/officeDocument/2006/relationships/oleObject" Target="../embeddings/oleObject110.bin"/><Relationship Id="rId24" Type="http://schemas.openxmlformats.org/officeDocument/2006/relationships/image" Target="../media/image14.png"/><Relationship Id="rId5" Type="http://schemas.openxmlformats.org/officeDocument/2006/relationships/tags" Target="../tags/tag792.xml"/><Relationship Id="rId15" Type="http://schemas.openxmlformats.org/officeDocument/2006/relationships/hyperlink" Target="https://www.sciencedirect.com/science/article/pii/S2589811623000125" TargetMode="External"/><Relationship Id="rId23" Type="http://schemas.openxmlformats.org/officeDocument/2006/relationships/hyperlink" Target="https://portals.iucn.org/offsetpolicy/node/57" TargetMode="External"/><Relationship Id="rId28" Type="http://schemas.openxmlformats.org/officeDocument/2006/relationships/image" Target="../media/image30.png"/><Relationship Id="rId10" Type="http://schemas.openxmlformats.org/officeDocument/2006/relationships/slideLayout" Target="../slideLayouts/slideLayout6.xml"/><Relationship Id="rId19" Type="http://schemas.openxmlformats.org/officeDocument/2006/relationships/hyperlink" Target="https://carbon-pulse.com/208979/" TargetMode="External"/><Relationship Id="rId4" Type="http://schemas.openxmlformats.org/officeDocument/2006/relationships/tags" Target="../tags/tag791.xml"/><Relationship Id="rId9" Type="http://schemas.openxmlformats.org/officeDocument/2006/relationships/tags" Target="../tags/tag796.xml"/><Relationship Id="rId14" Type="http://schemas.openxmlformats.org/officeDocument/2006/relationships/hyperlink" Target="https://www.europarc.org/wp-content/uploads/2024/07/2024_07_Unlocking-funds-for-nature_How-the-next-EU-budget-must-deliver-for-biodiversity.pdf" TargetMode="External"/><Relationship Id="rId22" Type="http://schemas.openxmlformats.org/officeDocument/2006/relationships/hyperlink" Target="https://sdm.satoyama-initiative.org/" TargetMode="External"/><Relationship Id="rId27" Type="http://schemas.openxmlformats.org/officeDocument/2006/relationships/image" Target="../media/image28.png"/><Relationship Id="rId30" Type="http://schemas.openxmlformats.org/officeDocument/2006/relationships/image" Target="../media/image23.pn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6.xml"/><Relationship Id="rId1" Type="http://schemas.openxmlformats.org/officeDocument/2006/relationships/tags" Target="../tags/tag797.xml"/><Relationship Id="rId4" Type="http://schemas.openxmlformats.org/officeDocument/2006/relationships/image" Target="../media/image1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11.bin"/><Relationship Id="rId7" Type="http://schemas.openxmlformats.org/officeDocument/2006/relationships/hyperlink" Target="https://www.linkedin.com/company/inevitable-policy-response/?viewAsMember=true" TargetMode="External"/><Relationship Id="rId2" Type="http://schemas.openxmlformats.org/officeDocument/2006/relationships/slideLayout" Target="../slideLayouts/slideLayout6.xml"/><Relationship Id="rId1" Type="http://schemas.openxmlformats.org/officeDocument/2006/relationships/tags" Target="../tags/tag798.xml"/><Relationship Id="rId6" Type="http://schemas.openxmlformats.org/officeDocument/2006/relationships/hyperlink" Target="mailto:Andrew.Whiley@inevitablepolicyresponse.org" TargetMode="External"/><Relationship Id="rId5" Type="http://schemas.openxmlformats.org/officeDocument/2006/relationships/hyperlink" Target="mailto:Jakob@theiafinance.org" TargetMode="External"/><Relationship Id="rId4" Type="http://schemas.openxmlformats.org/officeDocument/2006/relationships/image" Target="../media/image11.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xml"/><Relationship Id="rId1" Type="http://schemas.openxmlformats.org/officeDocument/2006/relationships/tags" Target="../tags/tag799.xml"/><Relationship Id="rId5" Type="http://schemas.openxmlformats.org/officeDocument/2006/relationships/image" Target="../media/image33.emf"/><Relationship Id="rId4" Type="http://schemas.openxmlformats.org/officeDocument/2006/relationships/oleObject" Target="../embeddings/oleObject112.bin"/></Relationships>
</file>

<file path=ppt/slides/_rels/slide5.xml.rels><?xml version="1.0" encoding="UTF-8" standalone="yes"?>
<Relationships xmlns="http://schemas.openxmlformats.org/package/2006/relationships"><Relationship Id="rId8" Type="http://schemas.openxmlformats.org/officeDocument/2006/relationships/tags" Target="../tags/tag417.xml"/><Relationship Id="rId13" Type="http://schemas.openxmlformats.org/officeDocument/2006/relationships/oleObject" Target="../embeddings/oleObject75.bin"/><Relationship Id="rId18" Type="http://schemas.openxmlformats.org/officeDocument/2006/relationships/hyperlink" Target="https://www.dehst.de/DE/Themen/EU-ETS-1/EU-ETS-1-Informationen/EU-ETS-1-verstehen/eu-ets-1-verstehen_artikel.html?utm_source=chatgpt.com" TargetMode="External"/><Relationship Id="rId26" Type="http://schemas.openxmlformats.org/officeDocument/2006/relationships/hyperlink" Target="https://www.argusmedia.com/en/news-and-insights/latest-market-news/2479504-australia-considers-carbon-border-adjustment-mechanism" TargetMode="External"/><Relationship Id="rId3" Type="http://schemas.openxmlformats.org/officeDocument/2006/relationships/tags" Target="../tags/tag412.xml"/><Relationship Id="rId21" Type="http://schemas.openxmlformats.org/officeDocument/2006/relationships/hyperlink" Target="https://www.climateaction.org/news/the-uk-emissions-trading-scheme-puts-tighter-cap-on-emissions-from-selected#:~:text=The%20UK%20Emissions%20Trading%20Scheme%20Authority%20has%20announced%20a%20package,and%20aviation%20emissions%20from%202024." TargetMode="External"/><Relationship Id="rId34" Type="http://schemas.openxmlformats.org/officeDocument/2006/relationships/image" Target="../media/image17.png"/><Relationship Id="rId7" Type="http://schemas.openxmlformats.org/officeDocument/2006/relationships/tags" Target="../tags/tag416.xml"/><Relationship Id="rId12" Type="http://schemas.openxmlformats.org/officeDocument/2006/relationships/slideLayout" Target="../slideLayouts/slideLayout6.xml"/><Relationship Id="rId17" Type="http://schemas.openxmlformats.org/officeDocument/2006/relationships/hyperlink" Target="https://www.consilium.europa.eu/en/press/press-releases/2023/04/25/fit-for-55-council-adopts-key-pieces-of-legislation-delivering-on-2030-climate-targets/#:~:text=Carbon%20Border%20Adjustment%20Mechanism&amp;text=Until%20the%20end%20of%202025,ETS%20for%20the%20sectors%20concerned." TargetMode="External"/><Relationship Id="rId25" Type="http://schemas.openxmlformats.org/officeDocument/2006/relationships/hyperlink" Target="https://www.aph.gov.au/Parliamentary_Business/Bills_Legislation/Bills_Search_Results/Result?bId=r6957" TargetMode="External"/><Relationship Id="rId33" Type="http://schemas.openxmlformats.org/officeDocument/2006/relationships/image" Target="../media/image15.png"/><Relationship Id="rId2" Type="http://schemas.openxmlformats.org/officeDocument/2006/relationships/tags" Target="../tags/tag411.xml"/><Relationship Id="rId16" Type="http://schemas.openxmlformats.org/officeDocument/2006/relationships/hyperlink" Target="https://www.canada.ca/en/services/environment/weather/climatechange/climate-plan/oil-gas-emissions-cap.html" TargetMode="External"/><Relationship Id="rId20" Type="http://schemas.openxmlformats.org/officeDocument/2006/relationships/hyperlink" Target="https://www.gov.uk/government/publications/participating-in-the-uk-ets/participating-in-the-uk-ets" TargetMode="External"/><Relationship Id="rId29" Type="http://schemas.openxmlformats.org/officeDocument/2006/relationships/image" Target="../media/image13.png"/><Relationship Id="rId1" Type="http://schemas.openxmlformats.org/officeDocument/2006/relationships/tags" Target="../tags/tag410.xml"/><Relationship Id="rId6" Type="http://schemas.openxmlformats.org/officeDocument/2006/relationships/tags" Target="../tags/tag415.xml"/><Relationship Id="rId11" Type="http://schemas.openxmlformats.org/officeDocument/2006/relationships/tags" Target="../tags/tag420.xml"/><Relationship Id="rId24" Type="http://schemas.openxmlformats.org/officeDocument/2006/relationships/hyperlink" Target="https://www.rggi.org/" TargetMode="External"/><Relationship Id="rId32" Type="http://schemas.openxmlformats.org/officeDocument/2006/relationships/image" Target="../media/image12.png"/><Relationship Id="rId5" Type="http://schemas.openxmlformats.org/officeDocument/2006/relationships/tags" Target="../tags/tag414.xml"/><Relationship Id="rId15" Type="http://schemas.openxmlformats.org/officeDocument/2006/relationships/hyperlink" Target="https://www.canada.ca/en/environment-climate-change/services/climate-change/pricing-pollution-how-it-will-work/carbon-pollution-pricing-federal-benchmark-information.html" TargetMode="External"/><Relationship Id="rId23" Type="http://schemas.openxmlformats.org/officeDocument/2006/relationships/hyperlink" Target="https://www.c2es.org/content/california-cap-and-trade/" TargetMode="External"/><Relationship Id="rId28" Type="http://schemas.openxmlformats.org/officeDocument/2006/relationships/image" Target="../media/image14.png"/><Relationship Id="rId10" Type="http://schemas.openxmlformats.org/officeDocument/2006/relationships/tags" Target="../tags/tag419.xml"/><Relationship Id="rId19" Type="http://schemas.openxmlformats.org/officeDocument/2006/relationships/hyperlink" Target="https://www.dehst.de/DE/Themen/EU-ETS-1/EU-ETS-1-Informationen/EU-ETS-1-verstehen/eu-ets-1-verstehen_artikel.html?" TargetMode="External"/><Relationship Id="rId31" Type="http://schemas.openxmlformats.org/officeDocument/2006/relationships/image" Target="../media/image24.png"/><Relationship Id="rId4" Type="http://schemas.openxmlformats.org/officeDocument/2006/relationships/tags" Target="../tags/tag413.xml"/><Relationship Id="rId9" Type="http://schemas.openxmlformats.org/officeDocument/2006/relationships/tags" Target="../tags/tag418.xml"/><Relationship Id="rId14" Type="http://schemas.openxmlformats.org/officeDocument/2006/relationships/image" Target="../media/image11.emf"/><Relationship Id="rId22" Type="http://schemas.openxmlformats.org/officeDocument/2006/relationships/hyperlink" Target="https://assets.publishing.service.gov.uk/media/672a00dfabb279b2de1e8b8a/_Updated__4038_-_Introduction_of_a_UK_Carbon_Border_Adjustment_Mechanism_from_January_2027_-_Government_response_to_the_policy_design_consultation.pdf" TargetMode="External"/><Relationship Id="rId27" Type="http://schemas.openxmlformats.org/officeDocument/2006/relationships/hyperlink" Target="https://cer.gov.au/schemes/australian-carbon-credit-unit-scheme" TargetMode="External"/><Relationship Id="rId30" Type="http://schemas.openxmlformats.org/officeDocument/2006/relationships/image" Target="../media/image22.png"/></Relationships>
</file>

<file path=ppt/slides/_rels/slide6.xml.rels><?xml version="1.0" encoding="UTF-8" standalone="yes"?>
<Relationships xmlns="http://schemas.openxmlformats.org/package/2006/relationships"><Relationship Id="rId8" Type="http://schemas.openxmlformats.org/officeDocument/2006/relationships/tags" Target="../tags/tag428.xml"/><Relationship Id="rId13" Type="http://schemas.openxmlformats.org/officeDocument/2006/relationships/oleObject" Target="../embeddings/oleObject76.bin"/><Relationship Id="rId18" Type="http://schemas.openxmlformats.org/officeDocument/2006/relationships/hyperlink" Target="https://icapcarbonaction.com/en/ets/korea-emissions-trading-scheme#:~:text=No%20more%20such%20cases%20have,seven%20K%2DETS%20market%20makers." TargetMode="External"/><Relationship Id="rId26" Type="http://schemas.openxmlformats.org/officeDocument/2006/relationships/image" Target="../media/image18.png"/><Relationship Id="rId3" Type="http://schemas.openxmlformats.org/officeDocument/2006/relationships/tags" Target="../tags/tag423.xml"/><Relationship Id="rId21" Type="http://schemas.openxmlformats.org/officeDocument/2006/relationships/hyperlink" Target="https://www.gov.za/news/media-statements/deputy-minister-samantha-graham-mar%C3%A9-carbon-taxes-rise-140-2030-02-dec-2024" TargetMode="External"/><Relationship Id="rId7" Type="http://schemas.openxmlformats.org/officeDocument/2006/relationships/tags" Target="../tags/tag427.xml"/><Relationship Id="rId12" Type="http://schemas.openxmlformats.org/officeDocument/2006/relationships/slideLayout" Target="../slideLayouts/slideLayout6.xml"/><Relationship Id="rId17" Type="http://schemas.openxmlformats.org/officeDocument/2006/relationships/hyperlink" Target="https://icapcarbonaction.com/en/news/japans-cabinet-approves-policy-roadmap-including-plans-national-ets#:~:text=Separately%2C%20the%20government%20will%20impose,USD%202.16)%20per%20tCO2." TargetMode="External"/><Relationship Id="rId25" Type="http://schemas.openxmlformats.org/officeDocument/2006/relationships/image" Target="../media/image16.png"/><Relationship Id="rId2" Type="http://schemas.openxmlformats.org/officeDocument/2006/relationships/tags" Target="../tags/tag422.xml"/><Relationship Id="rId16" Type="http://schemas.openxmlformats.org/officeDocument/2006/relationships/hyperlink" Target="https://www.env.go.jp/content/900453366.pdf" TargetMode="External"/><Relationship Id="rId20" Type="http://schemas.openxmlformats.org/officeDocument/2006/relationships/hyperlink" Target="https://icapcarbonaction.com/en/ets/mexican-emissions-trading-system" TargetMode="External"/><Relationship Id="rId29" Type="http://schemas.openxmlformats.org/officeDocument/2006/relationships/image" Target="../media/image26.png"/><Relationship Id="rId1" Type="http://schemas.openxmlformats.org/officeDocument/2006/relationships/tags" Target="../tags/tag421.xml"/><Relationship Id="rId6" Type="http://schemas.openxmlformats.org/officeDocument/2006/relationships/tags" Target="../tags/tag426.xml"/><Relationship Id="rId11" Type="http://schemas.openxmlformats.org/officeDocument/2006/relationships/tags" Target="../tags/tag431.xml"/><Relationship Id="rId24" Type="http://schemas.openxmlformats.org/officeDocument/2006/relationships/image" Target="../media/image23.png"/><Relationship Id="rId5" Type="http://schemas.openxmlformats.org/officeDocument/2006/relationships/tags" Target="../tags/tag425.xml"/><Relationship Id="rId15" Type="http://schemas.openxmlformats.org/officeDocument/2006/relationships/hyperlink" Target="https://www.spglobal.com/commodity-insights/en/news-research/latest-news/energy-transition/011223-chinas-carbon-market-to-slow-in-2023-as-energy-security-economy-take-priority#:~:text=China's%20national%20carbon%20price%20largely,on%20the%20immediate%20horizon%2C%20according" TargetMode="External"/><Relationship Id="rId23" Type="http://schemas.openxmlformats.org/officeDocument/2006/relationships/hyperlink" Target="https://icapcarbonaction.com/system/files/ets_pdfs/icap-etsmap-factsheet-66.pdf" TargetMode="External"/><Relationship Id="rId28" Type="http://schemas.openxmlformats.org/officeDocument/2006/relationships/image" Target="../media/image19.png"/><Relationship Id="rId10" Type="http://schemas.openxmlformats.org/officeDocument/2006/relationships/tags" Target="../tags/tag430.xml"/><Relationship Id="rId19" Type="http://schemas.openxmlformats.org/officeDocument/2006/relationships/hyperlink" Target="https://pib.gov.in/PressReleasePage.aspx?PRID=1883921" TargetMode="External"/><Relationship Id="rId4" Type="http://schemas.openxmlformats.org/officeDocument/2006/relationships/tags" Target="../tags/tag424.xml"/><Relationship Id="rId9" Type="http://schemas.openxmlformats.org/officeDocument/2006/relationships/tags" Target="../tags/tag429.xml"/><Relationship Id="rId14" Type="http://schemas.openxmlformats.org/officeDocument/2006/relationships/image" Target="../media/image11.emf"/><Relationship Id="rId22" Type="http://schemas.openxmlformats.org/officeDocument/2006/relationships/hyperlink" Target="https://www.treasury.gov.za/documents/national%20budget/2022/review/FullBR.pdf" TargetMode="External"/><Relationship Id="rId27" Type="http://schemas.openxmlformats.org/officeDocument/2006/relationships/image" Target="../media/image25.png"/><Relationship Id="rId30"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oleObject" Target="../embeddings/oleObject76.bin"/><Relationship Id="rId18" Type="http://schemas.openxmlformats.org/officeDocument/2006/relationships/hyperlink" Target="https://icapcarbonaction.com/en/news/indonesia-launches-emissions-trading-system-power-generation-sector" TargetMode="External"/><Relationship Id="rId26" Type="http://schemas.openxmlformats.org/officeDocument/2006/relationships/image" Target="../media/image20.png"/><Relationship Id="rId3" Type="http://schemas.openxmlformats.org/officeDocument/2006/relationships/tags" Target="../tags/tag434.xml"/><Relationship Id="rId21" Type="http://schemas.openxmlformats.org/officeDocument/2006/relationships/hyperlink" Target="https://www.spglobal.com/commodity-insights/en/news-research/latest-news/energy-transition/111224-cop29-saudi-arabia-launches-carbon-credit-exchange-to-bolster-decarbonization-efforts" TargetMode="External"/><Relationship Id="rId7" Type="http://schemas.openxmlformats.org/officeDocument/2006/relationships/tags" Target="../tags/tag438.xml"/><Relationship Id="rId12" Type="http://schemas.openxmlformats.org/officeDocument/2006/relationships/slideLayout" Target="../slideLayouts/slideLayout6.xml"/><Relationship Id="rId17" Type="http://schemas.openxmlformats.org/officeDocument/2006/relationships/hyperlink" Target="https://www.reuters.com/article/brazil-economy-environment-idAFL1N39X2UR" TargetMode="External"/><Relationship Id="rId25" Type="http://schemas.openxmlformats.org/officeDocument/2006/relationships/image" Target="../media/image32.png"/><Relationship Id="rId2" Type="http://schemas.openxmlformats.org/officeDocument/2006/relationships/tags" Target="../tags/tag433.xml"/><Relationship Id="rId16" Type="http://schemas.openxmlformats.org/officeDocument/2006/relationships/hyperlink" Target="https://icapcarbonaction.com/en/ets/brazil" TargetMode="External"/><Relationship Id="rId20" Type="http://schemas.openxmlformats.org/officeDocument/2006/relationships/hyperlink" Target="https://businessday.ng/news/article/nigeria-inaugurates-ambitious-carbon-market-plan/" TargetMode="External"/><Relationship Id="rId29" Type="http://schemas.openxmlformats.org/officeDocument/2006/relationships/image" Target="../media/image21.png"/><Relationship Id="rId1" Type="http://schemas.openxmlformats.org/officeDocument/2006/relationships/tags" Target="../tags/tag432.xml"/><Relationship Id="rId6" Type="http://schemas.openxmlformats.org/officeDocument/2006/relationships/tags" Target="../tags/tag437.xml"/><Relationship Id="rId11" Type="http://schemas.openxmlformats.org/officeDocument/2006/relationships/tags" Target="../tags/tag442.xml"/><Relationship Id="rId24" Type="http://schemas.openxmlformats.org/officeDocument/2006/relationships/image" Target="../media/image31.png"/><Relationship Id="rId5" Type="http://schemas.openxmlformats.org/officeDocument/2006/relationships/tags" Target="../tags/tag436.xml"/><Relationship Id="rId15" Type="http://schemas.openxmlformats.org/officeDocument/2006/relationships/hyperlink" Target="https://carbonpricingdashboard.worldbank.org/compliance/price" TargetMode="External"/><Relationship Id="rId23" Type="http://schemas.openxmlformats.org/officeDocument/2006/relationships/image" Target="../media/image29.png"/><Relationship Id="rId28" Type="http://schemas.openxmlformats.org/officeDocument/2006/relationships/image" Target="../media/image30.png"/><Relationship Id="rId10" Type="http://schemas.openxmlformats.org/officeDocument/2006/relationships/tags" Target="../tags/tag441.xml"/><Relationship Id="rId19" Type="http://schemas.openxmlformats.org/officeDocument/2006/relationships/hyperlink" Target="https://icapcarbonaction.com/system/files/document/ICAP%20Emissions%20Trading%20Worldwide%202023%20Status%20Report_0.pdf" TargetMode="External"/><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image" Target="../media/image11.emf"/><Relationship Id="rId22" Type="http://schemas.openxmlformats.org/officeDocument/2006/relationships/hyperlink" Target="https://www.vietnam-briefing.com/news/vietnams-carbon-market-2023.html/" TargetMode="External"/><Relationship Id="rId27"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tags" Target="../tags/tag450.xml"/><Relationship Id="rId13" Type="http://schemas.openxmlformats.org/officeDocument/2006/relationships/oleObject" Target="../embeddings/oleObject77.bin"/><Relationship Id="rId18" Type="http://schemas.openxmlformats.org/officeDocument/2006/relationships/hyperlink" Target="https://www.spglobal.com/commodityinsights/en/market-insights/latest-news/coal/012920-german-cabinet-passes-coal-exit-law" TargetMode="External"/><Relationship Id="rId26" Type="http://schemas.openxmlformats.org/officeDocument/2006/relationships/image" Target="../media/image12.png"/><Relationship Id="rId3" Type="http://schemas.openxmlformats.org/officeDocument/2006/relationships/tags" Target="../tags/tag445.xml"/><Relationship Id="rId21" Type="http://schemas.openxmlformats.org/officeDocument/2006/relationships/hyperlink" Target="https://climateenergyfinance.org/wp-content/uploads/2023/05/India-NEP-080523.docx-1.pdf" TargetMode="External"/><Relationship Id="rId7" Type="http://schemas.openxmlformats.org/officeDocument/2006/relationships/tags" Target="../tags/tag449.xml"/><Relationship Id="rId12" Type="http://schemas.openxmlformats.org/officeDocument/2006/relationships/slideLayout" Target="../slideLayouts/slideLayout6.xml"/><Relationship Id="rId17" Type="http://schemas.openxmlformats.org/officeDocument/2006/relationships/hyperlink" Target="https://www.iea.org/countries/france" TargetMode="External"/><Relationship Id="rId25" Type="http://schemas.openxmlformats.org/officeDocument/2006/relationships/hyperlink" Target="https://koreapro.org/2024/11/why-south-koreas-ambitious-plan-to-phase-out-coal-faces-serious-headwinds/#:~:text=South%20Korea's%20trade%20ministry%20has,and%20reduce%20greenhouse%20gas%20emissions." TargetMode="External"/><Relationship Id="rId2" Type="http://schemas.openxmlformats.org/officeDocument/2006/relationships/tags" Target="../tags/tag444.xml"/><Relationship Id="rId16" Type="http://schemas.openxmlformats.org/officeDocument/2006/relationships/hyperlink" Target="https://laws-lois.justice.gc.ca/eng/regulations/sor-2012-167/index.html" TargetMode="External"/><Relationship Id="rId20" Type="http://schemas.openxmlformats.org/officeDocument/2006/relationships/hyperlink" Target="https://www.reuters.com/sustainability/climate-energy/eu-approves-175-bln-eur-compensation-german-coal-exit-germany-says-2024-06-04/" TargetMode="External"/><Relationship Id="rId29" Type="http://schemas.openxmlformats.org/officeDocument/2006/relationships/image" Target="../media/image17.png"/><Relationship Id="rId1" Type="http://schemas.openxmlformats.org/officeDocument/2006/relationships/tags" Target="../tags/tag443.xml"/><Relationship Id="rId6" Type="http://schemas.openxmlformats.org/officeDocument/2006/relationships/tags" Target="../tags/tag448.xml"/><Relationship Id="rId11" Type="http://schemas.openxmlformats.org/officeDocument/2006/relationships/tags" Target="../tags/tag453.xml"/><Relationship Id="rId24" Type="http://schemas.openxmlformats.org/officeDocument/2006/relationships/hyperlink" Target="https://www.reuters.com/sustainability/climate-energy/italy-phase-out-coal-2025-excluding-sardinia-island-2024-03-06/" TargetMode="External"/><Relationship Id="rId32" Type="http://schemas.openxmlformats.org/officeDocument/2006/relationships/image" Target="../media/image16.png"/><Relationship Id="rId5" Type="http://schemas.openxmlformats.org/officeDocument/2006/relationships/tags" Target="../tags/tag447.xml"/><Relationship Id="rId15" Type="http://schemas.openxmlformats.org/officeDocument/2006/relationships/hyperlink" Target="https://www.unsw.edu.au/newsroom/news/2023/12/coal-will-be-all-but-gone-by-2034-under-australias-latest-energy#:~:text=Under%20the%20new%20plan%2C%20coal%20vanishes%20even%20faster.&amp;text=Australia's%20coal%20power%20stations%20will,and%20increase%20sevenfold%20by%202050." TargetMode="External"/><Relationship Id="rId23" Type="http://schemas.openxmlformats.org/officeDocument/2006/relationships/hyperlink" Target="https://energy.ec.europa.eu/system/files/2020-02/it_final_necp_main_en_0.pdf" TargetMode="External"/><Relationship Id="rId28" Type="http://schemas.openxmlformats.org/officeDocument/2006/relationships/image" Target="../media/image15.png"/><Relationship Id="rId10" Type="http://schemas.openxmlformats.org/officeDocument/2006/relationships/tags" Target="../tags/tag452.xml"/><Relationship Id="rId19" Type="http://schemas.openxmlformats.org/officeDocument/2006/relationships/hyperlink" Target="https://www.reuters.com/business/energy/eu-approves-28-bln-euro-german-renewable-energy-scheme-2022-12-21/#:~:text=%22The%20German%20Renewable%20Energy%20Act,receive%20for%20selling%20their%20power." TargetMode="External"/><Relationship Id="rId31" Type="http://schemas.openxmlformats.org/officeDocument/2006/relationships/image" Target="../media/image14.png"/><Relationship Id="rId4" Type="http://schemas.openxmlformats.org/officeDocument/2006/relationships/tags" Target="../tags/tag446.xml"/><Relationship Id="rId9" Type="http://schemas.openxmlformats.org/officeDocument/2006/relationships/tags" Target="../tags/tag451.xml"/><Relationship Id="rId14" Type="http://schemas.openxmlformats.org/officeDocument/2006/relationships/image" Target="../media/image11.emf"/><Relationship Id="rId22" Type="http://schemas.openxmlformats.org/officeDocument/2006/relationships/hyperlink" Target="https://www.reuters.com/markets/commodities/india-asks-utilities-order-33-bln-equipment-this-year-boost-coal-power-output-2024-07-03/" TargetMode="External"/><Relationship Id="rId27" Type="http://schemas.openxmlformats.org/officeDocument/2006/relationships/image" Target="../media/image13.png"/><Relationship Id="rId30"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tags" Target="../tags/tag461.xml"/><Relationship Id="rId13" Type="http://schemas.openxmlformats.org/officeDocument/2006/relationships/oleObject" Target="../embeddings/oleObject78.bin"/><Relationship Id="rId18" Type="http://schemas.openxmlformats.org/officeDocument/2006/relationships/hyperlink" Target="https://apnews.com/article/power-plants-coal-natural-gas-biden-epa-5c96ca146e7f70b47806beb4bc3713e6" TargetMode="External"/><Relationship Id="rId26" Type="http://schemas.openxmlformats.org/officeDocument/2006/relationships/image" Target="../media/image21.png"/><Relationship Id="rId3" Type="http://schemas.openxmlformats.org/officeDocument/2006/relationships/tags" Target="../tags/tag456.xml"/><Relationship Id="rId21" Type="http://schemas.openxmlformats.org/officeDocument/2006/relationships/hyperlink" Target="https://www.wri.org/insights/countries-phasing-out-coal-power-fastest" TargetMode="External"/><Relationship Id="rId7" Type="http://schemas.openxmlformats.org/officeDocument/2006/relationships/tags" Target="../tags/tag460.xml"/><Relationship Id="rId12" Type="http://schemas.openxmlformats.org/officeDocument/2006/relationships/slideLayout" Target="../slideLayouts/slideLayout6.xml"/><Relationship Id="rId17" Type="http://schemas.openxmlformats.org/officeDocument/2006/relationships/hyperlink" Target="https://www.iea.org/countries/united-kingdom" TargetMode="External"/><Relationship Id="rId25" Type="http://schemas.openxmlformats.org/officeDocument/2006/relationships/image" Target="../media/image20.png"/><Relationship Id="rId2" Type="http://schemas.openxmlformats.org/officeDocument/2006/relationships/tags" Target="../tags/tag455.xml"/><Relationship Id="rId16" Type="http://schemas.openxmlformats.org/officeDocument/2006/relationships/hyperlink" Target="https://www.iea.org/countries/brazil" TargetMode="External"/><Relationship Id="rId20" Type="http://schemas.openxmlformats.org/officeDocument/2006/relationships/hyperlink" Target="https://www.bloomberg.com/news/articles/2023-04-24/china-s-coal-power-building-plans-are-still-at-a-frenzied-pace?leadSource=uverify%20wall" TargetMode="External"/><Relationship Id="rId29" Type="http://schemas.openxmlformats.org/officeDocument/2006/relationships/image" Target="../media/image24.png"/><Relationship Id="rId1" Type="http://schemas.openxmlformats.org/officeDocument/2006/relationships/tags" Target="../tags/tag454.xml"/><Relationship Id="rId6" Type="http://schemas.openxmlformats.org/officeDocument/2006/relationships/tags" Target="../tags/tag459.xml"/><Relationship Id="rId11" Type="http://schemas.openxmlformats.org/officeDocument/2006/relationships/tags" Target="../tags/tag464.xml"/><Relationship Id="rId24" Type="http://schemas.openxmlformats.org/officeDocument/2006/relationships/image" Target="../media/image19.png"/><Relationship Id="rId5" Type="http://schemas.openxmlformats.org/officeDocument/2006/relationships/tags" Target="../tags/tag458.xml"/><Relationship Id="rId15" Type="http://schemas.openxmlformats.org/officeDocument/2006/relationships/hyperlink" Target="https://www.iea.org/countries/argentina" TargetMode="External"/><Relationship Id="rId23" Type="http://schemas.openxmlformats.org/officeDocument/2006/relationships/hyperlink" Target="https://www.weforum.org/stories/2024/05/energy-news-g7-coal-phaseout-renewables-batteries/" TargetMode="External"/><Relationship Id="rId28" Type="http://schemas.openxmlformats.org/officeDocument/2006/relationships/image" Target="../media/image23.png"/><Relationship Id="rId10" Type="http://schemas.openxmlformats.org/officeDocument/2006/relationships/tags" Target="../tags/tag463.xml"/><Relationship Id="rId19" Type="http://schemas.openxmlformats.org/officeDocument/2006/relationships/hyperlink" Target="https://www.theguardian.com/world/2024/apr/30/g7-agree-to-end-use-of-unabated-coal-power-plants-by-2035" TargetMode="External"/><Relationship Id="rId4" Type="http://schemas.openxmlformats.org/officeDocument/2006/relationships/tags" Target="../tags/tag457.xml"/><Relationship Id="rId9" Type="http://schemas.openxmlformats.org/officeDocument/2006/relationships/tags" Target="../tags/tag462.xml"/><Relationship Id="rId14" Type="http://schemas.openxmlformats.org/officeDocument/2006/relationships/image" Target="../media/image11.emf"/><Relationship Id="rId22" Type="http://schemas.openxmlformats.org/officeDocument/2006/relationships/hyperlink" Target="https://www.reuters.com/markets/commodities/japan-says-aims-cut-ratio-coal-power-generation-much-possible-2022-05-27/" TargetMode="External"/><Relationship Id="rId27" Type="http://schemas.openxmlformats.org/officeDocument/2006/relationships/image" Target="../media/image22.png"/><Relationship Id="rId30"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BF143F1-E04A-321D-CA57-3B1F13FE7EE6}"/>
              </a:ext>
            </a:extLst>
          </p:cNvPr>
          <p:cNvGraphicFramePr>
            <a:graphicFrameLocks noChangeAspect="1"/>
          </p:cNvGraphicFramePr>
          <p:nvPr>
            <p:custDataLst>
              <p:tags r:id="rId1"/>
            </p:custDataLst>
            <p:extLst>
              <p:ext uri="{D42A27DB-BD31-4B8C-83A1-F6EECF244321}">
                <p14:modId xmlns:p14="http://schemas.microsoft.com/office/powerpoint/2010/main" val="3333052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think-cell data - do not delete" hidden="1">
                        <a:extLst>
                          <a:ext uri="{FF2B5EF4-FFF2-40B4-BE49-F238E27FC236}">
                            <a16:creationId xmlns:a16="http://schemas.microsoft.com/office/drawing/2014/main" id="{9BF143F1-E04A-321D-CA57-3B1F13FE7E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5E274462-09C5-265A-EAD3-71E34201954D}"/>
              </a:ext>
            </a:extLst>
          </p:cNvPr>
          <p:cNvCxnSpPr>
            <a:cxnSpLocks/>
          </p:cNvCxnSpPr>
          <p:nvPr/>
        </p:nvCxnSpPr>
        <p:spPr>
          <a:xfrm>
            <a:off x="403842" y="2356726"/>
            <a:ext cx="55476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10E8C66D-8001-FFAC-4B03-D586C2C1752B}"/>
              </a:ext>
            </a:extLst>
          </p:cNvPr>
          <p:cNvSpPr txBox="1">
            <a:spLocks/>
          </p:cNvSpPr>
          <p:nvPr/>
        </p:nvSpPr>
        <p:spPr>
          <a:xfrm>
            <a:off x="403842" y="2696935"/>
            <a:ext cx="9059135" cy="2266949"/>
          </a:xfrm>
          <a:prstGeom prst="rect">
            <a:avLst/>
          </a:prstGeom>
        </p:spPr>
        <p:txBody>
          <a:bodyPr vert="horz" lIns="0" tIns="0" rIns="0" bIns="0" rtlCol="0" anchor="t">
            <a:noAutofit/>
          </a:bodyPr>
          <a:lstStyle>
            <a:lvl1pPr algn="l" defTabSz="914400" rtl="0" eaLnBrk="1" latinLnBrk="0" hangingPunct="1">
              <a:lnSpc>
                <a:spcPct val="100000"/>
              </a:lnSpc>
              <a:spcBef>
                <a:spcPct val="0"/>
              </a:spcBef>
              <a:spcAft>
                <a:spcPts val="600"/>
              </a:spcAft>
              <a:buNone/>
              <a:defRPr sz="3200" b="1" i="0" kern="1200">
                <a:solidFill>
                  <a:schemeClr val="tx1"/>
                </a:solidFill>
                <a:latin typeface="+mj-lt"/>
                <a:ea typeface="Open Sans Semibold" panose="020B0606030504020204" pitchFamily="34" charset="0"/>
                <a:cs typeface="Calibri" panose="020F0502020204030204" pitchFamily="34" charset="0"/>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panose="020F0502020204030204"/>
                <a:ea typeface="Open Sans Semibold" panose="020B0606030504020204" pitchFamily="34" charset="0"/>
                <a:cs typeface="Calibri" panose="020F0502020204030204" pitchFamily="34" charset="0"/>
              </a:rPr>
              <a:t>2025 TRANSITION FORECAST</a:t>
            </a:r>
          </a:p>
          <a:p>
            <a:pPr lvl="0">
              <a:defRPr/>
            </a:pPr>
            <a:r>
              <a:rPr lang="en-US" b="0" dirty="0">
                <a:solidFill>
                  <a:srgbClr val="FFFFFF"/>
                </a:solidFill>
                <a:latin typeface="Calibri Light"/>
                <a:cs typeface="Arial" panose="020B0604020202020204" pitchFamily="34" charset="0"/>
              </a:rPr>
              <a:t>Policy Evidence Annex</a:t>
            </a:r>
            <a:endParaRPr kumimoji="0" lang="en-US" sz="4800" b="0" i="0" u="none" strike="noStrike" kern="1200" cap="none" spc="0" normalizeH="0" baseline="0" noProof="0" dirty="0">
              <a:ln>
                <a:noFill/>
              </a:ln>
              <a:solidFill>
                <a:srgbClr val="FFFFFF"/>
              </a:solidFill>
              <a:effectLst/>
              <a:uLnTx/>
              <a:uFillTx/>
              <a:latin typeface="Calibri Light"/>
              <a:ea typeface="Open Sans Semibold" panose="020B0606030504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32DE0B5C-34CD-48AB-4779-5BE829188EBA}"/>
              </a:ext>
            </a:extLst>
          </p:cNvPr>
          <p:cNvSpPr txBox="1"/>
          <p:nvPr/>
        </p:nvSpPr>
        <p:spPr>
          <a:xfrm>
            <a:off x="460375" y="5235302"/>
            <a:ext cx="1940566" cy="5693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19456" lvl="1" indent="-219456">
              <a:lnSpc>
                <a:spcPct val="100000"/>
              </a:lnSpc>
              <a:spcBef>
                <a:spcPts val="0"/>
              </a:spcBef>
              <a:spcAft>
                <a:spcPts val="300"/>
              </a:spcAft>
              <a:buClr>
                <a:schemeClr val="accent2"/>
              </a:buClr>
              <a:buSzPct val="100000"/>
              <a:buFont typeface="Calibri Light" panose="020F0302020204030204" pitchFamily="34" charset="0"/>
              <a:buChar char="●"/>
              <a:defRPr sz="1600">
                <a:cs typeface="Arial" panose="020B0604020202020204" pitchFamily="34" charset="0"/>
              </a:defRPr>
            </a:lvl2pPr>
            <a:lvl3pPr marL="429768" lvl="2" indent="-219456">
              <a:lnSpc>
                <a:spcPct val="100000"/>
              </a:lnSpc>
              <a:spcBef>
                <a:spcPts val="0"/>
              </a:spcBef>
              <a:spcAft>
                <a:spcPts val="300"/>
              </a:spcAft>
              <a:buClr>
                <a:schemeClr val="accent2"/>
              </a:buClr>
              <a:buSzPct val="100000"/>
              <a:buFont typeface="Symbol" panose="05050102010706020507" pitchFamily="18" charset="2"/>
              <a:buChar char="à"/>
              <a:defRPr sz="1600">
                <a:cs typeface="Arial" panose="020B0604020202020204" pitchFamily="34" charset="0"/>
              </a:defRPr>
            </a:lvl3pPr>
            <a:lvl4pPr marL="649224" lvl="3" indent="-219456">
              <a:lnSpc>
                <a:spcPct val="100000"/>
              </a:lnSpc>
              <a:spcBef>
                <a:spcPts val="0"/>
              </a:spcBef>
              <a:spcAft>
                <a:spcPts val="300"/>
              </a:spcAft>
              <a:buClr>
                <a:schemeClr val="accent2"/>
              </a:buClr>
              <a:buSzPct val="100000"/>
              <a:buFont typeface="Calibri Light" panose="020F0302020204030204" pitchFamily="34" charset="0"/>
              <a:buChar char="○"/>
              <a:defRPr sz="1600">
                <a:cs typeface="Arial" panose="020B0604020202020204" pitchFamily="34" charset="0"/>
              </a:defRPr>
            </a:lvl4pPr>
            <a:lvl5pPr marL="868680" lvl="4" indent="-219456">
              <a:lnSpc>
                <a:spcPct val="100000"/>
              </a:lnSpc>
              <a:spcBef>
                <a:spcPts val="0"/>
              </a:spcBef>
              <a:spcAft>
                <a:spcPts val="300"/>
              </a:spcAft>
              <a:buClr>
                <a:schemeClr val="accent2"/>
              </a:buClr>
              <a:buSzPct val="100000"/>
              <a:buFont typeface="Calibri Light" panose="020F030202020403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endParaRPr kumimoji="0" lang="en-US" sz="1600" b="1" i="0" u="none" strike="noStrike" kern="1200" cap="none" spc="0" normalizeH="0" baseline="0" noProof="0" dirty="0">
              <a:ln>
                <a:noFill/>
              </a:ln>
              <a:effectLst/>
              <a:uLnTx/>
              <a:uFillTx/>
              <a:latin typeface="Calibri Light"/>
              <a:ea typeface="+mn-ea"/>
              <a:cs typeface="Arial" panose="020B0604020202020204" pitchFamily="34" charset="0"/>
            </a:endParaRPr>
          </a:p>
          <a:p>
            <a:pPr marL="0" marR="0" lvl="0" indent="0" algn="l" defTabSz="914377" rtl="0"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en-US" sz="1600" b="1" i="0" u="none" strike="noStrike" kern="1200" cap="none" spc="0" normalizeH="0" baseline="0" noProof="0">
                <a:ln>
                  <a:noFill/>
                </a:ln>
                <a:effectLst/>
                <a:uLnTx/>
                <a:uFillTx/>
                <a:latin typeface="Calibri Light"/>
                <a:ea typeface="+mn-ea"/>
                <a:cs typeface="Arial" panose="020B0604020202020204" pitchFamily="34" charset="0"/>
              </a:rPr>
              <a:t>March 31, </a:t>
            </a:r>
            <a:r>
              <a:rPr kumimoji="0" lang="en-US" sz="1600" b="1" i="0" u="none" strike="noStrike" kern="1200" cap="none" spc="0" normalizeH="0" baseline="0" noProof="0" dirty="0">
                <a:ln>
                  <a:noFill/>
                </a:ln>
                <a:effectLst/>
                <a:uLnTx/>
                <a:uFillTx/>
                <a:latin typeface="Calibri Light"/>
                <a:ea typeface="+mn-ea"/>
                <a:cs typeface="Arial" panose="020B0604020202020204" pitchFamily="34" charset="0"/>
              </a:rPr>
              <a:t>2025</a:t>
            </a:r>
          </a:p>
        </p:txBody>
      </p:sp>
    </p:spTree>
    <p:extLst>
      <p:ext uri="{BB962C8B-B14F-4D97-AF65-F5344CB8AC3E}">
        <p14:creationId xmlns:p14="http://schemas.microsoft.com/office/powerpoint/2010/main" val="12225780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44948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All coal phase-out: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02020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67088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15859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73274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304972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66611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South Afric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European Commiss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Argu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Vietnam: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Government of Vietnam</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one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Carbon Credit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Niger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IE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th Africa secured a US$ 8.5bn financial packaged,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nder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Just Energy Transition Partnership (JETP) to shift away from coal in its power sector</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package is from France, Germany, the UK, the US, and the EU of 3-5 years to accelerate the retirement of coal plants and deploy renewable energy. However in 2024 South Africa announced plans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delay plant closures</a:t>
            </a:r>
            <a:r>
              <a:rPr lang="en-GB" sz="1200" b="1" dirty="0">
                <a:solidFill>
                  <a:srgbClr val="000000"/>
                </a:solidFill>
                <a:latin typeface="Calibri"/>
              </a:rPr>
              <a: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eyond 2035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dd new coal capacity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mounting to 5GW, which would risk $2.6 billion in JETP financing. </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76189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702119"/>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has not set a target and does not have policies in place</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to phase out unabated coal-fired electricity generation. </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14549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085721"/>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May 2023, a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overnment document restated Vietnam’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mmitment to phase out all coal-fired power by 205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document also projects that there will be 30 GW of coal-fired power capacity operating in 2030. In 2022, Vietnam also reached an agreement with the G7 countries to finance the transition away from coal via JETP.</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82852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768747"/>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phase out unabated coal-fired electricity generation.</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25437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19459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during the G20 Summit in Rio de Janeiro Indonesia </a:t>
            </a:r>
            <a:r>
              <a:rPr kumimoji="0" lang="de-DE" sz="120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announced</a:t>
            </a:r>
            <a:r>
              <a:rPr kumimoji="0" lang="de-DE"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o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tire all coal-fired power plants within the next 15 years (by 2039)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build over 75 GW of renewable energy capacity by 2040.</a:t>
            </a:r>
            <a:endParaRPr kumimoji="0" lang="en-US" sz="1200" b="0" i="0" u="none" strike="noStrike" kern="1200" cap="none" spc="0" normalizeH="0" baseline="0" noProof="0" dirty="0">
              <a:ln>
                <a:noFill/>
              </a:ln>
              <a:solidFill>
                <a:srgbClr val="000000"/>
              </a:solidFill>
              <a:effectLst/>
              <a:highlight>
                <a:srgbClr val="FFFF00"/>
              </a:highligh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76665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70688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igeria</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has phased-out of all unabated coal.</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11598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056205"/>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udi Arabia does not use coal for power generation.</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4" name="Picture 23">
            <a:extLst>
              <a:ext uri="{FF2B5EF4-FFF2-40B4-BE49-F238E27FC236}">
                <a16:creationId xmlns:a16="http://schemas.microsoft.com/office/drawing/2014/main" id="{44CF7219-F01E-1ABC-B92F-2EF3E6C0AA0E}"/>
              </a:ext>
            </a:extLst>
          </p:cNvPr>
          <p:cNvPicPr>
            <a:picLocks noChangeAspect="1"/>
          </p:cNvPicPr>
          <p:nvPr/>
        </p:nvPicPr>
        <p:blipFill>
          <a:blip r:embed="rId21"/>
          <a:stretch>
            <a:fillRect/>
          </a:stretch>
        </p:blipFill>
        <p:spPr>
          <a:xfrm>
            <a:off x="557115" y="2782328"/>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60BCC5A-BCF3-5877-6E83-56979B33DD5F}"/>
              </a:ext>
            </a:extLst>
          </p:cNvPr>
          <p:cNvPicPr>
            <a:picLocks noChangeAspect="1"/>
          </p:cNvPicPr>
          <p:nvPr/>
        </p:nvPicPr>
        <p:blipFill>
          <a:blip r:embed="rId22"/>
          <a:stretch>
            <a:fillRect/>
          </a:stretch>
        </p:blipFill>
        <p:spPr>
          <a:xfrm>
            <a:off x="557115" y="3162181"/>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907E10D2-0D33-9743-EE1F-6466B8B0B823}"/>
              </a:ext>
            </a:extLst>
          </p:cNvPr>
          <p:cNvPicPr>
            <a:picLocks noChangeAspect="1"/>
          </p:cNvPicPr>
          <p:nvPr/>
        </p:nvPicPr>
        <p:blipFill>
          <a:blip r:embed="rId23"/>
          <a:stretch>
            <a:fillRect/>
          </a:stretch>
        </p:blipFill>
        <p:spPr>
          <a:xfrm>
            <a:off x="557115" y="3852956"/>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ECD68F4E-8C06-5907-B75B-0C825E47FC4D}"/>
              </a:ext>
            </a:extLst>
          </p:cNvPr>
          <p:cNvPicPr>
            <a:picLocks noChangeAspect="1"/>
          </p:cNvPicPr>
          <p:nvPr/>
        </p:nvPicPr>
        <p:blipFill>
          <a:blip r:embed="rId24"/>
          <a:stretch>
            <a:fillRect/>
          </a:stretch>
        </p:blipFill>
        <p:spPr>
          <a:xfrm>
            <a:off x="557115" y="4274084"/>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833A1094-DDB9-FD63-B011-09D9853A9E4D}"/>
              </a:ext>
            </a:extLst>
          </p:cNvPr>
          <p:cNvPicPr>
            <a:picLocks noChangeAspect="1"/>
          </p:cNvPicPr>
          <p:nvPr/>
        </p:nvPicPr>
        <p:blipFill>
          <a:blip r:embed="rId25"/>
          <a:stretch>
            <a:fillRect/>
          </a:stretch>
        </p:blipFill>
        <p:spPr>
          <a:xfrm>
            <a:off x="557115" y="4784590"/>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81250524-7ACE-7A0A-23A4-9F278C1DDB90}"/>
              </a:ext>
            </a:extLst>
          </p:cNvPr>
          <p:cNvPicPr>
            <a:picLocks noChangeAspect="1"/>
          </p:cNvPicPr>
          <p:nvPr/>
        </p:nvPicPr>
        <p:blipFill>
          <a:blip r:embed="rId26"/>
          <a:stretch>
            <a:fillRect/>
          </a:stretch>
        </p:blipFill>
        <p:spPr>
          <a:xfrm>
            <a:off x="557115" y="5135541"/>
            <a:ext cx="233367" cy="155578"/>
          </a:xfrm>
          <a:prstGeom prst="rect">
            <a:avLst/>
          </a:prstGeom>
          <a:ln>
            <a:noFill/>
          </a:ln>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77AC3371-02A2-1590-213C-9CAF1C898AD7}"/>
              </a:ext>
            </a:extLst>
          </p:cNvPr>
          <p:cNvPicPr>
            <a:picLocks noChangeAspect="1"/>
          </p:cNvPicPr>
          <p:nvPr/>
        </p:nvPicPr>
        <p:blipFill>
          <a:blip r:embed="rId27"/>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768092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49127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5" imgH="405" progId="TCLayout.ActiveDocument.1">
                  <p:embed/>
                </p:oleObj>
              </mc:Choice>
              <mc:Fallback>
                <p:oleObj name="think-cell Slide" r:id="rId12"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clean power: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4"/>
            </p:custDataLst>
          </p:nvPr>
        </p:nvCxnSpPr>
        <p:spPr bwMode="gray">
          <a:xfrm>
            <a:off x="571500" y="542176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5"/>
            </p:custDataLst>
          </p:nvPr>
        </p:nvCxnSpPr>
        <p:spPr bwMode="gray">
          <a:xfrm>
            <a:off x="571500" y="444478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6"/>
            </p:custDataLst>
          </p:nvPr>
        </p:nvCxnSpPr>
        <p:spPr bwMode="gray">
          <a:xfrm>
            <a:off x="571500" y="378327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7"/>
            </p:custDataLst>
          </p:nvPr>
        </p:nvCxnSpPr>
        <p:spPr bwMode="gray">
          <a:xfrm>
            <a:off x="571500" y="316359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8"/>
            </p:custDataLst>
          </p:nvPr>
        </p:nvCxnSpPr>
        <p:spPr bwMode="gray">
          <a:xfrm>
            <a:off x="571500" y="247748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9"/>
            </p:custDataLst>
          </p:nvPr>
        </p:nvSpPr>
        <p:spPr>
          <a:xfrm>
            <a:off x="565987" y="6419163"/>
            <a:ext cx="1046396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Government of Canad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a:solidFill>
                  <a:srgbClr val="000000"/>
                </a:solidFill>
                <a:latin typeface="Calibri"/>
                <a:hlinkClick r:id="rId15"/>
              </a:rPr>
              <a:t>R</a:t>
            </a:r>
            <a:r>
              <a:rPr kumimoji="0" lang="en-US" sz="800" b="0" i="0" u="none" strike="noStrike" kern="1200" cap="none" spc="0" normalizeH="0" baseline="0" noProof="0" dirty="0" err="1">
                <a:ln>
                  <a:noFill/>
                </a:ln>
                <a:solidFill>
                  <a:srgbClr val="000000"/>
                </a:solidFill>
                <a:effectLst/>
                <a:uLnTx/>
                <a:uFillTx/>
                <a:latin typeface="Calibri"/>
                <a:hlinkClick r:id="rId15"/>
              </a:rPr>
              <a:t>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rance</a:t>
            </a:r>
            <a:r>
              <a:rPr lang="en-US" dirty="0">
                <a:solidFill>
                  <a:srgbClr val="000000"/>
                </a:solidFill>
                <a:latin typeface="Calibri"/>
              </a:rPr>
              <a:t>: </a:t>
            </a:r>
            <a:r>
              <a:rPr lang="en-US" dirty="0">
                <a:solidFill>
                  <a:srgbClr val="000000"/>
                </a:solidFill>
                <a:latin typeface="Calibri"/>
                <a:hlinkClick r:id="rId16"/>
              </a:rPr>
              <a:t>European Commission</a:t>
            </a:r>
            <a:r>
              <a:rPr lang="en-US" dirty="0">
                <a:solidFill>
                  <a:srgbClr val="000000"/>
                </a:solidFill>
                <a:latin typeface="Calibri"/>
              </a:rPr>
              <a:t>, </a:t>
            </a:r>
            <a:r>
              <a:rPr lang="en-US" dirty="0">
                <a:solidFill>
                  <a:srgbClr val="0000FF"/>
                </a:solidFill>
                <a:latin typeface="Calibri"/>
                <a:hlinkClick r:id="rId17"/>
              </a:rPr>
              <a:t>Power Technolog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Afric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National Business Initiativ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South Africa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S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WRI</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EP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Department of Energ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US New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Department of Energ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ermany: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5"/>
              </a:rPr>
              <a:t>Bundesregierung</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Reuters</a:t>
            </a:r>
            <a:r>
              <a:rPr lang="en-US" dirty="0">
                <a:solidFill>
                  <a:srgbClr val="000000"/>
                </a:solidFill>
                <a:latin typeface="Calibri"/>
              </a:rPr>
              <a:t>, </a:t>
            </a:r>
            <a:r>
              <a:rPr lang="en-US" dirty="0">
                <a:solidFill>
                  <a:srgbClr val="000000"/>
                </a:solidFill>
                <a:latin typeface="Calibri"/>
                <a:hlinkClick r:id="rId27"/>
              </a:rPr>
              <a:t>CEW</a:t>
            </a:r>
            <a:r>
              <a:rPr lang="en-US" dirty="0">
                <a:solidFill>
                  <a:srgbClr val="000000"/>
                </a:solidFill>
                <a:latin typeface="Calibri"/>
              </a:rPr>
              <a:t>, </a:t>
            </a:r>
            <a:r>
              <a:rPr lang="en-US" dirty="0">
                <a:solidFill>
                  <a:srgbClr val="000000"/>
                </a:solidFill>
                <a:latin typeface="Calibri"/>
                <a:hlinkClick r:id="rId28"/>
              </a:rPr>
              <a:t>Reuters</a:t>
            </a:r>
            <a:r>
              <a:rPr lang="en-US" dirty="0">
                <a:solidFill>
                  <a:srgbClr val="000000"/>
                </a:solidFill>
                <a:latin typeface="Calibri"/>
              </a:rPr>
              <a:t>, </a:t>
            </a:r>
            <a:r>
              <a:rPr lang="en-US" dirty="0">
                <a:solidFill>
                  <a:srgbClr val="000000"/>
                </a:solidFill>
                <a:latin typeface="Calibri"/>
                <a:hlinkClick r:id="rId29"/>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taly:</a:t>
            </a:r>
            <a:r>
              <a:rPr lang="en-US" dirty="0">
                <a:solidFill>
                  <a:srgbClr val="000000"/>
                </a:solidFill>
                <a:latin typeface="Calibri"/>
              </a:rPr>
              <a:t> </a:t>
            </a:r>
            <a:r>
              <a:rPr kumimoji="0" lang="en-US" sz="800" b="0" i="0" u="none" strike="noStrike" kern="1200" cap="none" spc="0" normalizeH="0" baseline="0" noProof="0" dirty="0">
                <a:ln>
                  <a:noFill/>
                </a:ln>
                <a:solidFill>
                  <a:srgbClr val="0000FF"/>
                </a:solidFill>
                <a:effectLst/>
                <a:uLnTx/>
                <a:uFillTx/>
                <a:latin typeface="Calibri"/>
                <a:ea typeface="+mn-ea"/>
                <a:cs typeface="Arial" panose="020B0604020202020204" pitchFamily="34" charset="0"/>
                <a:hlinkClick r:id="rId30"/>
              </a:rPr>
              <a:t>Nuclear power</a:t>
            </a:r>
            <a:r>
              <a:rPr kumimoji="0" lang="en-US" sz="800" b="0" i="0" u="none" strike="noStrike" kern="1200" cap="none" spc="0" normalizeH="0" baseline="0" noProof="0" dirty="0">
                <a:ln>
                  <a:noFill/>
                </a:ln>
                <a:effectLst/>
                <a:uLnTx/>
                <a:uFillTx/>
                <a:latin typeface="Calibri"/>
                <a:ea typeface="+mn-ea"/>
                <a:cs typeface="Arial" panose="020B0604020202020204" pitchFamily="34" charset="0"/>
              </a:rPr>
              <a:t>,</a:t>
            </a:r>
            <a:r>
              <a:rPr kumimoji="0" lang="en-US" sz="800" b="0" i="0" u="none" strike="noStrike" kern="1200" cap="none" spc="0" normalizeH="0" baseline="0" noProof="0" dirty="0">
                <a:ln>
                  <a:noFill/>
                </a:ln>
                <a:solidFill>
                  <a:srgbClr val="0000FF"/>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FF"/>
                </a:solidFill>
                <a:effectLst/>
                <a:uLnTx/>
                <a:uFillTx/>
                <a:latin typeface="Calibri"/>
                <a:ea typeface="+mn-ea"/>
                <a:cs typeface="Arial" panose="020B0604020202020204" pitchFamily="34" charset="0"/>
                <a:hlinkClick r:id="rId31"/>
              </a:rPr>
              <a:t>Reuters</a:t>
            </a:r>
            <a:r>
              <a:rPr kumimoji="0" lang="en-US" sz="800" b="0" i="0" u="none" strike="noStrike" kern="1200" cap="none" spc="0" normalizeH="0" baseline="0" noProof="0" dirty="0">
                <a:ln>
                  <a:noFill/>
                </a:ln>
                <a:effectLst/>
                <a:uLnTx/>
                <a:uFillTx/>
                <a:latin typeface="Calibri"/>
                <a:ea typeface="+mn-ea"/>
                <a:cs typeface="Arial" panose="020B0604020202020204" pitchFamily="34" charset="0"/>
              </a:rPr>
              <a:t>,</a:t>
            </a:r>
            <a:r>
              <a:rPr kumimoji="0" lang="en-US" sz="800" b="0" i="0" u="none" strike="noStrike" kern="1200" cap="none" spc="0" normalizeH="0" baseline="0" noProof="0" dirty="0">
                <a:ln>
                  <a:noFill/>
                </a:ln>
                <a:solidFill>
                  <a:srgbClr val="0000FF"/>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FF"/>
                </a:solidFill>
                <a:effectLst/>
                <a:uLnTx/>
                <a:uFillTx/>
                <a:latin typeface="Calibri"/>
                <a:ea typeface="+mn-ea"/>
                <a:cs typeface="Arial" panose="020B0604020202020204" pitchFamily="34" charset="0"/>
                <a:hlinkClick r:id="rId32"/>
              </a:rPr>
              <a:t>Reuters</a:t>
            </a:r>
            <a:r>
              <a:rPr kumimoji="0" lang="en-US" sz="800" b="0" i="0" u="none" strike="noStrike" kern="1200" cap="none" spc="0" normalizeH="0" baseline="0" noProof="0" dirty="0">
                <a:ln>
                  <a:noFill/>
                </a:ln>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nada set a target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hieve a net zero electrical grid nationwide by 203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4 Canada announced to revise its Clean Energy Regulation, setting annual emissions limits for specific power-generating units, allowing emissions pooling for power providers with multiple units, and permitting the use of carbon offsetting.</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63993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513481"/>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rance has achieved &gt;90% clean power share of energy gener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3, France adopted the Renewable Energy Acceleration Law which includes targets to increase solar capacity to 100GW by 2050 and double onshore wind capacity to 40GW by 2030. In 2024 the EU approved a $11.6 billion in French state aid to develop renewable energy projects, particularly offshore wind.</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25937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199597"/>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b="1" dirty="0">
                <a:solidFill>
                  <a:srgbClr val="000000"/>
                </a:solidFill>
                <a:latin typeface="Calibri"/>
              </a:rPr>
              <a:t>South Africa has set a target of increasing the share of renewable energy in its power generation mix to 41% by 2030</a:t>
            </a:r>
            <a:r>
              <a:rPr lang="en-GB" sz="1200" dirty="0">
                <a:solidFill>
                  <a:srgbClr val="000000"/>
                </a:solidFill>
                <a:latin typeface="Calibri"/>
              </a:rPr>
              <a:t>. In 2024 South Africa legislated the Electricity Regulation Amendment Act, introducing a competitive electricity market, which allows private companies to generate and distribute electricity. In addition, South Africa has announced several other renewable energy projects and investments.</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917149"/>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819272"/>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3 </a:t>
            </a:r>
            <a:r>
              <a:rPr lang="en-GB" sz="1200" dirty="0">
                <a:solidFill>
                  <a:srgbClr val="000000"/>
                </a:solidFill>
                <a:latin typeface="Calibri"/>
              </a:rPr>
              <a:t>t</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he Biden administration announced to set a target for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zero-carbon electricity grid by 203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4 the Biden administration announced and legislated several clean energy fundings, including $100 billion in overall clean energy grants $2.2bn for two hydrogen hubs, or $2.2bn for electricity grids. However, </a:t>
            </a:r>
            <a:r>
              <a:rPr lang="en-GB" sz="1200" dirty="0">
                <a:solidFill>
                  <a:srgbClr val="000000"/>
                </a:solidFill>
                <a:latin typeface="Calibri"/>
              </a:rPr>
              <a:t>t</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he Trump administration’s temporary halt on offshore wind projects and pause on IRA funding could delay renewable energy projects. </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54056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480789"/>
            <a:ext cx="9847754"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ermany set a target for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hieving 80% of power from renewable energy sources by 203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part of its Renewable Energy Sources Act 2023 (EEG 2023). This Act represents an increase in ambition compared to the country’s previous 2021 target of 65% renewable energy by 2030. In 2023, as a part of its Renewable Energy Act reform Germany is aiming for a largely decarbonised electricity supply by 2035</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 In 2024 Germany legislated its hydrogen import strategy, aiming to  import up to 3 million tons of green hydrogen annually by 2030. Besides €3.2 billion EU funding to support the hydrogen infrastructure, Germany plans to allocate €3.53 billion between 2027 and 2036 to procure green hydrogen and its derivatives</a:t>
            </a:r>
            <a:endParaRPr kumimoji="0" lang="en-US" sz="1200" b="0" i="0" u="none" strike="noStrike" kern="1200" cap="none" spc="0" normalizeH="0" baseline="0" noProof="0" dirty="0">
              <a:ln>
                <a:noFill/>
              </a:ln>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5517545"/>
            <a:ext cx="777879" cy="44627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5457768"/>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In 2023, Italy updated its 2020 National Energy and Climate Plan to set targets for </a:t>
            </a:r>
            <a:r>
              <a:rPr kumimoji="0" lang="en-GB" sz="1200" b="1" i="0" u="none" strike="noStrike" kern="1200" cap="none" spc="0" normalizeH="0" baseline="0" noProof="0" dirty="0">
                <a:ln>
                  <a:noFill/>
                </a:ln>
                <a:effectLst/>
                <a:uLnTx/>
                <a:uFillTx/>
                <a:latin typeface="Calibri"/>
                <a:ea typeface="+mn-ea"/>
                <a:cs typeface="Arial" panose="020B0604020202020204" pitchFamily="34" charset="0"/>
              </a:rPr>
              <a:t>renewables to provide 65% of its electricity generation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and 30% of the country’s total energy consumption </a:t>
            </a:r>
            <a:r>
              <a:rPr kumimoji="0" lang="en-GB" sz="1200" b="1" i="0" u="none" strike="noStrike" kern="1200" cap="none" spc="0" normalizeH="0" baseline="0" noProof="0" dirty="0">
                <a:ln>
                  <a:noFill/>
                </a:ln>
                <a:effectLst/>
                <a:uLnTx/>
                <a:uFillTx/>
                <a:latin typeface="Calibri"/>
                <a:ea typeface="+mn-ea"/>
                <a:cs typeface="Arial" panose="020B0604020202020204" pitchFamily="34" charset="0"/>
              </a:rPr>
              <a:t>by 2030</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 In August 2023, </a:t>
            </a:r>
            <a:r>
              <a:rPr lang="en-GB" sz="1200" dirty="0"/>
              <a:t>the Italian government opened a consultation on a new RES X plan which would see 67 GW of renewables tendered between 2024 and 2028</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4 Italy announced plans to draft rules by early 2025 to potentially reverse its current ban on nuclear energy.</a:t>
            </a:r>
            <a:endParaRPr lang="en-GB" sz="1200" dirty="0">
              <a:solidFill>
                <a:srgbClr val="FF0000"/>
              </a:solidFill>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0"/>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4" name="Picture 23">
            <a:extLst>
              <a:ext uri="{FF2B5EF4-FFF2-40B4-BE49-F238E27FC236}">
                <a16:creationId xmlns:a16="http://schemas.microsoft.com/office/drawing/2014/main" id="{6FACE5D2-BACF-B840-9773-59D4FD8968F6}"/>
              </a:ext>
            </a:extLst>
          </p:cNvPr>
          <p:cNvPicPr>
            <a:picLocks noChangeAspect="1"/>
          </p:cNvPicPr>
          <p:nvPr/>
        </p:nvPicPr>
        <p:blipFill>
          <a:blip r:embed="rId33"/>
          <a:stretch>
            <a:fillRect/>
          </a:stretch>
        </p:blipFill>
        <p:spPr>
          <a:xfrm>
            <a:off x="557115" y="1946545"/>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C0C1B9B-2369-0F7A-1A51-9B7B7818FA3E}"/>
              </a:ext>
            </a:extLst>
          </p:cNvPr>
          <p:cNvPicPr>
            <a:picLocks noChangeAspect="1"/>
          </p:cNvPicPr>
          <p:nvPr/>
        </p:nvPicPr>
        <p:blipFill>
          <a:blip r:embed="rId34"/>
          <a:stretch>
            <a:fillRect/>
          </a:stretch>
        </p:blipFill>
        <p:spPr>
          <a:xfrm>
            <a:off x="557115" y="2664332"/>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5ABF83A8-2E22-4BF6-E846-7AAC0C9FE94F}"/>
              </a:ext>
            </a:extLst>
          </p:cNvPr>
          <p:cNvPicPr>
            <a:picLocks noChangeAspect="1"/>
          </p:cNvPicPr>
          <p:nvPr/>
        </p:nvPicPr>
        <p:blipFill>
          <a:blip r:embed="rId35"/>
          <a:stretch>
            <a:fillRect/>
          </a:stretch>
        </p:blipFill>
        <p:spPr>
          <a:xfrm>
            <a:off x="557115" y="4552801"/>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32413D8C-BA54-EBFC-D301-0466BA349889}"/>
              </a:ext>
            </a:extLst>
          </p:cNvPr>
          <p:cNvPicPr>
            <a:picLocks noChangeAspect="1"/>
          </p:cNvPicPr>
          <p:nvPr/>
        </p:nvPicPr>
        <p:blipFill>
          <a:blip r:embed="rId36"/>
          <a:stretch>
            <a:fillRect/>
          </a:stretch>
        </p:blipFill>
        <p:spPr>
          <a:xfrm>
            <a:off x="557115" y="5538830"/>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479BF45B-8D50-3389-6150-F9F4A1E8E2B4}"/>
              </a:ext>
            </a:extLst>
          </p:cNvPr>
          <p:cNvPicPr>
            <a:picLocks noChangeAspect="1"/>
          </p:cNvPicPr>
          <p:nvPr/>
        </p:nvPicPr>
        <p:blipFill>
          <a:blip r:embed="rId37"/>
          <a:stretch>
            <a:fillRect/>
          </a:stretch>
        </p:blipFill>
        <p:spPr>
          <a:xfrm>
            <a:off x="557115" y="3938251"/>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C6D32B7D-65A7-EFCF-0D5D-62DBA22BC506}"/>
              </a:ext>
            </a:extLst>
          </p:cNvPr>
          <p:cNvPicPr>
            <a:picLocks noChangeAspect="1"/>
          </p:cNvPicPr>
          <p:nvPr/>
        </p:nvPicPr>
        <p:blipFill>
          <a:blip r:embed="rId38"/>
          <a:stretch>
            <a:fillRect/>
          </a:stretch>
        </p:blipFill>
        <p:spPr>
          <a:xfrm>
            <a:off x="557115" y="3269156"/>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43376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851427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5" imgH="405" progId="TCLayout.ActiveDocument.1">
                  <p:embed/>
                </p:oleObj>
              </mc:Choice>
              <mc:Fallback>
                <p:oleObj name="think-cell Slide" r:id="rId14"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clean power: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15431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65226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00733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56277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312143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47970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1086216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Japan: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a:solidFill>
                  <a:srgbClr val="000000"/>
                </a:solidFill>
                <a:latin typeface="Calibri"/>
                <a:hlinkClick r:id="rId17"/>
              </a:rPr>
              <a:t>IEA</a:t>
            </a:r>
            <a:r>
              <a:rPr lang="en-US" dirty="0">
                <a:solidFill>
                  <a:srgbClr val="000000"/>
                </a:solidFill>
                <a:latin typeface="Calibri"/>
              </a:rPr>
              <a:t>, </a:t>
            </a:r>
            <a:r>
              <a:rPr lang="en-US" dirty="0">
                <a:solidFill>
                  <a:srgbClr val="000000"/>
                </a:solidFill>
                <a:latin typeface="Calibri"/>
                <a:hlinkClick r:id="rId18"/>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Korea: </a:t>
            </a:r>
            <a:r>
              <a:rPr kumimoji="0" lang="en-US" sz="800" b="0" i="0" u="none" strike="noStrike" kern="1200" cap="none" spc="0" normalizeH="0" baseline="0" noProof="0" dirty="0">
                <a:ln>
                  <a:noFill/>
                </a:ln>
                <a:solidFill>
                  <a:srgbClr val="000000"/>
                </a:solidFill>
                <a:effectLst/>
                <a:uLnTx/>
                <a:uFillTx/>
                <a:latin typeface="Calibri"/>
                <a:hlinkClick r:id="rId19"/>
              </a:rPr>
              <a:t>Energy Tracker Asi</a:t>
            </a:r>
            <a:r>
              <a:rPr lang="en-US" dirty="0">
                <a:solidFill>
                  <a:srgbClr val="000000"/>
                </a:solidFill>
                <a:latin typeface="Calibri"/>
                <a:hlinkClick r:id="rId19"/>
              </a:rPr>
              <a:t>a</a:t>
            </a:r>
            <a:r>
              <a:rPr lang="en-US" dirty="0">
                <a:solidFill>
                  <a:srgbClr val="000000"/>
                </a:solidFill>
                <a:latin typeface="Calibri"/>
              </a:rPr>
              <a:t>, </a:t>
            </a:r>
            <a:r>
              <a:rPr lang="en-US" dirty="0">
                <a:solidFill>
                  <a:srgbClr val="000000"/>
                </a:solidFill>
                <a:latin typeface="Calibri"/>
                <a:hlinkClick r:id="rId20"/>
              </a:rPr>
              <a:t>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Vietnam: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Vietnam Briefing</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Vietnam New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rgent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Dialogue Earth</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ustral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Australian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a:solidFill>
                  <a:srgbClr val="000000"/>
                </a:solidFill>
                <a:latin typeface="Calibri"/>
                <a:hlinkClick r:id="rId25"/>
              </a:rPr>
              <a:t>The Guardian</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razi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New Climate Institut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7"/>
              </a:rPr>
              <a:t>IEA</a:t>
            </a:r>
            <a:r>
              <a:rPr lang="en-US" dirty="0">
                <a:solidFill>
                  <a:srgbClr val="000000"/>
                </a:solidFill>
                <a:latin typeface="Calibri"/>
              </a:rPr>
              <a:t>, </a:t>
            </a:r>
            <a:r>
              <a:rPr lang="en-US" dirty="0">
                <a:solidFill>
                  <a:srgbClr val="000000"/>
                </a:solidFill>
                <a:latin typeface="Calibri"/>
                <a:hlinkClick r:id="rId28"/>
              </a:rPr>
              <a:t>International Trade Administration</a:t>
            </a:r>
            <a:r>
              <a:rPr lang="en-US" dirty="0">
                <a:solidFill>
                  <a:srgbClr val="000000"/>
                </a:solidFill>
                <a:latin typeface="Calibri"/>
              </a:rPr>
              <a:t>, </a:t>
            </a:r>
            <a:r>
              <a:rPr lang="en-US" dirty="0">
                <a:solidFill>
                  <a:srgbClr val="000000"/>
                </a:solidFill>
                <a:latin typeface="Calibri"/>
                <a:hlinkClick r:id="rId29"/>
              </a:rPr>
              <a:t>World Energy</a:t>
            </a:r>
            <a:r>
              <a:rPr lang="en-US" dirty="0">
                <a:solidFill>
                  <a:srgbClr val="000000"/>
                </a:solidFill>
                <a:latin typeface="Calibri"/>
              </a:rPr>
              <a:t>, </a:t>
            </a:r>
            <a:r>
              <a:rPr lang="en-US" dirty="0">
                <a:solidFill>
                  <a:srgbClr val="000000"/>
                </a:solidFill>
                <a:latin typeface="Calibri"/>
                <a:hlinkClick r:id="rId30"/>
              </a:rPr>
              <a:t>Valor International</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h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31"/>
              </a:rPr>
              <a:t>Climate Cooperation Chin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K: </a:t>
            </a:r>
            <a:r>
              <a:rPr lang="en-US" dirty="0">
                <a:solidFill>
                  <a:srgbClr val="000000"/>
                </a:solidFill>
                <a:latin typeface="Calibri"/>
                <a:hlinkClick r:id="rId32"/>
              </a:rPr>
              <a:t>Gov.UK</a:t>
            </a:r>
            <a:r>
              <a:rPr lang="en-US" dirty="0">
                <a:solidFill>
                  <a:srgbClr val="000000"/>
                </a:solidFill>
                <a:latin typeface="Calibri"/>
              </a:rPr>
              <a:t>, </a:t>
            </a:r>
            <a:r>
              <a:rPr lang="en-US" dirty="0">
                <a:solidFill>
                  <a:srgbClr val="000000"/>
                </a:solidFill>
                <a:latin typeface="Calibri"/>
                <a:hlinkClick r:id="rId33"/>
              </a:rPr>
              <a:t>Parliament</a:t>
            </a:r>
            <a:r>
              <a:rPr lang="en-US" dirty="0">
                <a:solidFill>
                  <a:srgbClr val="000000"/>
                </a:solidFill>
                <a:latin typeface="Calibri"/>
              </a:rPr>
              <a:t>, </a:t>
            </a:r>
            <a:r>
              <a:rPr lang="en-US" dirty="0">
                <a:solidFill>
                  <a:srgbClr val="000000"/>
                </a:solidFill>
                <a:latin typeface="Calibri"/>
                <a:hlinkClick r:id="rId34"/>
              </a:rPr>
              <a:t>Parliament</a:t>
            </a:r>
            <a:r>
              <a:rPr lang="en-US" dirty="0">
                <a:solidFill>
                  <a:srgbClr val="000000"/>
                </a:solidFill>
                <a:latin typeface="Calibri"/>
              </a:rPr>
              <a:t>, </a:t>
            </a:r>
            <a:r>
              <a:rPr lang="en-US" dirty="0">
                <a:solidFill>
                  <a:srgbClr val="000000"/>
                </a:solidFill>
                <a:latin typeface="Calibri"/>
                <a:hlinkClick r:id="rId35"/>
              </a:rPr>
              <a:t>Parliament</a:t>
            </a:r>
            <a:r>
              <a:rPr lang="en-US" dirty="0">
                <a:solidFill>
                  <a:srgbClr val="000000"/>
                </a:solidFill>
                <a:latin typeface="Calibri"/>
              </a:rPr>
              <a:t>.</a:t>
            </a:r>
            <a:endPar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industry ministry's policy draft, proposes increasing renewables to between 40% and 50% of power supplies in the 2040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iscal year, roughly doubling the 22.9% share in the 2023 fiscal year and exceeding the 2030 target of between 36% and 38%. In 2024 Japan announce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o increase its reliance on nuclear power in its energy policy update in 2025 to ensure stable electricity supply amidst growing demand and geopolitical risks.</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57547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51570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3, South Korea announced a target for the share of power generation from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newables to reach 21.6% in 2030 and 30.6% in 2036</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its 10th Basic Energy Plan. The Korean government also set a target to reduce emissions in the power sector by 45.9% by 2030 compared to 2018 levels. In 2024 South Korea announced to establish venture capital funds worth $16.57 billion in clean energy fields to boost investment in green growth.</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21721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15743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1200">
                <a:latin typeface="Calibri"/>
              </a:rPr>
              <a:t>In August 2023, Vietnam released a National Energy Master Plan for 2021-2030. </a:t>
            </a:r>
            <a:r>
              <a:rPr lang="en-US" sz="1200" b="1">
                <a:latin typeface="Calibri"/>
              </a:rPr>
              <a:t>Vietnam’s Eight National Power Development Plan includes a target for 58% renewable energy to by 2030 and 71-78% by 2050.</a:t>
            </a:r>
            <a:endParaRPr kumimoji="0" lang="en-US" sz="1200" b="1" i="0" u="none" strike="noStrike" kern="1200" cap="none" spc="0" normalizeH="0" baseline="0" noProof="0">
              <a:ln>
                <a:noFill/>
              </a:ln>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70974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59877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rgentina is aiming to generat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57% of its energy from renewable sources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y the end of the decade, according to an official energy transition plan launched in late June 2023.</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10311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043337"/>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ustralia aims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crease the share of low-carbon power generation to 82% by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 target which was announced by the Labour Party in November 2021 in its Powering Australia Plan. In 2024 Australia announced a new renewable hydrogen strategy, aiming to produce 1 million tonnes of renewable hydrogen annually by 2050. In addition, Australia has announced several different investments aimed at accelerating the clean energy transition.</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72899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688263"/>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razil has achieved &gt;90% clean power share </a:t>
            </a: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f energy generation</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Brazil announced to invest approximately USD 8 billion in green hydrogen development in 2025. In addition Brazil legislated its National Energy Transition Policy, aiming to add 12 GW of renewable energy capacity by 2025.</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25009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190314"/>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hina aims to increase the proportion of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on-fossil power generation to 33% by 2025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cording to the country’s 14th Five-Year Plan</a:t>
            </a:r>
            <a:r>
              <a:rPr lang="en-GB" sz="1200" dirty="0">
                <a:solidFill>
                  <a:srgbClr val="000000"/>
                </a:solidFill>
                <a:latin typeface="Calibri"/>
              </a:rPr>
              <a:t>, with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newable energy supplying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least 50% of the country’s additional energy consumption by 202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4, China announced plans to upgrade its grid to better integrate renewable energy and manage increasing electricity demand</a:t>
            </a:r>
            <a:r>
              <a:rPr lang="en-GB" sz="1200" dirty="0">
                <a:solidFill>
                  <a:srgbClr val="000000"/>
                </a:solidFill>
                <a:latin typeface="Calibri"/>
              </a:rPr>
              <a:t> as well as a plan to boost large-scale equipment renewals in the energy sector.</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4" name="Picture 23">
            <a:extLst>
              <a:ext uri="{FF2B5EF4-FFF2-40B4-BE49-F238E27FC236}">
                <a16:creationId xmlns:a16="http://schemas.microsoft.com/office/drawing/2014/main" id="{720B3301-6724-AE48-7FBE-C76855C096FE}"/>
              </a:ext>
            </a:extLst>
          </p:cNvPr>
          <p:cNvPicPr>
            <a:picLocks noChangeAspect="1"/>
          </p:cNvPicPr>
          <p:nvPr/>
        </p:nvPicPr>
        <p:blipFill>
          <a:blip r:embed="rId36"/>
          <a:stretch>
            <a:fillRect/>
          </a:stretch>
        </p:blipFill>
        <p:spPr>
          <a:xfrm>
            <a:off x="557115" y="3733997"/>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75D50C15-18AB-D146-CB4E-0D8B4B85AFA1}"/>
              </a:ext>
            </a:extLst>
          </p:cNvPr>
          <p:cNvPicPr>
            <a:picLocks noChangeAspect="1"/>
          </p:cNvPicPr>
          <p:nvPr/>
        </p:nvPicPr>
        <p:blipFill>
          <a:blip r:embed="rId37"/>
          <a:stretch>
            <a:fillRect/>
          </a:stretch>
        </p:blipFill>
        <p:spPr>
          <a:xfrm>
            <a:off x="557115" y="4747106"/>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83E5A970-9F32-FA6D-742B-3DFD04B251DE}"/>
              </a:ext>
            </a:extLst>
          </p:cNvPr>
          <p:cNvPicPr>
            <a:picLocks noChangeAspect="1"/>
          </p:cNvPicPr>
          <p:nvPr/>
        </p:nvPicPr>
        <p:blipFill>
          <a:blip r:embed="rId38"/>
          <a:stretch>
            <a:fillRect/>
          </a:stretch>
        </p:blipFill>
        <p:spPr>
          <a:xfrm>
            <a:off x="557115" y="1945755"/>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16AF7F86-450D-3936-DE25-9F7A7B1BD9FD}"/>
              </a:ext>
            </a:extLst>
          </p:cNvPr>
          <p:cNvPicPr>
            <a:picLocks noChangeAspect="1"/>
          </p:cNvPicPr>
          <p:nvPr/>
        </p:nvPicPr>
        <p:blipFill>
          <a:blip r:embed="rId39"/>
          <a:stretch>
            <a:fillRect/>
          </a:stretch>
        </p:blipFill>
        <p:spPr>
          <a:xfrm>
            <a:off x="557115" y="4121797"/>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9346E6EF-7D97-1FB6-58CE-CB881178ADD3}"/>
              </a:ext>
            </a:extLst>
          </p:cNvPr>
          <p:cNvPicPr>
            <a:picLocks noChangeAspect="1"/>
          </p:cNvPicPr>
          <p:nvPr/>
        </p:nvPicPr>
        <p:blipFill>
          <a:blip r:embed="rId40"/>
          <a:stretch>
            <a:fillRect/>
          </a:stretch>
        </p:blipFill>
        <p:spPr>
          <a:xfrm>
            <a:off x="557115" y="3238588"/>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ED7C1E50-3FB3-40CB-8202-44318D3AC44F}"/>
              </a:ext>
            </a:extLst>
          </p:cNvPr>
          <p:cNvPicPr>
            <a:picLocks noChangeAspect="1"/>
          </p:cNvPicPr>
          <p:nvPr/>
        </p:nvPicPr>
        <p:blipFill>
          <a:blip r:embed="rId41"/>
          <a:stretch>
            <a:fillRect/>
          </a:stretch>
        </p:blipFill>
        <p:spPr>
          <a:xfrm>
            <a:off x="557115" y="2595448"/>
            <a:ext cx="233367" cy="155578"/>
          </a:xfrm>
          <a:prstGeom prst="rect">
            <a:avLst/>
          </a:prstGeom>
          <a:ln>
            <a:noFill/>
          </a:ln>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1CD32D5E-777C-0F82-ED10-69B9958EBB38}"/>
              </a:ext>
            </a:extLst>
          </p:cNvPr>
          <p:cNvPicPr>
            <a:picLocks noChangeAspect="1"/>
          </p:cNvPicPr>
          <p:nvPr/>
        </p:nvPicPr>
        <p:blipFill>
          <a:blip r:embed="rId42"/>
          <a:stretch>
            <a:fillRect/>
          </a:stretch>
        </p:blipFill>
        <p:spPr>
          <a:xfrm>
            <a:off x="557115" y="5267891"/>
            <a:ext cx="233367" cy="155578"/>
          </a:xfrm>
          <a:prstGeom prst="rect">
            <a:avLst/>
          </a:prstGeom>
          <a:ln>
            <a:noFill/>
          </a:ln>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05F7C73B-C28A-36DE-EC38-013CCD69817F}"/>
              </a:ext>
            </a:extLst>
          </p:cNvPr>
          <p:cNvPicPr>
            <a:picLocks noChangeAspect="1"/>
          </p:cNvPicPr>
          <p:nvPr/>
        </p:nvPicPr>
        <p:blipFill>
          <a:blip r:embed="rId43"/>
          <a:stretch>
            <a:fillRect/>
          </a:stretch>
        </p:blipFill>
        <p:spPr>
          <a:xfrm>
            <a:off x="557115" y="5902340"/>
            <a:ext cx="233367" cy="155578"/>
          </a:xfrm>
          <a:prstGeom prst="rect">
            <a:avLst/>
          </a:prstGeom>
          <a:ln>
            <a:noFill/>
          </a:ln>
          <a:effectLst>
            <a:outerShdw blurRad="50800" dist="38100" dir="2700000" algn="tl" rotWithShape="0">
              <a:prstClr val="black">
                <a:alpha val="40000"/>
              </a:prstClr>
            </a:outerShdw>
          </a:effectLst>
        </p:spPr>
      </p:pic>
      <p:cxnSp>
        <p:nvCxnSpPr>
          <p:cNvPr id="41" name="LineSeparatorDefault 463">
            <a:extLst>
              <a:ext uri="{FF2B5EF4-FFF2-40B4-BE49-F238E27FC236}">
                <a16:creationId xmlns:a16="http://schemas.microsoft.com/office/drawing/2014/main" id="{915203BF-AE74-C977-53E1-15CDD7A60A4E}"/>
              </a:ext>
            </a:extLst>
          </p:cNvPr>
          <p:cNvCxnSpPr>
            <a:cxnSpLocks/>
          </p:cNvCxnSpPr>
          <p:nvPr>
            <p:custDataLst>
              <p:tags r:id="rId12"/>
            </p:custDataLst>
          </p:nvPr>
        </p:nvCxnSpPr>
        <p:spPr bwMode="gray">
          <a:xfrm>
            <a:off x="571500" y="578590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13D6B7A-FA8A-69D2-6571-FD413755C62F}"/>
              </a:ext>
            </a:extLst>
          </p:cNvPr>
          <p:cNvSpPr txBox="1"/>
          <p:nvPr/>
        </p:nvSpPr>
        <p:spPr>
          <a:xfrm>
            <a:off x="881849" y="588168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43" name="TextBox 42">
            <a:extLst>
              <a:ext uri="{FF2B5EF4-FFF2-40B4-BE49-F238E27FC236}">
                <a16:creationId xmlns:a16="http://schemas.microsoft.com/office/drawing/2014/main" id="{54DBB385-1D47-2F89-7F71-529A9E04ECC2}"/>
              </a:ext>
            </a:extLst>
          </p:cNvPr>
          <p:cNvSpPr txBox="1">
            <a:spLocks/>
          </p:cNvSpPr>
          <p:nvPr/>
        </p:nvSpPr>
        <p:spPr>
          <a:xfrm>
            <a:off x="1807671" y="5821907"/>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October 2021,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K set a target to achieve a zero-carbon electricity system by 203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UK has also set a target to get 25% of electricity form nuclear power capacity of 24GW by 2050. In 2024 the UK announced policies, including the Crown Estate Bill, National Wealth Fund Bill, and Great British Energy Bill.</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899946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807486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clean power: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56766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521926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41071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78706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311356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48434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1083543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Mexico: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Argus Media</a:t>
            </a:r>
            <a:r>
              <a:rPr lang="en-US" dirty="0">
                <a:solidFill>
                  <a:srgbClr val="000000"/>
                </a:solidFill>
                <a:latin typeface="Calibri"/>
              </a:rPr>
              <a:t>, </a:t>
            </a:r>
            <a:r>
              <a:rPr lang="en-US" dirty="0">
                <a:solidFill>
                  <a:srgbClr val="000000"/>
                </a:solidFill>
                <a:latin typeface="Calibri"/>
                <a:hlinkClick r:id="rId16"/>
              </a:rPr>
              <a:t>Mondaq</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Niger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IE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CNB</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ürkiy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Energy Dat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Istanbul Pos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Ministry of Enviro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one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Ember-Energ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5"/>
              </a:rPr>
              <a:t>Enerdat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6"/>
              </a:rPr>
              <a:t>Enerdat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7"/>
              </a:rPr>
              <a:t>Business Pos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Rus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8"/>
              </a:rPr>
              <a:t>IE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audi Arab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9"/>
              </a:rPr>
              <a:t>Saudi &amp; Middle East Green Initiative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30"/>
              </a:rPr>
              <a:t>, Hydrogen Insight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Mexican government has announced its plans to increase the share of renewable energies to 45% by 2030</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part of its 2022 NDC update at COP27, Mexico set a target to achiev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0 additional GW</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of combined wind, solar, geothermal, and hydroelectricity capacity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y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4 Mexico announced to re-centralize control under the state-owned </a:t>
            </a:r>
            <a:r>
              <a:rPr kumimoji="0" lang="en-GB" sz="12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omisió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ederal de </a:t>
            </a:r>
            <a:r>
              <a:rPr kumimoji="0" lang="en-GB" sz="12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Electricidad</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FE) and reduce private sector involvement.</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58012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52034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Renewabl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ergy Master Plan (REMP) seeks to increase the supply of renewable electricity from 13% of total electricity generation in 2015 to 23</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5 and 36% by 2030. Renewable electricity would then account for 10% of Nigerian total energy consumption by 2025. In 2024 Nigeria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troduced a new National Integrated Electricity Policy to address the country’s power sector challenges, expanding electricity access to regions currently without power.</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20934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149563"/>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 National Energy Plan sets the target for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newables to supply 64.7% of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 installed capacity by 203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lso aims to increase solar energy capacity more than fivefold to reach 52.9GW, wind capacity to reach 29.6GW and hydrogen capacity to reach 35.2GW.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In 2024</a:t>
            </a:r>
            <a:r>
              <a:rPr lang="en-US" sz="1200" dirty="0">
                <a:solidFill>
                  <a:srgbClr val="000000"/>
                </a:solidFill>
              </a:rPr>
              <a:t> Türkiye</a:t>
            </a:r>
            <a:r>
              <a:rPr lang="en-GB" sz="1200" dirty="0"/>
              <a:t> was in talks with the World Bank to finance a $28 billion energy transmission project aimed at modernizing the country’s energy infrastructure.</a:t>
            </a:r>
            <a:endParaRPr kumimoji="0" lang="en-US" sz="1200" b="0" i="0" u="none" strike="noStrike" kern="1200" cap="none" spc="0" normalizeH="0" baseline="0" noProof="0" dirty="0">
              <a:ln>
                <a:noFill/>
              </a:ln>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88284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823064"/>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ia aims to achiev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50% electric power capacity from non-fossil fuel sources by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 target announced in the country’s 2022 Long-term Strategy for Low-carbon Development</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 In 2023, India’s Union Ministry of State Science &amp; Technology announced an intention to increase nuclear capacity to </a:t>
            </a:r>
            <a:r>
              <a:rPr kumimoji="0" lang="en-GB" sz="1200" b="1" i="0" u="none" strike="noStrike" kern="1200" cap="none" spc="0" normalizeH="0" baseline="0" noProof="0" dirty="0">
                <a:ln>
                  <a:noFill/>
                </a:ln>
                <a:effectLst/>
                <a:uLnTx/>
                <a:uFillTx/>
                <a:latin typeface="Calibri"/>
                <a:ea typeface="+mn-ea"/>
                <a:cs typeface="Arial" panose="020B0604020202020204" pitchFamily="34" charset="0"/>
              </a:rPr>
              <a:t>22 GW by 2031</a:t>
            </a:r>
            <a:r>
              <a:rPr kumimoji="0" lang="en-GB" sz="1200" i="0" u="none" strike="noStrike" kern="1200" cap="none" spc="0" normalizeH="0" baseline="0" noProof="0" dirty="0">
                <a:ln>
                  <a:noFill/>
                </a:ln>
                <a:effectLst/>
                <a:uLnTx/>
                <a:uFillTx/>
                <a:latin typeface="Calibri"/>
                <a:ea typeface="+mn-ea"/>
                <a:cs typeface="Arial" panose="020B0604020202020204" pitchFamily="34" charset="0"/>
              </a:rPr>
              <a:t>. In 2024 India announced several investment plans aimed at its nuclear energy and hydrogen sector.</a:t>
            </a:r>
            <a:endParaRPr kumimoji="0" lang="en-US" sz="1200" i="0" u="none" strike="noStrike" kern="1200" cap="none" spc="0" normalizeH="0" baseline="0" noProof="0" dirty="0">
              <a:ln>
                <a:noFill/>
              </a:ln>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53506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446715"/>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Indonesia announced that it aims to buil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587 GW of CO</a:t>
            </a:r>
            <a:r>
              <a:rPr kumimoji="0" lang="en-GB" sz="1200" b="1" i="0" u="none" strike="noStrike" kern="1200" cap="none" spc="0" normalizeH="0" baseline="-25000" noProof="0" dirty="0">
                <a:ln>
                  <a:noFill/>
                </a:ln>
                <a:solidFill>
                  <a:srgbClr val="000000"/>
                </a:solidFill>
                <a:effectLst/>
                <a:uLnTx/>
                <a:uFillTx/>
                <a:latin typeface="Calibri"/>
                <a:ea typeface="+mn-ea"/>
                <a:cs typeface="Arial" panose="020B0604020202020204" pitchFamily="34" charset="0"/>
              </a:rPr>
              <a:t>2</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ree power plants by 206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addition, Indonesi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Just Energy Transition Partnership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lan</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hich is contingent on international financing) includes a power sector emissions reduction pathway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t zero by 205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peak emissions by 2030.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nder the JETP scenario, renewable energy share in the power mix will reach 44% by 2030. In 2024 Indonesia announced a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35 billion renewable energy project that will develop 75 gigawatts (GW) of capacity by 2038</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531504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5255264"/>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ussi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0 Energy Strategy</a:t>
            </a:r>
            <a:r>
              <a:rPr lang="en-GB" sz="1200" b="1" dirty="0">
                <a:solidFill>
                  <a:srgbClr val="000000"/>
                </a:solidFill>
                <a:latin typeface="Calibri"/>
              </a:rPr>
              <a:t>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ets a 56 percent energy intensity reduction target for 2030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mpared with 2005). It will be accomplished in three stages</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66344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60366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1, Saudi Arabia announced that it plans to generat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50% of its electricity from renewable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50% from natural gas by 2030. In 2024 Saudi Arabia announced to invest at least $10 billion in low-carbon hydrogen through a new subsidiary.</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AD78523E-55B6-2C92-F033-F0FB073EDCE1}"/>
              </a:ext>
            </a:extLst>
          </p:cNvPr>
          <p:cNvPicPr>
            <a:picLocks noChangeAspect="1"/>
          </p:cNvPicPr>
          <p:nvPr/>
        </p:nvPicPr>
        <p:blipFill>
          <a:blip r:embed="rId31"/>
          <a:stretch>
            <a:fillRect/>
          </a:stretch>
        </p:blipFill>
        <p:spPr>
          <a:xfrm>
            <a:off x="557115" y="5678907"/>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E9CF52DC-A23B-7065-DD83-DA2261D64DBB}"/>
              </a:ext>
            </a:extLst>
          </p:cNvPr>
          <p:cNvPicPr>
            <a:picLocks noChangeAspect="1"/>
          </p:cNvPicPr>
          <p:nvPr/>
        </p:nvPicPr>
        <p:blipFill>
          <a:blip r:embed="rId32"/>
          <a:stretch>
            <a:fillRect/>
          </a:stretch>
        </p:blipFill>
        <p:spPr>
          <a:xfrm>
            <a:off x="557115" y="323115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37421A8A-C7BB-BED1-3FA6-31D4CFFFB783}"/>
              </a:ext>
            </a:extLst>
          </p:cNvPr>
          <p:cNvPicPr>
            <a:picLocks noChangeAspect="1"/>
          </p:cNvPicPr>
          <p:nvPr/>
        </p:nvPicPr>
        <p:blipFill>
          <a:blip r:embed="rId33"/>
          <a:stretch>
            <a:fillRect/>
          </a:stretch>
        </p:blipFill>
        <p:spPr>
          <a:xfrm>
            <a:off x="557115" y="4553712"/>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9E293F4D-DBF2-961C-31F6-B65E3A978173}"/>
              </a:ext>
            </a:extLst>
          </p:cNvPr>
          <p:cNvPicPr>
            <a:picLocks noChangeAspect="1"/>
          </p:cNvPicPr>
          <p:nvPr/>
        </p:nvPicPr>
        <p:blipFill>
          <a:blip r:embed="rId34"/>
          <a:stretch>
            <a:fillRect/>
          </a:stretch>
        </p:blipFill>
        <p:spPr>
          <a:xfrm>
            <a:off x="557115" y="5334483"/>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BDCF08D8-B5A0-6B30-15D5-03F011709A1A}"/>
              </a:ext>
            </a:extLst>
          </p:cNvPr>
          <p:cNvPicPr>
            <a:picLocks noChangeAspect="1"/>
          </p:cNvPicPr>
          <p:nvPr/>
        </p:nvPicPr>
        <p:blipFill>
          <a:blip r:embed="rId35"/>
          <a:stretch>
            <a:fillRect/>
          </a:stretch>
        </p:blipFill>
        <p:spPr>
          <a:xfrm>
            <a:off x="557115" y="3910213"/>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77A90F95-7CDF-E6BB-5BDB-E334EBF58197}"/>
              </a:ext>
            </a:extLst>
          </p:cNvPr>
          <p:cNvPicPr>
            <a:picLocks noChangeAspect="1"/>
          </p:cNvPicPr>
          <p:nvPr/>
        </p:nvPicPr>
        <p:blipFill>
          <a:blip r:embed="rId36"/>
          <a:stretch>
            <a:fillRect/>
          </a:stretch>
        </p:blipFill>
        <p:spPr>
          <a:xfrm>
            <a:off x="557115" y="1946537"/>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59BB0AF1-FD13-3F3F-599C-93CC800A6B90}"/>
              </a:ext>
            </a:extLst>
          </p:cNvPr>
          <p:cNvPicPr>
            <a:picLocks noChangeAspect="1"/>
          </p:cNvPicPr>
          <p:nvPr/>
        </p:nvPicPr>
        <p:blipFill>
          <a:blip r:embed="rId37"/>
          <a:stretch>
            <a:fillRect/>
          </a:stretch>
        </p:blipFill>
        <p:spPr>
          <a:xfrm>
            <a:off x="557115" y="2601760"/>
            <a:ext cx="233367" cy="155578"/>
          </a:xfrm>
          <a:prstGeom prst="rect">
            <a:avLst/>
          </a:prstGeom>
          <a:ln>
            <a:noFill/>
          </a:ln>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9630D582-D7CC-362A-41D9-8FD4CE0DCD7A}"/>
              </a:ext>
            </a:extLst>
          </p:cNvPr>
          <p:cNvPicPr>
            <a:picLocks noChangeAspect="1"/>
          </p:cNvPicPr>
          <p:nvPr/>
        </p:nvPicPr>
        <p:blipFill>
          <a:blip r:embed="rId38"/>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66791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905017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dirty="0"/>
              <a:t>Light-duty vehicle 100% ZEV sal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65851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516533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50135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91358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332580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63740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United Kingdom: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Gov.UK</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6"/>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Government of Canada</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8"/>
              </a:rPr>
              <a:t>CBC</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9"/>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h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ICC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uropean Union: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European Commiss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2"/>
              </a:rPr>
              <a:t>Reuter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th Kore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SCM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4"/>
              </a:rPr>
              <a:t>InfluenceMa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0, the UK announc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 ban on sales of cars and vans with </a:t>
            </a:r>
            <a:r>
              <a:rPr kumimoji="0" lang="en-US" sz="1200" b="1" i="0" u="none" strike="noStrike" kern="1200" cap="none" spc="0" normalizeH="0" baseline="0" noProof="0" dirty="0">
                <a:ln>
                  <a:noFill/>
                </a:ln>
                <a:solidFill>
                  <a:srgbClr val="000000"/>
                </a:solidFill>
                <a:effectLst/>
                <a:uLnTx/>
                <a:uFillTx/>
                <a:latin typeface="Calibri"/>
                <a:ea typeface="+mn-ea"/>
                <a:cs typeface="+mn-cs"/>
              </a:rPr>
              <a:t>CO</a:t>
            </a:r>
            <a:r>
              <a:rPr kumimoji="0" lang="en-US" sz="1200" b="1" i="0" u="none" strike="noStrike" kern="1200" cap="none" spc="0" normalizeH="0" baseline="-25000" noProof="0" dirty="0">
                <a:ln>
                  <a:noFill/>
                </a:ln>
                <a:solidFill>
                  <a:srgbClr val="000000"/>
                </a:solidFill>
                <a:effectLst/>
                <a:uLnTx/>
                <a:uFillTx/>
                <a:latin typeface="Calibri"/>
                <a:ea typeface="+mn-ea"/>
                <a:cs typeface="+mn-cs"/>
              </a:rPr>
              <a:t>2</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missions from 203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etween 2030 and 2035, new cars and vans can be sold if they have the capability to drive a significant distance with zero emissions (such as plug-in hybrid vehicles and full hybrids). In 2023, the UK announced plans to delay the ban to 2035 however the new Labour government reaffirmed the 2030 target.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the UK reviewed its EV sales targets, aiming for 22% electric cars by 2024 and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80% by 2030</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mid rising production costs and infrastructure challenges.</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733179"/>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673402"/>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nada's 2030 Emissions Reduction Plan, announced in 2022, includes a target for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00% zero-emissions vehicle (ZEV) sales of new light-duty vehicles by 203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s 2030 Emissions reduction plan also includes interim sales targets of 20% new light-duty vehicles sales to be zero-emissions by 2026, 60% by 2030</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r>
              <a:rPr lang="en-GB" sz="1200">
                <a:solidFill>
                  <a:srgbClr val="000000"/>
                </a:solidFill>
                <a:latin typeface="Calibri"/>
              </a:rPr>
              <a:t> In 2024, Canada announced tariffs on Chinese EVs which could impact EV sales in shorter term.  </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42158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361804"/>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October 2020, China set a sales target of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50% of all new cars sold before 2035 to be powered by new energy</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plug-in hybrid electric vehicle, battery electric vehicle and hydrogen fuel-cell vehicle).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Canada considered a 100% tariff on Chinese EVs to counter market dominance, while Ontario extended gas tax cuts and urged an end to the federal carbon tax.</a:t>
            </a: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400935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94958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2, the EU mandated that all new cars and vans registered in the EU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hould have zero </a:t>
            </a:r>
            <a:r>
              <a:rPr kumimoji="0" lang="en-US" sz="1200" b="1" i="0" u="none" strike="noStrike" kern="1200" cap="none" spc="0" normalizeH="0" baseline="0" noProof="0">
                <a:ln>
                  <a:noFill/>
                </a:ln>
                <a:solidFill>
                  <a:srgbClr val="000000"/>
                </a:solidFill>
                <a:effectLst/>
                <a:uLnTx/>
                <a:uFillTx/>
                <a:latin typeface="Calibri"/>
                <a:ea typeface="+mn-ea"/>
                <a:cs typeface="+mn-cs"/>
              </a:rPr>
              <a:t>CO</a:t>
            </a:r>
            <a:r>
              <a:rPr kumimoji="0" lang="en-US" sz="1200" b="1" i="0" u="none" strike="noStrike" kern="1200" cap="none" spc="0" normalizeH="0" baseline="-25000" noProof="0">
                <a:ln>
                  <a:noFill/>
                </a:ln>
                <a:solidFill>
                  <a:srgbClr val="000000"/>
                </a:solidFill>
                <a:effectLst/>
                <a:uLnTx/>
                <a:uFillTx/>
                <a:latin typeface="Calibri"/>
                <a:ea typeface="+mn-ea"/>
                <a:cs typeface="+mn-cs"/>
              </a:rPr>
              <a:t>2</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 by 2035.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new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standards will also require average carbon emissions of new cars to come down by 55% by 2030.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France announced a one-third cut in EV purchase subsidies and stricter penalties for heavier vehicles to promote energy-efficient cars.</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59713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53735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the EU mandated that all new cars and vans registered in the EU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hould have zero </a:t>
            </a:r>
            <a:r>
              <a:rPr kumimoji="0" lang="en-US" sz="1200" b="1" i="0" u="none" strike="noStrike" kern="1200" cap="none" spc="0" normalizeH="0" baseline="0" noProof="0" dirty="0">
                <a:ln>
                  <a:noFill/>
                </a:ln>
                <a:solidFill>
                  <a:srgbClr val="000000"/>
                </a:solidFill>
                <a:effectLst/>
                <a:uLnTx/>
                <a:uFillTx/>
                <a:latin typeface="Calibri"/>
                <a:ea typeface="+mn-ea"/>
                <a:cs typeface="+mn-cs"/>
              </a:rPr>
              <a:t>CO</a:t>
            </a:r>
            <a:r>
              <a:rPr kumimoji="0" lang="en-US" sz="1200" b="1" i="0" u="none" strike="noStrike" kern="1200" cap="none" spc="0" normalizeH="0" baseline="-25000" noProof="0" dirty="0">
                <a:ln>
                  <a:noFill/>
                </a:ln>
                <a:solidFill>
                  <a:srgbClr val="000000"/>
                </a:solidFill>
                <a:effectLst/>
                <a:uLnTx/>
                <a:uFillTx/>
                <a:latin typeface="Calibri"/>
                <a:ea typeface="+mn-ea"/>
                <a:cs typeface="+mn-cs"/>
              </a:rPr>
              <a:t>2</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missions by 2035.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ermany’s government pushed for this mandate to include a derogation for e-fuels in ICE vehicles, which was ultimately incorporated into the final regulation. The new </a:t>
            </a:r>
            <a:r>
              <a:rPr kumimoji="0" lang="en-US" sz="1200" b="0" i="0" u="none" strike="noStrike" kern="1200" cap="none" spc="0" normalizeH="0" baseline="0" noProof="0" dirty="0">
                <a:ln>
                  <a:noFill/>
                </a:ln>
                <a:solidFill>
                  <a:srgbClr val="000000"/>
                </a:solidFill>
                <a:effectLst/>
                <a:uLnTx/>
                <a:uFillTx/>
                <a:latin typeface="Calibri"/>
                <a:ea typeface="+mn-ea"/>
                <a:cs typeface="+mn-cs"/>
              </a:rPr>
              <a:t>CO</a:t>
            </a:r>
            <a:r>
              <a:rPr kumimoji="0" lang="en-US" sz="1200" b="0" i="0" u="none" strike="noStrike" kern="1200" cap="none" spc="0" normalizeH="0" baseline="-25000" noProof="0" dirty="0">
                <a:ln>
                  <a:noFill/>
                </a:ln>
                <a:solidFill>
                  <a:srgbClr val="000000"/>
                </a:solidFill>
                <a:effectLst/>
                <a:uLnTx/>
                <a:uFillTx/>
                <a:latin typeface="Calibri"/>
                <a:ea typeface="+mn-ea"/>
                <a:cs typeface="+mn-cs"/>
              </a:rPr>
              <a:t>2</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tandards will also require average carbon emissions of new cars to come down by 55% by 2030. </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5261109"/>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5201332"/>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2, the EU mandated that all new cars and vans registered in the EU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hould have zero </a:t>
            </a:r>
            <a:r>
              <a:rPr kumimoji="0" lang="en-US" sz="1200" b="1" i="0" u="none" strike="noStrike" kern="1200" cap="none" spc="0" normalizeH="0" baseline="0" noProof="0">
                <a:ln>
                  <a:noFill/>
                </a:ln>
                <a:solidFill>
                  <a:srgbClr val="000000"/>
                </a:solidFill>
                <a:effectLst/>
                <a:uLnTx/>
                <a:uFillTx/>
                <a:latin typeface="Calibri"/>
                <a:ea typeface="+mn-ea"/>
                <a:cs typeface="+mn-cs"/>
              </a:rPr>
              <a:t>CO</a:t>
            </a:r>
            <a:r>
              <a:rPr kumimoji="0" lang="en-US" sz="1200" b="1" i="0" u="none" strike="noStrike" kern="1200" cap="none" spc="0" normalizeH="0" baseline="-25000" noProof="0">
                <a:ln>
                  <a:noFill/>
                </a:ln>
                <a:solidFill>
                  <a:srgbClr val="000000"/>
                </a:solidFill>
                <a:effectLst/>
                <a:uLnTx/>
                <a:uFillTx/>
                <a:latin typeface="Calibri"/>
                <a:ea typeface="+mn-ea"/>
                <a:cs typeface="+mn-cs"/>
              </a:rPr>
              <a:t>2</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 by 2035.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new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standards will also require average carbon emissions of new cars to come down by 55% by 2030.</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75429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69451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June 2022, President Yoon’s government announced a policy agenda which planned to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et a goal for a transition to ZEVs by 2035</a:t>
            </a:r>
            <a:r>
              <a:rPr kumimoji="0" lang="en-GB"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 but did not explicitly commit to a date for phasing out ICE vehicles.</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14A30E23-9E63-670F-8D84-BEA3F2EE1158}"/>
              </a:ext>
            </a:extLst>
          </p:cNvPr>
          <p:cNvPicPr>
            <a:picLocks noChangeAspect="1"/>
          </p:cNvPicPr>
          <p:nvPr/>
        </p:nvPicPr>
        <p:blipFill>
          <a:blip r:embed="rId25"/>
          <a:stretch>
            <a:fillRect/>
          </a:stretch>
        </p:blipFill>
        <p:spPr>
          <a:xfrm>
            <a:off x="557115" y="2747240"/>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AAC929EF-7DB8-AFEB-4FE4-07EA09B60A2A}"/>
              </a:ext>
            </a:extLst>
          </p:cNvPr>
          <p:cNvPicPr>
            <a:picLocks noChangeAspect="1"/>
          </p:cNvPicPr>
          <p:nvPr/>
        </p:nvPicPr>
        <p:blipFill>
          <a:blip r:embed="rId26"/>
          <a:stretch>
            <a:fillRect/>
          </a:stretch>
        </p:blipFill>
        <p:spPr>
          <a:xfrm>
            <a:off x="557115" y="5281330"/>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8153E848-A20C-12D9-773B-0C43D7DCD143}"/>
              </a:ext>
            </a:extLst>
          </p:cNvPr>
          <p:cNvPicPr>
            <a:picLocks noChangeAspect="1"/>
          </p:cNvPicPr>
          <p:nvPr/>
        </p:nvPicPr>
        <p:blipFill>
          <a:blip r:embed="rId27"/>
          <a:stretch>
            <a:fillRect/>
          </a:stretch>
        </p:blipFill>
        <p:spPr>
          <a:xfrm>
            <a:off x="557115" y="4614614"/>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5BF1C9F1-6FF9-9BD2-EFD0-6861BC4D91BA}"/>
              </a:ext>
            </a:extLst>
          </p:cNvPr>
          <p:cNvPicPr>
            <a:picLocks noChangeAspect="1"/>
          </p:cNvPicPr>
          <p:nvPr/>
        </p:nvPicPr>
        <p:blipFill>
          <a:blip r:embed="rId28"/>
          <a:stretch>
            <a:fillRect/>
          </a:stretch>
        </p:blipFill>
        <p:spPr>
          <a:xfrm>
            <a:off x="557115" y="4033618"/>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9024CE66-E1FD-407A-83CC-3FCDF6BACE06}"/>
              </a:ext>
            </a:extLst>
          </p:cNvPr>
          <p:cNvPicPr>
            <a:picLocks noChangeAspect="1"/>
          </p:cNvPicPr>
          <p:nvPr/>
        </p:nvPicPr>
        <p:blipFill>
          <a:blip r:embed="rId29"/>
          <a:stretch>
            <a:fillRect/>
          </a:stretch>
        </p:blipFill>
        <p:spPr>
          <a:xfrm>
            <a:off x="557115" y="1945439"/>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7B2D7A7C-9E25-1B5A-4EB9-9D415BEE6CF9}"/>
              </a:ext>
            </a:extLst>
          </p:cNvPr>
          <p:cNvPicPr>
            <a:picLocks noChangeAspect="1"/>
          </p:cNvPicPr>
          <p:nvPr/>
        </p:nvPicPr>
        <p:blipFill>
          <a:blip r:embed="rId30"/>
          <a:stretch>
            <a:fillRect/>
          </a:stretch>
        </p:blipFill>
        <p:spPr>
          <a:xfrm>
            <a:off x="557115" y="3433579"/>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AA4126E7-CB12-9914-37D8-91B3794BAE3F}"/>
              </a:ext>
            </a:extLst>
          </p:cNvPr>
          <p:cNvPicPr>
            <a:picLocks noChangeAspect="1"/>
          </p:cNvPicPr>
          <p:nvPr/>
        </p:nvPicPr>
        <p:blipFill>
          <a:blip r:embed="rId31"/>
          <a:stretch>
            <a:fillRect/>
          </a:stretch>
        </p:blipFill>
        <p:spPr>
          <a:xfrm>
            <a:off x="557115" y="5774710"/>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86919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65822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Light-duty vehicle 100% ZEV sal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12708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74885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16108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52567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316650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33194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1030203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rgent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Inside EV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ustralia: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6"/>
              </a:rPr>
              <a:t>Mercomind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Australian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8"/>
              </a:rPr>
              <a:t>Reuter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Indones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9"/>
              </a:rPr>
              <a:t>Carbine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 Secretariat of the republic of Indonesia</a:t>
            </a:r>
            <a:r>
              <a:rPr lang="en-US" dirty="0">
                <a:solidFill>
                  <a:srgbClr val="000000"/>
                </a:solidFill>
                <a:latin typeface="Calibri"/>
              </a:rPr>
              <a:t>,</a:t>
            </a:r>
            <a:r>
              <a:rPr lang="en-US" dirty="0">
                <a:solidFill>
                  <a:srgbClr val="000000"/>
                </a:solidFill>
                <a:latin typeface="Calibri"/>
                <a:hlinkClick r:id="rId20"/>
              </a:rPr>
              <a:t> </a:t>
            </a:r>
            <a:r>
              <a:rPr kumimoji="0" lang="en-US" sz="800" b="0" i="0" u="none" strike="noStrike" kern="1200" cap="none" spc="0" normalizeH="0" baseline="0" noProof="0" dirty="0">
                <a:ln>
                  <a:noFill/>
                </a:ln>
                <a:solidFill>
                  <a:srgbClr val="000000"/>
                </a:solidFill>
                <a:effectLst/>
                <a:uLnTx/>
                <a:uFillTx/>
                <a:latin typeface="Calibri"/>
                <a:hlinkClick r:id="rId20"/>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Japan: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International Trade Administration</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2"/>
              </a:rPr>
              <a:t>Kyodonew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Mexico: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U.S. Embassy&amp; Consulates in Mexico</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 has not legislated any policies or target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phase out the use of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cars and vans. In October 2021, the Government proposed a bill which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would ban sales of ICE vehicles from 2041 onward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ut this bill has not yet been passed.</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42772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367946"/>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April 2023, Australia published its National Electric Vehicle Strategy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hich aims to expand EV infrastructure and increase the uptake of electric vehicles</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strategy includes a commitment to introduce a fuel efficiency standard on carmakers’ fleet-wide average emissions.</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Australian government aims to increase the share of electric vehicles (EV) in new light vehicle sales to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0% by 2030 and 100% by 2035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o transition to a decarbonized transport system. In 2024, Australia proposed new vehicle emissions and fuel efficiency standards to boost EV adoption and cut transport emissions by 2030.</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24323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202503"/>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India allocated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3 billion to promote electric vehicles, aiming for 30% EV adoption by 2030</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62145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561679"/>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1, the Indonesian government set a goal for</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100% of sales of new cars to be electrically-powered by 205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Government also set a target for the domestic automotive industry to produce 600,000 electric vehicles by 2030 (which would be less than 5% of Indonesia’s current fleet size of 17 million passenger vehicle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25685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19708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 has set a target to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each 100% Clean Energy Vehicle (CEVs) sales of cars by 2035</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Japan’s definition of CEVs includes battery electric vehicles (BEVs), hybrid electric vehicles (HEVs), plug-in hybrid electric vehicles (PHEVs) and fuel cell electric vehicles (FCEVs).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Japan set a goal for all new vehicles to run on biofuels by the early 2030s, aiming to reduce transportation emissions and fossil fuel dependence.</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84463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78485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COP27 in 2022, Mexico announced a target for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50% of vehicle sales to be zero-emissions vehicles by 2030.</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22286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163082"/>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 has not announced any policies or target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phase out the use of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cars and va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EAC9B3DB-A453-8147-0284-528B22F6D974}"/>
              </a:ext>
            </a:extLst>
          </p:cNvPr>
          <p:cNvPicPr>
            <a:picLocks noChangeAspect="1"/>
          </p:cNvPicPr>
          <p:nvPr/>
        </p:nvPicPr>
        <p:blipFill>
          <a:blip r:embed="rId24"/>
          <a:stretch>
            <a:fillRect/>
          </a:stretch>
        </p:blipFill>
        <p:spPr>
          <a:xfrm>
            <a:off x="557115" y="1947812"/>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32AE1F73-1276-E7FA-26DB-3FE8407F3B01}"/>
              </a:ext>
            </a:extLst>
          </p:cNvPr>
          <p:cNvPicPr>
            <a:picLocks noChangeAspect="1"/>
          </p:cNvPicPr>
          <p:nvPr/>
        </p:nvPicPr>
        <p:blipFill>
          <a:blip r:embed="rId25"/>
          <a:stretch>
            <a:fillRect/>
          </a:stretch>
        </p:blipFill>
        <p:spPr>
          <a:xfrm>
            <a:off x="557115" y="4270046"/>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9D1209D0-E15A-F203-B553-C6774C39E43D}"/>
              </a:ext>
            </a:extLst>
          </p:cNvPr>
          <p:cNvPicPr>
            <a:picLocks noChangeAspect="1"/>
          </p:cNvPicPr>
          <p:nvPr/>
        </p:nvPicPr>
        <p:blipFill>
          <a:blip r:embed="rId26"/>
          <a:stretch>
            <a:fillRect/>
          </a:stretch>
        </p:blipFill>
        <p:spPr>
          <a:xfrm>
            <a:off x="557115" y="2445715"/>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55FBC2D1-6BF3-5A32-5B76-9D09963DFC67}"/>
              </a:ext>
            </a:extLst>
          </p:cNvPr>
          <p:cNvPicPr>
            <a:picLocks noChangeAspect="1"/>
          </p:cNvPicPr>
          <p:nvPr/>
        </p:nvPicPr>
        <p:blipFill>
          <a:blip r:embed="rId27"/>
          <a:stretch>
            <a:fillRect/>
          </a:stretch>
        </p:blipFill>
        <p:spPr>
          <a:xfrm>
            <a:off x="557115" y="5243004"/>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D1A9B08A-E407-3F69-0A84-CBD932B32874}"/>
              </a:ext>
            </a:extLst>
          </p:cNvPr>
          <p:cNvPicPr>
            <a:picLocks noChangeAspect="1"/>
          </p:cNvPicPr>
          <p:nvPr/>
        </p:nvPicPr>
        <p:blipFill>
          <a:blip r:embed="rId28"/>
          <a:stretch>
            <a:fillRect/>
          </a:stretch>
        </p:blipFill>
        <p:spPr>
          <a:xfrm>
            <a:off x="557115" y="3261784"/>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A0D7E3C4-DB8C-64B0-5B15-D380C4E9304D}"/>
              </a:ext>
            </a:extLst>
          </p:cNvPr>
          <p:cNvPicPr>
            <a:picLocks noChangeAspect="1"/>
          </p:cNvPicPr>
          <p:nvPr/>
        </p:nvPicPr>
        <p:blipFill>
          <a:blip r:embed="rId29"/>
          <a:stretch>
            <a:fillRect/>
          </a:stretch>
        </p:blipFill>
        <p:spPr>
          <a:xfrm>
            <a:off x="557115" y="4860964"/>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B3607A9B-7EA4-C088-24F5-F0B13762256E}"/>
              </a:ext>
            </a:extLst>
          </p:cNvPr>
          <p:cNvPicPr>
            <a:picLocks noChangeAspect="1"/>
          </p:cNvPicPr>
          <p:nvPr/>
        </p:nvPicPr>
        <p:blipFill>
          <a:blip r:embed="rId30"/>
          <a:stretch>
            <a:fillRect/>
          </a:stretch>
        </p:blipFill>
        <p:spPr>
          <a:xfrm>
            <a:off x="557115" y="3647313"/>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813309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4032685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Light-duty vehicle 100% ZEV sal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11526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67988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28261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91391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342729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20812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United States: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BBC</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EPA Standard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CNBC</a:t>
            </a:r>
            <a:r>
              <a:rPr lang="en-US" dirty="0">
                <a:solidFill>
                  <a:srgbClr val="000000"/>
                </a:solidFill>
                <a:latin typeface="Calibri"/>
              </a:rPr>
              <a:t>; Vietnam: </a:t>
            </a:r>
            <a:r>
              <a:rPr lang="en-US" dirty="0">
                <a:solidFill>
                  <a:srgbClr val="000000"/>
                </a:solidFill>
                <a:latin typeface="Calibri"/>
                <a:hlinkClick r:id="rId18"/>
              </a:rPr>
              <a:t>UNDP</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udi Arabia: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9"/>
              </a:rPr>
              <a:t>TheNationalNew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0"/>
              </a:rPr>
              <a:t>Wilsoncenter</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1"/>
              </a:rPr>
              <a:t>Aaws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has not announced any policies or target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phase out the use of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cars and va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30389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244121"/>
            <a:ext cx="9847754"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3, the EPA propos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w fleet-wide emissions standard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or passenger cars and light trucks which would apply between 2027 and 2032.</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t includes a target for 56% of all new US vehicles sold to be electric by 2032.</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1, the US president signed an executive order that 50% of new vehicles should be zero emission vehicles, including battery electric, plug-in hybrid electric, or fuel cell electric vehicles by 2030.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me states have introduced targets to ban the sale of carbon-emitting car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vans, such as California which has passed a ban on new gasoline cars by 2035.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the US announced tariffs on Chinese imports including EVs and batteries which could decrease EV deployment. Moreover</a:t>
            </a:r>
            <a:r>
              <a:rPr lang="en-GB" sz="1200">
                <a:solidFill>
                  <a:srgbClr val="000000"/>
                </a:solidFill>
                <a:latin typeface="Calibri"/>
              </a:rPr>
              <a:t> state targets such as California’s are facing challenges by the Trump administration.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52307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463294"/>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July 2022, Vietnam's Government approved a target for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et zero emissions in the transport sector by 2050</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The plan also includes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banning the import and manufacturing of light-duty vehicles using fossil fuel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eginning in 2040.</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400968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94991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 has not announced any policies or target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phase out the use of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cars and va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37838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318611"/>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 has not announced policies or target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phase out the use of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cars and va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77566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715887"/>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 has not announced policies or target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phase out the use of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cars and va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21104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151263"/>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1, </a:t>
            </a: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 announced a target to ensure 30% of vehicles on the roads of Riyadh are electric by 2030.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addition, they invested big in electric vehicles and batteries, in November 2022, Saudi Arabia launched </a:t>
            </a:r>
            <a:r>
              <a:rPr kumimoji="0" lang="en-US" sz="12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Ceer</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the country’ first electric vehicle maker. In 2024, Saudi Arabia announced plans to establish an electric vehicle production hub as part of its Vision 2030 strategy, focusing on infrastructure and private investment.</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143C8243-9871-6DD5-7ABD-D989B4690C04}"/>
              </a:ext>
            </a:extLst>
          </p:cNvPr>
          <p:cNvPicPr>
            <a:picLocks noChangeAspect="1"/>
          </p:cNvPicPr>
          <p:nvPr/>
        </p:nvPicPr>
        <p:blipFill>
          <a:blip r:embed="rId22"/>
          <a:stretch>
            <a:fillRect/>
          </a:stretch>
        </p:blipFill>
        <p:spPr>
          <a:xfrm>
            <a:off x="557115" y="5226612"/>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2E495EA3-8CF9-4A2B-890C-F49FAB5989C4}"/>
              </a:ext>
            </a:extLst>
          </p:cNvPr>
          <p:cNvPicPr>
            <a:picLocks noChangeAspect="1"/>
          </p:cNvPicPr>
          <p:nvPr/>
        </p:nvPicPr>
        <p:blipFill>
          <a:blip r:embed="rId23"/>
          <a:stretch>
            <a:fillRect/>
          </a:stretch>
        </p:blipFill>
        <p:spPr>
          <a:xfrm>
            <a:off x="557115" y="4794848"/>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892422AD-2FBF-8095-8F9C-CD5455B25117}"/>
              </a:ext>
            </a:extLst>
          </p:cNvPr>
          <p:cNvPicPr>
            <a:picLocks noChangeAspect="1"/>
          </p:cNvPicPr>
          <p:nvPr/>
        </p:nvPicPr>
        <p:blipFill>
          <a:blip r:embed="rId24"/>
          <a:stretch>
            <a:fillRect/>
          </a:stretch>
        </p:blipFill>
        <p:spPr>
          <a:xfrm>
            <a:off x="557115" y="1947813"/>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C95D8AF9-505A-BA50-6F99-60B2188E18AC}"/>
              </a:ext>
            </a:extLst>
          </p:cNvPr>
          <p:cNvPicPr>
            <a:picLocks noChangeAspect="1"/>
          </p:cNvPicPr>
          <p:nvPr/>
        </p:nvPicPr>
        <p:blipFill>
          <a:blip r:embed="rId25"/>
          <a:stretch>
            <a:fillRect/>
          </a:stretch>
        </p:blipFill>
        <p:spPr>
          <a:xfrm>
            <a:off x="557115" y="4393247"/>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98DC00AE-D36A-B237-C65C-50D23B73C89F}"/>
              </a:ext>
            </a:extLst>
          </p:cNvPr>
          <p:cNvPicPr>
            <a:picLocks noChangeAspect="1"/>
          </p:cNvPicPr>
          <p:nvPr/>
        </p:nvPicPr>
        <p:blipFill>
          <a:blip r:embed="rId26"/>
          <a:stretch>
            <a:fillRect/>
          </a:stretch>
        </p:blipFill>
        <p:spPr>
          <a:xfrm>
            <a:off x="557115" y="4026569"/>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3A4017CF-3AF3-8C05-3489-B73076FB533A}"/>
              </a:ext>
            </a:extLst>
          </p:cNvPr>
          <p:cNvPicPr>
            <a:picLocks noChangeAspect="1"/>
          </p:cNvPicPr>
          <p:nvPr/>
        </p:nvPicPr>
        <p:blipFill>
          <a:blip r:embed="rId27"/>
          <a:stretch>
            <a:fillRect/>
          </a:stretch>
        </p:blipFill>
        <p:spPr>
          <a:xfrm>
            <a:off x="557115" y="3539775"/>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1DE3CDF9-4347-1F1F-19FE-C848B0561D7D}"/>
              </a:ext>
            </a:extLst>
          </p:cNvPr>
          <p:cNvPicPr>
            <a:picLocks noChangeAspect="1"/>
          </p:cNvPicPr>
          <p:nvPr/>
        </p:nvPicPr>
        <p:blipFill>
          <a:blip r:embed="rId28"/>
          <a:stretch>
            <a:fillRect/>
          </a:stretch>
        </p:blipFill>
        <p:spPr>
          <a:xfrm>
            <a:off x="557115" y="2317672"/>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271169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337405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Phase out of heavy-duty CO</a:t>
            </a:r>
            <a:r>
              <a:rPr lang="en-US" baseline="-25000"/>
              <a:t>2</a:t>
            </a:r>
            <a:r>
              <a:rPr lang="en-US"/>
              <a:t> vehicl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03118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49103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06255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49382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95367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42719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ustral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Australian Government</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Australian Governmen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Government of Canad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U: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European Commission</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Clean Energy Ministerial Ind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The Economic Times Ind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has not set a target and</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does not have policie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place 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 New South Wales, Victoria, and Queensland governments announced a tri-state collaboration on a renewable hydrogen refuelling network for heavy transport and logistics.</a:t>
            </a:r>
            <a:endParaRPr kumimoji="0" lang="en-US" sz="1200" b="0" i="0" u="none" strike="noStrike" kern="1200" cap="none" spc="0" normalizeH="0" baseline="0" noProof="0">
              <a:ln>
                <a:noFill/>
              </a:ln>
              <a:solidFill>
                <a:srgbClr val="FF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52297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46319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COP26,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 signed a non-binding memorandum of understanding for 35% of medium- and heavy-duty vehicles to be zero-emission by 2030 and 100% by 2040.</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04945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989673"/>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3 the European Commission proposed the introduction of stronger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missions standards for heavy-duty vehicles from 2030 onwards, reaching 90% of emissions reduction by 204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ompared to 2019 levels.</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63722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529824"/>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3 the European Commission proposed the introduction of stronger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missions standards for heavy-duty vehicles from 2030 onwards, reaching 90% of emissions reduction by 204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ompared to 2019 levels.</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22500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09855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58680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527031"/>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3 the European Commission proposed the introduction of stronger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missions standards for heavy-duty vehicles from 2030 onwards, reaching 90% of emissions reduction by 204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ompared to 2019 levels.</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12696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067182"/>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emission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9CF89392-2CD4-2D8B-D758-716F9729F517}"/>
              </a:ext>
            </a:extLst>
          </p:cNvPr>
          <p:cNvPicPr>
            <a:picLocks noChangeAspect="1"/>
          </p:cNvPicPr>
          <p:nvPr/>
        </p:nvPicPr>
        <p:blipFill>
          <a:blip r:embed="rId21"/>
          <a:stretch>
            <a:fillRect/>
          </a:stretch>
        </p:blipFill>
        <p:spPr>
          <a:xfrm>
            <a:off x="557115" y="194781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5AC862CE-8B7D-B720-C1E5-2B97A003D56C}"/>
              </a:ext>
            </a:extLst>
          </p:cNvPr>
          <p:cNvPicPr>
            <a:picLocks noChangeAspect="1"/>
          </p:cNvPicPr>
          <p:nvPr/>
        </p:nvPicPr>
        <p:blipFill>
          <a:blip r:embed="rId22"/>
          <a:stretch>
            <a:fillRect/>
          </a:stretch>
        </p:blipFill>
        <p:spPr>
          <a:xfrm>
            <a:off x="557115" y="2544680"/>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92DE398-6D92-3539-D8A2-0E57764C4095}"/>
              </a:ext>
            </a:extLst>
          </p:cNvPr>
          <p:cNvPicPr>
            <a:picLocks noChangeAspect="1"/>
          </p:cNvPicPr>
          <p:nvPr/>
        </p:nvPicPr>
        <p:blipFill>
          <a:blip r:embed="rId23"/>
          <a:stretch>
            <a:fillRect/>
          </a:stretch>
        </p:blipFill>
        <p:spPr>
          <a:xfrm>
            <a:off x="557115" y="3068516"/>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CCEDB7D6-CCC7-6BB7-E163-73F9847B031B}"/>
              </a:ext>
            </a:extLst>
          </p:cNvPr>
          <p:cNvPicPr>
            <a:picLocks noChangeAspect="1"/>
          </p:cNvPicPr>
          <p:nvPr/>
        </p:nvPicPr>
        <p:blipFill>
          <a:blip r:embed="rId24"/>
          <a:stretch>
            <a:fillRect/>
          </a:stretch>
        </p:blipFill>
        <p:spPr>
          <a:xfrm>
            <a:off x="557115" y="3665377"/>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33E1E2F4-9B39-5D70-7EB3-43FC3AD4A8C4}"/>
              </a:ext>
            </a:extLst>
          </p:cNvPr>
          <p:cNvPicPr>
            <a:picLocks noChangeAspect="1"/>
          </p:cNvPicPr>
          <p:nvPr/>
        </p:nvPicPr>
        <p:blipFill>
          <a:blip r:embed="rId25"/>
          <a:stretch>
            <a:fillRect/>
          </a:stretch>
        </p:blipFill>
        <p:spPr>
          <a:xfrm>
            <a:off x="557115" y="4610904"/>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A99F9BA7-7DC9-6DBE-462C-879F4395E7C2}"/>
              </a:ext>
            </a:extLst>
          </p:cNvPr>
          <p:cNvPicPr>
            <a:picLocks noChangeAspect="1"/>
          </p:cNvPicPr>
          <p:nvPr/>
        </p:nvPicPr>
        <p:blipFill>
          <a:blip r:embed="rId26"/>
          <a:stretch>
            <a:fillRect/>
          </a:stretch>
        </p:blipFill>
        <p:spPr>
          <a:xfrm>
            <a:off x="557115" y="5144269"/>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0D381A55-8BC4-EC2B-A495-6DC16FC54FA8}"/>
              </a:ext>
            </a:extLst>
          </p:cNvPr>
          <p:cNvPicPr>
            <a:picLocks noChangeAspect="1"/>
          </p:cNvPicPr>
          <p:nvPr/>
        </p:nvPicPr>
        <p:blipFill>
          <a:blip r:embed="rId27"/>
          <a:stretch>
            <a:fillRect/>
          </a:stretch>
        </p:blipFill>
        <p:spPr>
          <a:xfrm>
            <a:off x="557115" y="4249538"/>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752035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839015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Phase out of heavy-duty CO</a:t>
            </a:r>
            <a:r>
              <a:rPr lang="en-US" baseline="-25000"/>
              <a:t>2</a:t>
            </a:r>
            <a:r>
              <a:rPr lang="en-US"/>
              <a:t> vehicl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58712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18721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57447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295024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60092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24622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Mexico: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5"/>
              </a:rPr>
              <a:t>icc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  Mexico</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CMS Mexico</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razi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IEA Brazil</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K: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UK Government</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UK Government</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0"/>
              </a:rPr>
              <a:t>Reuters</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S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Reuters US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California Government</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3"/>
              </a:rPr>
              <a:t>Reuter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4"/>
              </a:rPr>
              <a:t>NHTS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hina: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5"/>
              </a:rPr>
              <a:t>Electriv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5"/>
              </a:rPr>
              <a:t> Chin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Verdict Chin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34199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282221"/>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69669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63692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 has not set a target and does not have policies in place</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emission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04602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298624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1, the UK announced that it will phase out sales of new petrol, diesel, and hybrid heavy-duty vehicles by 204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me low emission trucks are eligible for a government subsidy that covers 20% of their purchase price.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the UK’s Go-Ahead Group committed £654 million to transition 2,500 buses to zero-emission by 2030.</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67025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610479"/>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COP27,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US signed a non-binding memorandum of understanding for 30% of medium- and heavy-duty vehicles to be zero-emission by 2030 and 100% by 204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lifornia approved a ban on the sale of diesel trucks and buses by 2036.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the U.S. finalized new tailpipe emissions and fuel economy standards, targeting lower greenhouse gas emissions and improved vehicle efficiency.</a:t>
            </a: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32109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22321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68290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623122"/>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4191D780-DD21-6326-139A-EE29001A414E}"/>
              </a:ext>
            </a:extLst>
          </p:cNvPr>
          <p:cNvPicPr>
            <a:picLocks noChangeAspect="1"/>
          </p:cNvPicPr>
          <p:nvPr/>
        </p:nvPicPr>
        <p:blipFill>
          <a:blip r:embed="rId27"/>
          <a:stretch>
            <a:fillRect/>
          </a:stretch>
        </p:blipFill>
        <p:spPr>
          <a:xfrm>
            <a:off x="557115" y="194781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84ED158F-5D5A-1E04-0605-04AA102E9D84}"/>
              </a:ext>
            </a:extLst>
          </p:cNvPr>
          <p:cNvPicPr>
            <a:picLocks noChangeAspect="1"/>
          </p:cNvPicPr>
          <p:nvPr/>
        </p:nvPicPr>
        <p:blipFill>
          <a:blip r:embed="rId28"/>
          <a:stretch>
            <a:fillRect/>
          </a:stretch>
        </p:blipFill>
        <p:spPr>
          <a:xfrm>
            <a:off x="557115" y="2362198"/>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2AE81EEC-A368-65BA-2659-B72276E6B438}"/>
              </a:ext>
            </a:extLst>
          </p:cNvPr>
          <p:cNvPicPr>
            <a:picLocks noChangeAspect="1"/>
          </p:cNvPicPr>
          <p:nvPr/>
        </p:nvPicPr>
        <p:blipFill>
          <a:blip r:embed="rId29"/>
          <a:stretch>
            <a:fillRect/>
          </a:stretch>
        </p:blipFill>
        <p:spPr>
          <a:xfrm>
            <a:off x="557115" y="2711064"/>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4542D5A8-C2F4-5219-2AE7-1F45241255FA}"/>
              </a:ext>
            </a:extLst>
          </p:cNvPr>
          <p:cNvPicPr>
            <a:picLocks noChangeAspect="1"/>
          </p:cNvPicPr>
          <p:nvPr/>
        </p:nvPicPr>
        <p:blipFill>
          <a:blip r:embed="rId30"/>
          <a:stretch>
            <a:fillRect/>
          </a:stretch>
        </p:blipFill>
        <p:spPr>
          <a:xfrm>
            <a:off x="557115" y="3063108"/>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7C18BE11-D7B8-70E3-84BB-75CADAC341F5}"/>
              </a:ext>
            </a:extLst>
          </p:cNvPr>
          <p:cNvPicPr>
            <a:picLocks noChangeAspect="1"/>
          </p:cNvPicPr>
          <p:nvPr/>
        </p:nvPicPr>
        <p:blipFill>
          <a:blip r:embed="rId31"/>
          <a:stretch>
            <a:fillRect/>
          </a:stretch>
        </p:blipFill>
        <p:spPr>
          <a:xfrm>
            <a:off x="557115" y="3693234"/>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B4169E5B-0113-B098-F3BF-DC31E0D1D297}"/>
              </a:ext>
            </a:extLst>
          </p:cNvPr>
          <p:cNvPicPr>
            <a:picLocks noChangeAspect="1"/>
          </p:cNvPicPr>
          <p:nvPr/>
        </p:nvPicPr>
        <p:blipFill>
          <a:blip r:embed="rId32"/>
          <a:stretch>
            <a:fillRect/>
          </a:stretch>
        </p:blipFill>
        <p:spPr>
          <a:xfrm>
            <a:off x="557115" y="4336290"/>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129B2E32-C1BF-860D-5D89-ABF78DF54F94}"/>
              </a:ext>
            </a:extLst>
          </p:cNvPr>
          <p:cNvPicPr>
            <a:picLocks noChangeAspect="1"/>
          </p:cNvPicPr>
          <p:nvPr/>
        </p:nvPicPr>
        <p:blipFill>
          <a:blip r:embed="rId33"/>
          <a:stretch>
            <a:fillRect/>
          </a:stretch>
        </p:blipFill>
        <p:spPr>
          <a:xfrm>
            <a:off x="557115" y="4700818"/>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183384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065515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Phase out of heavy-duty CO</a:t>
            </a:r>
            <a:r>
              <a:rPr lang="en-US" baseline="-25000"/>
              <a:t>2</a:t>
            </a:r>
            <a:r>
              <a:rPr lang="en-US"/>
              <a:t> vehicl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47983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05776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60207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15653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64232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26463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Vietnam: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5"/>
              </a:rPr>
              <a:t>icc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 Vietnam</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Rus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Reuters Russia</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onesia: </a:t>
            </a:r>
            <a:r>
              <a:rPr kumimoji="0" lang="en-GB"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Secretariat of the Republic of Indonesia</a:t>
            </a:r>
            <a:r>
              <a:rPr lang="en-GB" dirty="0">
                <a:solidFill>
                  <a:srgbClr val="000000"/>
                </a:solidFill>
                <a:latin typeface="Calibri"/>
              </a:rPr>
              <a:t>; </a:t>
            </a:r>
            <a:r>
              <a:rPr lang="en-GB">
                <a:solidFill>
                  <a:srgbClr val="000000"/>
                </a:solidFill>
                <a:latin typeface="Calibri"/>
              </a:rPr>
              <a:t>South Africa: </a:t>
            </a:r>
            <a:r>
              <a:rPr lang="en-GB">
                <a:solidFill>
                  <a:srgbClr val="000000"/>
                </a:solidFill>
                <a:latin typeface="Calibri"/>
                <a:hlinkClick r:id="rId18"/>
              </a:rPr>
              <a:t>DailyMaverick</a:t>
            </a:r>
            <a:r>
              <a:rPr lang="en-GB">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udi Arabia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9"/>
              </a:rPr>
              <a:t>TheNationalNew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0"/>
              </a:rPr>
              <a:t>Wilsoncenter</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3298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South Africa advanced transport decarbonization plans by integrating renewable energy and electric vehicles into the Gautrain system.</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36041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30063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has not set a target and does not have policies in place</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7381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67832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ction Program on Green Energy Transition and Reducing Emissions in the Transport Sector has set the target for all road vehicles to be electric or powered by green energy by 205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ut it is unclear whether this refers to cars and vans alone or also includes heavy-duty vehicle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25231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192534"/>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69784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63807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19418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09376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57561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515832"/>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s of heavy-duty vehicles with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A719D712-6E4B-4DD5-07DA-47C5AC43FE49}"/>
              </a:ext>
            </a:extLst>
          </p:cNvPr>
          <p:cNvPicPr>
            <a:picLocks noChangeAspect="1"/>
          </p:cNvPicPr>
          <p:nvPr/>
        </p:nvPicPr>
        <p:blipFill>
          <a:blip r:embed="rId21"/>
          <a:stretch>
            <a:fillRect/>
          </a:stretch>
        </p:blipFill>
        <p:spPr>
          <a:xfrm>
            <a:off x="557115" y="2380797"/>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6F3D301C-8343-1C69-C732-B06DFE954F1C}"/>
              </a:ext>
            </a:extLst>
          </p:cNvPr>
          <p:cNvPicPr>
            <a:picLocks noChangeAspect="1"/>
          </p:cNvPicPr>
          <p:nvPr/>
        </p:nvPicPr>
        <p:blipFill>
          <a:blip r:embed="rId22"/>
          <a:stretch>
            <a:fillRect/>
          </a:stretch>
        </p:blipFill>
        <p:spPr>
          <a:xfrm>
            <a:off x="557115" y="3265361"/>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9CB637F-DEDA-B988-53FD-33DAAE573BF6}"/>
              </a:ext>
            </a:extLst>
          </p:cNvPr>
          <p:cNvPicPr>
            <a:picLocks noChangeAspect="1"/>
          </p:cNvPicPr>
          <p:nvPr/>
        </p:nvPicPr>
        <p:blipFill>
          <a:blip r:embed="rId23"/>
          <a:stretch>
            <a:fillRect/>
          </a:stretch>
        </p:blipFill>
        <p:spPr>
          <a:xfrm>
            <a:off x="563111" y="4211327"/>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3BAA84F1-ED67-E3EF-72F2-AF981AA4BEFF}"/>
              </a:ext>
            </a:extLst>
          </p:cNvPr>
          <p:cNvPicPr>
            <a:picLocks noChangeAspect="1"/>
          </p:cNvPicPr>
          <p:nvPr/>
        </p:nvPicPr>
        <p:blipFill>
          <a:blip r:embed="rId24"/>
          <a:stretch>
            <a:fillRect/>
          </a:stretch>
        </p:blipFill>
        <p:spPr>
          <a:xfrm>
            <a:off x="565504" y="2755161"/>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A93C7C6D-CC61-82C7-B529-5D6D9F888A48}"/>
              </a:ext>
            </a:extLst>
          </p:cNvPr>
          <p:cNvPicPr>
            <a:picLocks noChangeAspect="1"/>
          </p:cNvPicPr>
          <p:nvPr/>
        </p:nvPicPr>
        <p:blipFill>
          <a:blip r:embed="rId25"/>
          <a:stretch>
            <a:fillRect/>
          </a:stretch>
        </p:blipFill>
        <p:spPr>
          <a:xfrm>
            <a:off x="568291" y="3712945"/>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07845421-C0F4-5420-BDDE-42C093A49022}"/>
              </a:ext>
            </a:extLst>
          </p:cNvPr>
          <p:cNvPicPr>
            <a:picLocks noChangeAspect="1"/>
          </p:cNvPicPr>
          <p:nvPr/>
        </p:nvPicPr>
        <p:blipFill>
          <a:blip r:embed="rId26"/>
          <a:stretch>
            <a:fillRect/>
          </a:stretch>
        </p:blipFill>
        <p:spPr>
          <a:xfrm>
            <a:off x="568584" y="4587178"/>
            <a:ext cx="233367" cy="155578"/>
          </a:xfrm>
          <a:prstGeom prst="rect">
            <a:avLst/>
          </a:prstGeom>
          <a:ln>
            <a:noFill/>
          </a:ln>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414CE6CC-4B44-B1A4-5224-CFA2739EA824}"/>
              </a:ext>
            </a:extLst>
          </p:cNvPr>
          <p:cNvPicPr>
            <a:picLocks noChangeAspect="1"/>
          </p:cNvPicPr>
          <p:nvPr/>
        </p:nvPicPr>
        <p:blipFill>
          <a:blip r:embed="rId27"/>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875616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et Zero target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89725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42498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94308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31277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83315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36318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ustral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DCCEEW</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Australian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Government of Canad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Government of Canad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ranc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Energy Wire</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ermany: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S&amp;P Globa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German Governmen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Climate Energy Finance</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taly: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Government of Italy</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Korea: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5"/>
              </a:rPr>
              <a:t>Enerdat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pic>
        <p:nvPicPr>
          <p:cNvPr id="18" name="Picture 17">
            <a:extLst>
              <a:ext uri="{FF2B5EF4-FFF2-40B4-BE49-F238E27FC236}">
                <a16:creationId xmlns:a16="http://schemas.microsoft.com/office/drawing/2014/main" id="{32D5FC6E-C480-7D67-F62E-D5A1A9ED8D08}"/>
              </a:ext>
            </a:extLst>
          </p:cNvPr>
          <p:cNvPicPr>
            <a:picLocks noChangeAspect="1"/>
          </p:cNvPicPr>
          <p:nvPr/>
        </p:nvPicPr>
        <p:blipFill>
          <a:blip r:embed="rId26"/>
          <a:stretch>
            <a:fillRect/>
          </a:stretch>
        </p:blipFill>
        <p:spPr>
          <a:xfrm>
            <a:off x="565988" y="1946549"/>
            <a:ext cx="233367" cy="155578"/>
          </a:xfrm>
          <a:prstGeom prst="rect">
            <a:avLst/>
          </a:prstGeom>
          <a:ln>
            <a:no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September 2022, Australia's governmen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legislated its 2050 net zero targe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law also includes a pledge to cut emissions by 43% compared to 2005 levels by 2030. </a:t>
            </a:r>
            <a:r>
              <a:rPr lang="en-GB" sz="1200" dirty="0">
                <a:solidFill>
                  <a:srgbClr val="000000"/>
                </a:solidFill>
                <a:latin typeface="Calibri"/>
              </a:rPr>
              <a:t>In 2024 Australia passed the </a:t>
            </a:r>
            <a:r>
              <a:rPr lang="en-GB" sz="1200" b="1" dirty="0">
                <a:solidFill>
                  <a:srgbClr val="000000"/>
                </a:solidFill>
                <a:latin typeface="Calibri"/>
              </a:rPr>
              <a:t>Net Zero Economy Authority Bill</a:t>
            </a:r>
            <a:r>
              <a:rPr lang="en-GB" sz="1200" dirty="0">
                <a:solidFill>
                  <a:srgbClr val="000000"/>
                </a:solidFill>
                <a:latin typeface="Calibri"/>
              </a:rPr>
              <a:t>, imposing emission limits for 215 large industrial facilities.</a:t>
            </a:r>
            <a:endParaRPr kumimoji="0" lang="en-US" sz="1200" b="0" i="0" u="none" strike="noStrike" kern="1200" cap="none" spc="0" normalizeH="0" baseline="0" noProof="0" dirty="0">
              <a:ln>
                <a:noFill/>
              </a:ln>
              <a:solidFill>
                <a:srgbClr val="FF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45896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pic>
        <p:nvPicPr>
          <p:cNvPr id="21" name="Picture 20">
            <a:extLst>
              <a:ext uri="{FF2B5EF4-FFF2-40B4-BE49-F238E27FC236}">
                <a16:creationId xmlns:a16="http://schemas.microsoft.com/office/drawing/2014/main" id="{6F0200FA-C9AD-4128-BA5D-C95F26946D93}"/>
              </a:ext>
            </a:extLst>
          </p:cNvPr>
          <p:cNvPicPr>
            <a:picLocks noChangeAspect="1"/>
          </p:cNvPicPr>
          <p:nvPr/>
        </p:nvPicPr>
        <p:blipFill>
          <a:blip r:embed="rId27"/>
          <a:stretch>
            <a:fillRect/>
          </a:stretch>
        </p:blipFill>
        <p:spPr>
          <a:xfrm>
            <a:off x="565988" y="2473509"/>
            <a:ext cx="233367" cy="155578"/>
          </a:xfrm>
          <a:prstGeom prst="rect">
            <a:avLst/>
          </a:prstGeom>
          <a:ln>
            <a:noFill/>
          </a:ln>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39918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Government of Canada</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legislated its 2050 net zero greenhouse gas emissions targe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the Canadian Net-Zero Emissions Accountability Act, in June 2021. In 2024 Canada committed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utting emissions by 45-50% below 2005 levels by 203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dvancing its net-zero goals for 2050.</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92893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pic>
        <p:nvPicPr>
          <p:cNvPr id="24" name="Picture 23">
            <a:extLst>
              <a:ext uri="{FF2B5EF4-FFF2-40B4-BE49-F238E27FC236}">
                <a16:creationId xmlns:a16="http://schemas.microsoft.com/office/drawing/2014/main" id="{97E332C5-AADC-31ED-F3FB-3796BAF272B1}"/>
              </a:ext>
            </a:extLst>
          </p:cNvPr>
          <p:cNvPicPr>
            <a:picLocks noChangeAspect="1"/>
          </p:cNvPicPr>
          <p:nvPr/>
        </p:nvPicPr>
        <p:blipFill>
          <a:blip r:embed="rId28"/>
          <a:stretch>
            <a:fillRect/>
          </a:stretch>
        </p:blipFill>
        <p:spPr>
          <a:xfrm>
            <a:off x="565988" y="2928930"/>
            <a:ext cx="233367" cy="155578"/>
          </a:xfrm>
          <a:prstGeom prst="rect">
            <a:avLst/>
          </a:prstGeom>
          <a:ln>
            <a:noFill/>
          </a:ln>
          <a:effectLst>
            <a:outerShdw blurRad="50800" dist="38100" dir="2700000" algn="tl" rotWithShape="0">
              <a:prstClr val="black">
                <a:alpha val="40000"/>
              </a:prstClr>
            </a:outerShdw>
          </a:effectLst>
        </p:spPr>
      </p:pic>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869153"/>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19 Franc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legislated its 2050 net zero emissions target.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France's near-term climate commitment is a target to </a:t>
            </a:r>
            <a:r>
              <a:rPr kumimoji="0" lang="en-GB" sz="1200" b="1" i="0" u="none" strike="noStrike" kern="1200" cap="none" spc="0" normalizeH="0" baseline="0" noProof="0" dirty="0">
                <a:ln>
                  <a:noFill/>
                </a:ln>
                <a:effectLst/>
                <a:uLnTx/>
                <a:uFillTx/>
                <a:latin typeface="Calibri"/>
                <a:ea typeface="+mn-ea"/>
                <a:cs typeface="Arial" panose="020B0604020202020204" pitchFamily="34" charset="0"/>
              </a:rPr>
              <a:t>reduce greenhouse gas emissions by at least 50% by 2030</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a:t>
            </a:r>
            <a:endParaRPr kumimoji="0" lang="en-US" sz="1200" b="0" i="0" u="none" strike="noStrike" kern="1200" cap="none" spc="0" normalizeH="0" baseline="0" noProof="0" dirty="0">
              <a:ln>
                <a:noFill/>
              </a:ln>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40855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pic>
        <p:nvPicPr>
          <p:cNvPr id="27" name="Picture 26">
            <a:extLst>
              <a:ext uri="{FF2B5EF4-FFF2-40B4-BE49-F238E27FC236}">
                <a16:creationId xmlns:a16="http://schemas.microsoft.com/office/drawing/2014/main" id="{7D780F7A-E41F-C1A1-A548-75ECBE33A29F}"/>
              </a:ext>
            </a:extLst>
          </p:cNvPr>
          <p:cNvPicPr>
            <a:picLocks noChangeAspect="1"/>
          </p:cNvPicPr>
          <p:nvPr/>
        </p:nvPicPr>
        <p:blipFill>
          <a:blip r:embed="rId29"/>
          <a:stretch>
            <a:fillRect/>
          </a:stretch>
        </p:blipFill>
        <p:spPr>
          <a:xfrm>
            <a:off x="565988" y="3428215"/>
            <a:ext cx="233367" cy="155578"/>
          </a:xfrm>
          <a:prstGeom prst="rect">
            <a:avLst/>
          </a:prstGeom>
          <a:ln>
            <a:noFill/>
          </a:ln>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348774"/>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1 Germany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legislated its net zero target to reach GHG neutrality by 204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nder the Climate Change Act 2021, Germany’s near-term commitment focuses on reducing greenhouse gas emissions by at least 65% by 2030 relative to 1990 levels. In 2024 Germany changed it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limate Protection Ac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o shift focus away from sector-specific to cross-economy emissions targets which could risk lagged decarbonisation in some sectors. </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038859"/>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pic>
        <p:nvPicPr>
          <p:cNvPr id="30" name="Picture 29">
            <a:extLst>
              <a:ext uri="{FF2B5EF4-FFF2-40B4-BE49-F238E27FC236}">
                <a16:creationId xmlns:a16="http://schemas.microsoft.com/office/drawing/2014/main" id="{6575DA6A-5CE2-8FA1-0810-73C758EEFB05}"/>
              </a:ext>
            </a:extLst>
          </p:cNvPr>
          <p:cNvPicPr>
            <a:picLocks noChangeAspect="1"/>
          </p:cNvPicPr>
          <p:nvPr/>
        </p:nvPicPr>
        <p:blipFill>
          <a:blip r:embed="rId30"/>
          <a:stretch>
            <a:fillRect/>
          </a:stretch>
        </p:blipFill>
        <p:spPr>
          <a:xfrm>
            <a:off x="565988" y="4068355"/>
            <a:ext cx="233367" cy="155578"/>
          </a:xfrm>
          <a:prstGeom prst="rect">
            <a:avLst/>
          </a:prstGeom>
          <a:ln>
            <a:noFill/>
          </a:ln>
          <a:effectLst>
            <a:outerShdw blurRad="50800" dist="38100" dir="2700000" algn="tl" rotWithShape="0">
              <a:prstClr val="black">
                <a:alpha val="40000"/>
              </a:prstClr>
            </a:outerShdw>
          </a:effectLst>
        </p:spPr>
      </p:pic>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979082"/>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1, the Indian governmen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ledged to achieve net zero emissions by 2070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an announcement by the Prime Minister at COP26</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India updated its NDC to include a commitment to reduce the emissions intensity of its GDP by 45% by 2030.</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52075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pic>
        <p:nvPicPr>
          <p:cNvPr id="33" name="Picture 32">
            <a:extLst>
              <a:ext uri="{FF2B5EF4-FFF2-40B4-BE49-F238E27FC236}">
                <a16:creationId xmlns:a16="http://schemas.microsoft.com/office/drawing/2014/main" id="{07ACE7E4-3D70-7490-2512-7A5195A71D59}"/>
              </a:ext>
            </a:extLst>
          </p:cNvPr>
          <p:cNvPicPr>
            <a:picLocks noChangeAspect="1"/>
          </p:cNvPicPr>
          <p:nvPr/>
        </p:nvPicPr>
        <p:blipFill>
          <a:blip r:embed="rId31"/>
          <a:stretch>
            <a:fillRect/>
          </a:stretch>
        </p:blipFill>
        <p:spPr>
          <a:xfrm>
            <a:off x="565988" y="4520757"/>
            <a:ext cx="233367" cy="155578"/>
          </a:xfrm>
          <a:prstGeom prst="rect">
            <a:avLst/>
          </a:prstGeom>
          <a:ln>
            <a:noFill/>
          </a:ln>
          <a:effectLst>
            <a:outerShdw blurRad="50800" dist="38100" dir="2700000" algn="tl" rotWithShape="0">
              <a:prstClr val="black">
                <a:alpha val="40000"/>
              </a:prstClr>
            </a:outerShdw>
          </a:effectLst>
        </p:spPr>
      </p:pic>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46098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19 Italy announced it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arget of net zero emissions by 2050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later legislated i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March 2021 Italy announced that it plans to cut its carbon emissions by around 60% by 2030.</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99303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pic>
        <p:nvPicPr>
          <p:cNvPr id="36" name="Picture 35">
            <a:extLst>
              <a:ext uri="{FF2B5EF4-FFF2-40B4-BE49-F238E27FC236}">
                <a16:creationId xmlns:a16="http://schemas.microsoft.com/office/drawing/2014/main" id="{31AC89BC-8B85-21C7-116C-D4D11D1EF2A2}"/>
              </a:ext>
            </a:extLst>
          </p:cNvPr>
          <p:cNvPicPr>
            <a:picLocks noChangeAspect="1"/>
          </p:cNvPicPr>
          <p:nvPr/>
        </p:nvPicPr>
        <p:blipFill>
          <a:blip r:embed="rId32"/>
          <a:stretch>
            <a:fillRect/>
          </a:stretch>
        </p:blipFill>
        <p:spPr>
          <a:xfrm>
            <a:off x="565988" y="5007580"/>
            <a:ext cx="233367" cy="155578"/>
          </a:xfrm>
          <a:prstGeom prst="rect">
            <a:avLst/>
          </a:prstGeom>
          <a:ln>
            <a:noFill/>
          </a:ln>
          <a:effectLst>
            <a:outerShdw blurRad="50800" dist="38100" dir="2700000" algn="tl" rotWithShape="0">
              <a:prstClr val="black">
                <a:alpha val="40000"/>
              </a:prstClr>
            </a:outerShdw>
          </a:effectLst>
        </p:spPr>
      </p:pic>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93325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th Kore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legislated a 2050 carbon neutrality target in 2021.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part of its latest NDC announced in 2021, South Korea set a target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duce GHG emissions by 40% by 203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lative to 2018 levels</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spTree>
    <p:extLst>
      <p:ext uri="{BB962C8B-B14F-4D97-AF65-F5344CB8AC3E}">
        <p14:creationId xmlns:p14="http://schemas.microsoft.com/office/powerpoint/2010/main" val="30850893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87660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Phase out of fossil fuel heating: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17596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5"/>
            </p:custDataLst>
          </p:nvPr>
        </p:nvCxnSpPr>
        <p:spPr bwMode="gray">
          <a:xfrm>
            <a:off x="571500" y="430836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328835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7"/>
            </p:custDataLst>
          </p:nvPr>
        </p:nvCxnSpPr>
        <p:spPr bwMode="gray">
          <a:xfrm>
            <a:off x="571500" y="242719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8"/>
            </p:custDataLst>
          </p:nvPr>
        </p:nvSpPr>
        <p:spPr>
          <a:xfrm>
            <a:off x="565987" y="6419163"/>
            <a:ext cx="1148313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ustralia</a:t>
            </a:r>
            <a:r>
              <a:rPr kumimoji="0" lang="en-US" sz="800" b="0" i="0" u="none" strike="noStrike" kern="1200" cap="none" spc="0" normalizeH="0" baseline="0" noProof="0" dirty="0">
                <a:ln>
                  <a:noFill/>
                </a:ln>
                <a:solidFill>
                  <a:srgbClr val="000000"/>
                </a:solidFill>
                <a:effectLst/>
                <a:uLnTx/>
                <a:uFillTx/>
                <a:latin typeface="Calibri"/>
                <a:hlinkClick r:id="rId13"/>
              </a:rPr>
              <a:t>: </a:t>
            </a:r>
            <a:r>
              <a:rPr lang="en-US" dirty="0">
                <a:solidFill>
                  <a:srgbClr val="000000"/>
                </a:solidFill>
                <a:latin typeface="Calibri"/>
                <a:hlinkClick r:id="rId13"/>
              </a:rPr>
              <a:t>Australian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 </a:t>
            </a:r>
            <a:r>
              <a:rPr lang="en-US" dirty="0">
                <a:solidFill>
                  <a:srgbClr val="000000"/>
                </a:solidFill>
                <a:latin typeface="Calibri"/>
                <a:hlinkClick r:id="rId14"/>
              </a:rPr>
              <a:t>Government of Canada</a:t>
            </a:r>
            <a:r>
              <a:rPr lang="en-US">
                <a:solidFill>
                  <a:srgbClr val="000000"/>
                </a:solidFill>
                <a:latin typeface="Calibri"/>
              </a:rPr>
              <a:t>, </a:t>
            </a:r>
            <a:r>
              <a:rPr lang="en-US">
                <a:solidFill>
                  <a:srgbClr val="000000"/>
                </a:solidFill>
                <a:latin typeface="Calibri"/>
                <a:hlinkClick r:id="rId15"/>
              </a:rPr>
              <a:t>Government of Canad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U: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European Commission</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ranc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French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French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9"/>
              </a:rPr>
              <a:t>Eurativ</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ermany: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0"/>
              </a:rPr>
              <a:t>Aedifion</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Argu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Clean Energy Wir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Reuter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taly: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5"/>
              </a:rPr>
              <a:t>Italian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IE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ustralia is committed to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hieve net zero emissions in the built environment by 2050,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ith a specific emissions reduction plan still being under development. </a:t>
            </a:r>
            <a:r>
              <a:rPr lang="en-GB" sz="1200" dirty="0">
                <a:latin typeface="Calibri"/>
              </a:rPr>
              <a:t>In 2023, the</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 Government of Victoria announced a ban on gas connections to all new homes and government buildings from 1st Jan 2024. </a:t>
            </a:r>
            <a:endParaRPr kumimoji="0" lang="en-US" sz="1200" b="0" i="0" u="none" strike="noStrike" kern="1200" cap="none" spc="0" normalizeH="0" baseline="0" noProof="0" dirty="0">
              <a:ln>
                <a:noFill/>
              </a:ln>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52297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463196"/>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nada’s Green Buildings Strategy sets a goal of net zero emissions for buildings by 2050, along with a minimum 40% emissions reduction from 2005 levels by 2030.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uildings account for 18% of Canada’s emissions, when including electricity-related emissions, and is the third largest emitting sector after the oil and gas sector and the transportation sector. In 2024, Canada extended the Greener Homes Initiative, expanding loans and grants to support energy-efficient home upgrades and heat pump adoption.</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38413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324358"/>
            <a:ext cx="9847754"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0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ational Low-carbon strategy set the ambition for buildings to be heated using only carbon-free technologies by 205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2020 National Energy and Climate plan sets a target to reduce final energy consumption in the building sector by 14.6% by 2028 relative to 2016 levels.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In 2023, the French government announced €7 billion of public funding to support the green transition, including energy renovations in buildings, starting in 2024.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EU’s 2021 Energy Performance of Buildings Directive aims to reduce building sector emissions by at least 60% by 2030 (relative to 2015) and achieve climate neutrality by 2050. </a:t>
            </a:r>
            <a:endParaRPr kumimoji="0" lang="en-US" sz="1200" b="0" i="0" u="none" strike="noStrike" kern="1200" cap="none" spc="0" normalizeH="0" baseline="0" noProof="0" dirty="0">
              <a:ln>
                <a:noFill/>
              </a:ln>
              <a:solidFill>
                <a:srgbClr val="FF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46509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344360"/>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German Buildings Energy Act (GEG) amendment</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ffective from January 2024,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andates that newly installed heating systems must use at least 65% renewable energy sources.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deadline for the replacement of fossil fuel/oil/gas heating systems is set to 2045</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3 the German government approved a bill that bans new oil and gas heating systems in new buildings in areas of residential development from 2024</a:t>
            </a:r>
            <a:r>
              <a:rPr kumimoji="0" lang="en-GB" sz="1200" i="0" u="none" strike="noStrike" kern="1200" cap="none" spc="0" normalizeH="0" baseline="0" noProof="0" dirty="0">
                <a:ln>
                  <a:noFill/>
                </a:ln>
                <a:effectLst/>
                <a:uLnTx/>
                <a:uFillTx/>
                <a:latin typeface="Calibri"/>
                <a:ea typeface="+mn-ea"/>
                <a:cs typeface="Arial" panose="020B0604020202020204" pitchFamily="34" charset="0"/>
              </a:rPr>
              <a:t>. Enforcement of the rules for existing buildings will come in after municipal authorities submit their decarbonisation heating plans, which are not required until 2028. </a:t>
            </a:r>
            <a:endParaRPr kumimoji="0" lang="en-GB" sz="1200" b="0" i="0" u="none" strike="noStrike" kern="1200" cap="none" spc="0" normalizeH="0" baseline="0" noProof="0" dirty="0">
              <a:ln>
                <a:noFill/>
              </a:ln>
              <a:solidFill>
                <a:srgbClr val="FF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27174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211962"/>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tegrated National Energy and Climate Plan 2019 targets a 33.9% renewables share in the heating sector (includes cooling) by 203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ubsidies for zero-carbon heat installations including heat pumps, biomass boilers and solar thermal under </a:t>
            </a:r>
            <a:r>
              <a:rPr kumimoji="0" lang="en-GB" sz="12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onto</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Termico</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2.0. The EU’s 2021 Energy Performance of Buildings Directive aims to reduce building sector emissions by at least 60% by 2030 (relative to 2015) and achieve climate neutrality by 2050.</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9"/>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4" name="Picture 23">
            <a:extLst>
              <a:ext uri="{FF2B5EF4-FFF2-40B4-BE49-F238E27FC236}">
                <a16:creationId xmlns:a16="http://schemas.microsoft.com/office/drawing/2014/main" id="{999BCD90-797F-4AD8-3166-560C123B685E}"/>
              </a:ext>
            </a:extLst>
          </p:cNvPr>
          <p:cNvPicPr>
            <a:picLocks noChangeAspect="1"/>
          </p:cNvPicPr>
          <p:nvPr/>
        </p:nvPicPr>
        <p:blipFill>
          <a:blip r:embed="rId27"/>
          <a:stretch>
            <a:fillRect/>
          </a:stretch>
        </p:blipFill>
        <p:spPr>
          <a:xfrm>
            <a:off x="557115" y="1949127"/>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868B8269-CE88-FC37-8962-53A1A895EC76}"/>
              </a:ext>
            </a:extLst>
          </p:cNvPr>
          <p:cNvPicPr>
            <a:picLocks noChangeAspect="1"/>
          </p:cNvPicPr>
          <p:nvPr/>
        </p:nvPicPr>
        <p:blipFill>
          <a:blip r:embed="rId28"/>
          <a:stretch>
            <a:fillRect/>
          </a:stretch>
        </p:blipFill>
        <p:spPr>
          <a:xfrm>
            <a:off x="557115" y="2537703"/>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CBA24954-6D3D-B2BA-895D-746CEC9B0DF6}"/>
              </a:ext>
            </a:extLst>
          </p:cNvPr>
          <p:cNvPicPr>
            <a:picLocks noChangeAspect="1"/>
          </p:cNvPicPr>
          <p:nvPr/>
        </p:nvPicPr>
        <p:blipFill>
          <a:blip r:embed="rId29"/>
          <a:stretch>
            <a:fillRect/>
          </a:stretch>
        </p:blipFill>
        <p:spPr>
          <a:xfrm>
            <a:off x="557115" y="3398555"/>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172F917B-E084-141F-26A1-3641E839967B}"/>
              </a:ext>
            </a:extLst>
          </p:cNvPr>
          <p:cNvPicPr>
            <a:picLocks noChangeAspect="1"/>
          </p:cNvPicPr>
          <p:nvPr/>
        </p:nvPicPr>
        <p:blipFill>
          <a:blip r:embed="rId30"/>
          <a:stretch>
            <a:fillRect/>
          </a:stretch>
        </p:blipFill>
        <p:spPr>
          <a:xfrm>
            <a:off x="557115" y="4483631"/>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E0484327-2F12-292A-554B-3F13F2F15AA7}"/>
              </a:ext>
            </a:extLst>
          </p:cNvPr>
          <p:cNvPicPr>
            <a:picLocks noChangeAspect="1"/>
          </p:cNvPicPr>
          <p:nvPr/>
        </p:nvPicPr>
        <p:blipFill>
          <a:blip r:embed="rId31"/>
          <a:stretch>
            <a:fillRect/>
          </a:stretch>
        </p:blipFill>
        <p:spPr>
          <a:xfrm>
            <a:off x="557115" y="5291371"/>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875101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32873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Phase out of fossil fuel heating: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12586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43648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79441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10503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60133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23415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South Korea:</a:t>
            </a:r>
            <a:r>
              <a:rPr lang="en-US" dirty="0">
                <a:solidFill>
                  <a:srgbClr val="000000"/>
                </a:solidFill>
                <a:latin typeface="Calibri"/>
              </a:rPr>
              <a:t> </a:t>
            </a:r>
            <a:r>
              <a:rPr lang="en-US" dirty="0" err="1">
                <a:solidFill>
                  <a:srgbClr val="000000"/>
                </a:solidFill>
                <a:latin typeface="Calibri"/>
                <a:hlinkClick r:id="rId15"/>
              </a:rPr>
              <a:t>Lexology</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K: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UK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GB" dirty="0">
                <a:hlinkClick r:id="rId17"/>
              </a:rPr>
              <a:t>Renewable Energy</a:t>
            </a:r>
            <a:r>
              <a:rPr lang="en-GB" dirty="0"/>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S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Climate Proof</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9"/>
              </a:rPr>
              <a:t>npr</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0"/>
              </a:rPr>
              <a:t>InsideClimateNew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h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China Dialogu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UNFCCC – Chin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China Briefing</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gr Group</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Japan: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5"/>
              </a:rPr>
              <a:t>International Trade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5"/>
              </a:rPr>
              <a:t>Adminsitrat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3171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 of new fossil heating systems in building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32993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27015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 of new fossil heating systems in buildings.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69711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63733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 of new fossil heating systems in buildings. The South Korean government subsidises 50% of the cost of installing new renewable energy equipment in residences and buildings as part of the Renewable Energy Act 2022.</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20081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141034"/>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UK originally announced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an on the installation of new gas boilers by 2035 as part of its National Heating and Buildings Strategy.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strategy sets a target to achieve a net zero buildings sector by 2050. However, the new Secretary of State for Energy Security and Net Zero Energy (DESNZ) announced that the UK would prioritize measures to promote greener heating options, particularly heat pumps, rather than enforcing the ban on gas boilers.</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89018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83041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US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 of new fossil heating systems in buildings. The IRA provides ~ US$50bn for clean buildings. In 2023, New York announced  a ban on fossil fuel equipment in new construction starting in 2026.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nine U.S. states committed to phasing out fossil fuel heating, aiming for 90% heat pump sales by 2040.</a:t>
            </a: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53226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47248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 of new fossil heating systems in buildings. In 2022, China updated building codes to require all new urban buildings to be constructed in line with green building standards by 2025 and raises buildings’ utilisation of renewable energy from 6% in 2020 to 8% by 2025.</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22164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161862"/>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 has not set a target and does not have polici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end the sale of new fossil heating systems in buildings. As part of its Green Transition Strategy in 2022, Japan set a target for new buildings and houses to be zero-emissions by 2030.</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1FCC145E-1351-4F34-CE92-4C3444C225D3}"/>
              </a:ext>
            </a:extLst>
          </p:cNvPr>
          <p:cNvPicPr>
            <a:picLocks noChangeAspect="1"/>
          </p:cNvPicPr>
          <p:nvPr/>
        </p:nvPicPr>
        <p:blipFill>
          <a:blip r:embed="rId26"/>
          <a:stretch>
            <a:fillRect/>
          </a:stretch>
        </p:blipFill>
        <p:spPr>
          <a:xfrm>
            <a:off x="557115" y="2347814"/>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48FFF2B7-AF21-034A-2787-6BBCB3E39412}"/>
              </a:ext>
            </a:extLst>
          </p:cNvPr>
          <p:cNvPicPr>
            <a:picLocks noChangeAspect="1"/>
          </p:cNvPicPr>
          <p:nvPr/>
        </p:nvPicPr>
        <p:blipFill>
          <a:blip r:embed="rId27"/>
          <a:stretch>
            <a:fillRect/>
          </a:stretch>
        </p:blipFill>
        <p:spPr>
          <a:xfrm>
            <a:off x="557115" y="3216925"/>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8B2418D4-2C52-CE7A-77A5-4015C8EBB3B3}"/>
              </a:ext>
            </a:extLst>
          </p:cNvPr>
          <p:cNvPicPr>
            <a:picLocks noChangeAspect="1"/>
          </p:cNvPicPr>
          <p:nvPr/>
        </p:nvPicPr>
        <p:blipFill>
          <a:blip r:embed="rId28"/>
          <a:stretch>
            <a:fillRect/>
          </a:stretch>
        </p:blipFill>
        <p:spPr>
          <a:xfrm>
            <a:off x="557115" y="3911299"/>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2DD30F01-3EBB-BFBB-B77E-A110278FA381}"/>
              </a:ext>
            </a:extLst>
          </p:cNvPr>
          <p:cNvPicPr>
            <a:picLocks noChangeAspect="1"/>
          </p:cNvPicPr>
          <p:nvPr/>
        </p:nvPicPr>
        <p:blipFill>
          <a:blip r:embed="rId29"/>
          <a:stretch>
            <a:fillRect/>
          </a:stretch>
        </p:blipFill>
        <p:spPr>
          <a:xfrm>
            <a:off x="557115" y="4551664"/>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A8A138DD-5958-34B9-8501-27DD4F100757}"/>
              </a:ext>
            </a:extLst>
          </p:cNvPr>
          <p:cNvPicPr>
            <a:picLocks noChangeAspect="1"/>
          </p:cNvPicPr>
          <p:nvPr/>
        </p:nvPicPr>
        <p:blipFill>
          <a:blip r:embed="rId30"/>
          <a:stretch>
            <a:fillRect/>
          </a:stretch>
        </p:blipFill>
        <p:spPr>
          <a:xfrm>
            <a:off x="557115" y="5241099"/>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4156E7C5-DE52-CAA4-AFA1-B143EE3A0BB3}"/>
              </a:ext>
            </a:extLst>
          </p:cNvPr>
          <p:cNvPicPr>
            <a:picLocks noChangeAspect="1"/>
          </p:cNvPicPr>
          <p:nvPr/>
        </p:nvPicPr>
        <p:blipFill>
          <a:blip r:embed="rId31"/>
          <a:stretch>
            <a:fillRect/>
          </a:stretch>
        </p:blipFill>
        <p:spPr>
          <a:xfrm>
            <a:off x="557115" y="2715893"/>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47C98BD7-5533-972B-1175-EC393DE25DEB}"/>
              </a:ext>
            </a:extLst>
          </p:cNvPr>
          <p:cNvPicPr>
            <a:picLocks noChangeAspect="1"/>
          </p:cNvPicPr>
          <p:nvPr/>
        </p:nvPicPr>
        <p:blipFill>
          <a:blip r:embed="rId32"/>
          <a:stretch>
            <a:fillRect/>
          </a:stretch>
        </p:blipFill>
        <p:spPr>
          <a:xfrm>
            <a:off x="557115" y="1945305"/>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620607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08263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5" imgH="405" progId="TCLayout.ActiveDocument.1">
                  <p:embed/>
                </p:oleObj>
              </mc:Choice>
              <mc:Fallback>
                <p:oleObj name="think-cell Slide" r:id="rId15"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Phase out of fossil fuel heating: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32823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396038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58095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20152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85334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20367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Türkiy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UNFCCC – Türkiy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 has not set a target and does not have policies in place to end the sale of new fossil heating systems in buildings.</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29945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23967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has not set a target and does not have policies in place to end the sale of new fossil heating systems in buildings.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 2019 National Climate Change Adaptation Strategy and Action Plan recognises regional heating implementations with geothermal energy as important tools in climate change adaptation</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94912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889343"/>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o space heating needed.</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29730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237524"/>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 space heating needed.</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67673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616955"/>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 space heating needed.</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05616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399638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 space heating needed.</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424019"/>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364239"/>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 space heating needed.</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DC3C2B5F-CDCB-F88A-8709-2C703728E5E3}"/>
              </a:ext>
            </a:extLst>
          </p:cNvPr>
          <p:cNvPicPr>
            <a:picLocks noChangeAspect="1"/>
          </p:cNvPicPr>
          <p:nvPr/>
        </p:nvPicPr>
        <p:blipFill>
          <a:blip r:embed="rId18"/>
          <a:stretch>
            <a:fillRect/>
          </a:stretch>
        </p:blipFill>
        <p:spPr>
          <a:xfrm>
            <a:off x="557115" y="5137052"/>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8EAFC7C-4F7C-A98D-9FE0-8763E6B7F990}"/>
              </a:ext>
            </a:extLst>
          </p:cNvPr>
          <p:cNvPicPr>
            <a:picLocks noChangeAspect="1"/>
          </p:cNvPicPr>
          <p:nvPr/>
        </p:nvPicPr>
        <p:blipFill>
          <a:blip r:embed="rId19"/>
          <a:stretch>
            <a:fillRect/>
          </a:stretch>
        </p:blipFill>
        <p:spPr>
          <a:xfrm>
            <a:off x="557115" y="2318791"/>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FCE73022-DE09-50FB-FAC0-74B512ADEF3F}"/>
              </a:ext>
            </a:extLst>
          </p:cNvPr>
          <p:cNvPicPr>
            <a:picLocks noChangeAspect="1"/>
          </p:cNvPicPr>
          <p:nvPr/>
        </p:nvPicPr>
        <p:blipFill>
          <a:blip r:embed="rId20"/>
          <a:stretch>
            <a:fillRect/>
          </a:stretch>
        </p:blipFill>
        <p:spPr>
          <a:xfrm>
            <a:off x="557115" y="4800297"/>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6B5ADB84-1045-DDCC-7695-0B36ACA7A8B6}"/>
              </a:ext>
            </a:extLst>
          </p:cNvPr>
          <p:cNvPicPr>
            <a:picLocks noChangeAspect="1"/>
          </p:cNvPicPr>
          <p:nvPr/>
        </p:nvPicPr>
        <p:blipFill>
          <a:blip r:embed="rId21"/>
          <a:stretch>
            <a:fillRect/>
          </a:stretch>
        </p:blipFill>
        <p:spPr>
          <a:xfrm>
            <a:off x="557115" y="4441359"/>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978F93EE-C6D6-C95B-8925-E821C5355C2F}"/>
              </a:ext>
            </a:extLst>
          </p:cNvPr>
          <p:cNvPicPr>
            <a:picLocks noChangeAspect="1"/>
          </p:cNvPicPr>
          <p:nvPr/>
        </p:nvPicPr>
        <p:blipFill>
          <a:blip r:embed="rId22"/>
          <a:stretch>
            <a:fillRect/>
          </a:stretch>
        </p:blipFill>
        <p:spPr>
          <a:xfrm>
            <a:off x="557115" y="4082874"/>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6D53019A-03C6-8631-6A35-23DBAB35DF32}"/>
              </a:ext>
            </a:extLst>
          </p:cNvPr>
          <p:cNvPicPr>
            <a:picLocks noChangeAspect="1"/>
          </p:cNvPicPr>
          <p:nvPr/>
        </p:nvPicPr>
        <p:blipFill>
          <a:blip r:embed="rId23"/>
          <a:stretch>
            <a:fillRect/>
          </a:stretch>
        </p:blipFill>
        <p:spPr>
          <a:xfrm>
            <a:off x="557115" y="3690375"/>
            <a:ext cx="233367" cy="155578"/>
          </a:xfrm>
          <a:prstGeom prst="rect">
            <a:avLst/>
          </a:prstGeom>
          <a:ln>
            <a:noFill/>
          </a:ln>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F869C8D9-D36E-0E61-EB5C-6435336EF10B}"/>
              </a:ext>
            </a:extLst>
          </p:cNvPr>
          <p:cNvPicPr>
            <a:picLocks noChangeAspect="1"/>
          </p:cNvPicPr>
          <p:nvPr/>
        </p:nvPicPr>
        <p:blipFill>
          <a:blip r:embed="rId24"/>
          <a:stretch>
            <a:fillRect/>
          </a:stretch>
        </p:blipFill>
        <p:spPr>
          <a:xfrm>
            <a:off x="557115" y="3314379"/>
            <a:ext cx="233367" cy="155578"/>
          </a:xfrm>
          <a:prstGeom prst="rect">
            <a:avLst/>
          </a:prstGeom>
          <a:ln>
            <a:noFill/>
          </a:ln>
          <a:effectLst>
            <a:outerShdw blurRad="50800" dist="38100" dir="2700000" algn="tl" rotWithShape="0">
              <a:prstClr val="black">
                <a:alpha val="40000"/>
              </a:prstClr>
            </a:outerShdw>
          </a:effectLst>
        </p:spPr>
      </p:pic>
      <p:pic>
        <p:nvPicPr>
          <p:cNvPr id="40" name="Picture 39">
            <a:extLst>
              <a:ext uri="{FF2B5EF4-FFF2-40B4-BE49-F238E27FC236}">
                <a16:creationId xmlns:a16="http://schemas.microsoft.com/office/drawing/2014/main" id="{ACE8A218-FFEB-2DBC-98DA-2FBDEDB828DF}"/>
              </a:ext>
            </a:extLst>
          </p:cNvPr>
          <p:cNvPicPr>
            <a:picLocks noChangeAspect="1"/>
          </p:cNvPicPr>
          <p:nvPr/>
        </p:nvPicPr>
        <p:blipFill>
          <a:blip r:embed="rId25"/>
          <a:stretch>
            <a:fillRect/>
          </a:stretch>
        </p:blipFill>
        <p:spPr>
          <a:xfrm>
            <a:off x="557115" y="2966739"/>
            <a:ext cx="233367" cy="155578"/>
          </a:xfrm>
          <a:prstGeom prst="rect">
            <a:avLst/>
          </a:prstGeom>
          <a:ln>
            <a:noFill/>
          </a:ln>
          <a:effectLst>
            <a:outerShdw blurRad="50800" dist="38100" dir="2700000" algn="tl" rotWithShape="0">
              <a:prstClr val="black">
                <a:alpha val="40000"/>
              </a:prstClr>
            </a:outerShdw>
          </a:effectLst>
        </p:spPr>
      </p:pic>
      <p:cxnSp>
        <p:nvCxnSpPr>
          <p:cNvPr id="41" name="LineSeparatorDefault 463">
            <a:extLst>
              <a:ext uri="{FF2B5EF4-FFF2-40B4-BE49-F238E27FC236}">
                <a16:creationId xmlns:a16="http://schemas.microsoft.com/office/drawing/2014/main" id="{27C9B5DF-6013-1EDE-81E0-330EB27C18FC}"/>
              </a:ext>
            </a:extLst>
          </p:cNvPr>
          <p:cNvCxnSpPr>
            <a:cxnSpLocks/>
          </p:cNvCxnSpPr>
          <p:nvPr>
            <p:custDataLst>
              <p:tags r:id="rId12"/>
            </p:custDataLst>
          </p:nvPr>
        </p:nvCxnSpPr>
        <p:spPr bwMode="gray">
          <a:xfrm>
            <a:off x="571500" y="502801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LineSeparatorDefault 463">
            <a:extLst>
              <a:ext uri="{FF2B5EF4-FFF2-40B4-BE49-F238E27FC236}">
                <a16:creationId xmlns:a16="http://schemas.microsoft.com/office/drawing/2014/main" id="{DDC45C85-9C60-33F2-D95E-C16113A734F3}"/>
              </a:ext>
            </a:extLst>
          </p:cNvPr>
          <p:cNvCxnSpPr>
            <a:cxnSpLocks/>
          </p:cNvCxnSpPr>
          <p:nvPr>
            <p:custDataLst>
              <p:tags r:id="rId13"/>
            </p:custDataLst>
          </p:nvPr>
        </p:nvCxnSpPr>
        <p:spPr bwMode="gray">
          <a:xfrm>
            <a:off x="571500" y="468330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A939AD0A-6ED3-C592-1183-5AFAE0E8C59A}"/>
              </a:ext>
            </a:extLst>
          </p:cNvPr>
          <p:cNvSpPr txBox="1"/>
          <p:nvPr/>
        </p:nvSpPr>
        <p:spPr>
          <a:xfrm>
            <a:off x="881849" y="477908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44" name="TextBox 43">
            <a:extLst>
              <a:ext uri="{FF2B5EF4-FFF2-40B4-BE49-F238E27FC236}">
                <a16:creationId xmlns:a16="http://schemas.microsoft.com/office/drawing/2014/main" id="{030FCF59-58B9-ED73-C191-327D760733A9}"/>
              </a:ext>
            </a:extLst>
          </p:cNvPr>
          <p:cNvSpPr txBox="1">
            <a:spLocks/>
          </p:cNvSpPr>
          <p:nvPr/>
        </p:nvSpPr>
        <p:spPr>
          <a:xfrm>
            <a:off x="1807670" y="4719305"/>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 space heating needed.</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5" name="TextBox 44">
            <a:extLst>
              <a:ext uri="{FF2B5EF4-FFF2-40B4-BE49-F238E27FC236}">
                <a16:creationId xmlns:a16="http://schemas.microsoft.com/office/drawing/2014/main" id="{A091D523-E532-E177-072B-F41DD0F112D2}"/>
              </a:ext>
            </a:extLst>
          </p:cNvPr>
          <p:cNvSpPr txBox="1"/>
          <p:nvPr/>
        </p:nvSpPr>
        <p:spPr>
          <a:xfrm>
            <a:off x="881849" y="512379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46" name="TextBox 45">
            <a:extLst>
              <a:ext uri="{FF2B5EF4-FFF2-40B4-BE49-F238E27FC236}">
                <a16:creationId xmlns:a16="http://schemas.microsoft.com/office/drawing/2014/main" id="{0CC81394-AD07-647A-B195-5348ECC03022}"/>
              </a:ext>
            </a:extLst>
          </p:cNvPr>
          <p:cNvSpPr txBox="1">
            <a:spLocks/>
          </p:cNvSpPr>
          <p:nvPr/>
        </p:nvSpPr>
        <p:spPr>
          <a:xfrm>
            <a:off x="1807671" y="5064013"/>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o space heating needed.</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pic>
        <p:nvPicPr>
          <p:cNvPr id="47" name="Picture 46">
            <a:extLst>
              <a:ext uri="{FF2B5EF4-FFF2-40B4-BE49-F238E27FC236}">
                <a16:creationId xmlns:a16="http://schemas.microsoft.com/office/drawing/2014/main" id="{F9A8F38C-4DAD-FD00-18CA-C1B73D5AA950}"/>
              </a:ext>
            </a:extLst>
          </p:cNvPr>
          <p:cNvPicPr>
            <a:picLocks noChangeAspect="1"/>
          </p:cNvPicPr>
          <p:nvPr/>
        </p:nvPicPr>
        <p:blipFill>
          <a:blip r:embed="rId26"/>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381524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9098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Industry emissions reduction: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65236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65308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6"/>
            </p:custDataLst>
          </p:nvPr>
        </p:nvCxnSpPr>
        <p:spPr bwMode="gray">
          <a:xfrm>
            <a:off x="571500" y="362739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7"/>
            </p:custDataLst>
          </p:nvPr>
        </p:nvCxnSpPr>
        <p:spPr bwMode="gray">
          <a:xfrm>
            <a:off x="571500" y="281916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8"/>
            </p:custDataLst>
          </p:nvPr>
        </p:nvSpPr>
        <p:spPr>
          <a:xfrm>
            <a:off x="565987" y="6419163"/>
            <a:ext cx="948288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UK: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UK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UK Parlia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UK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UK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UK Governmen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Government of Canada</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9"/>
              </a:rPr>
              <a:t>MSN</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ranc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French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French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Energy Monitor</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a:solidFill>
                  <a:srgbClr val="000000"/>
                </a:solidFill>
                <a:latin typeface="Calibri"/>
                <a:hlinkClick r:id="rId23"/>
              </a:rPr>
              <a:t>Carbon Herald</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U countries: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ICAP</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ermany: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5"/>
              </a:rPr>
              <a:t>Energy Wir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European Commiss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7"/>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8"/>
              </a:rPr>
              <a:t>CCS</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taly: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9"/>
              </a:rPr>
              <a:t>Italian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30"/>
              </a:rPr>
              <a:t>European Commiss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31"/>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its H2 Strategy, the UK doubled its target for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low carbon hydrogen production to 10GW by 203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target is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upported by a hydrogen subsidy scheme</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The UK announced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2 bn to scale </a:t>
            </a:r>
            <a:r>
              <a:rPr kumimoji="0" lang="en-GB" sz="1200" b="1" i="0" u="none" strike="noStrike" kern="1200" cap="none" spc="0" normalizeH="0" baseline="0" noProof="0">
                <a:ln>
                  <a:noFill/>
                </a:ln>
                <a:effectLst/>
                <a:uLnTx/>
                <a:uFillTx/>
                <a:latin typeface="Calibri"/>
                <a:ea typeface="+mn-ea"/>
                <a:cs typeface="Arial" panose="020B0604020202020204" pitchFamily="34" charset="0"/>
              </a:rPr>
              <a:t>CCUS</a:t>
            </a:r>
            <a:r>
              <a:rPr lang="en-GB" sz="1200" b="1">
                <a:latin typeface="Calibri"/>
              </a:rPr>
              <a:t> </a:t>
            </a:r>
            <a:r>
              <a:rPr lang="en-GB" sz="1200">
                <a:latin typeface="Calibri"/>
              </a:rPr>
              <a:t>to support its aim of capturing </a:t>
            </a:r>
            <a:r>
              <a:rPr lang="en-GB" sz="1200" b="1">
                <a:latin typeface="Calibri"/>
              </a:rPr>
              <a:t>20-30 Mt</a:t>
            </a:r>
            <a:r>
              <a:rPr kumimoji="0" lang="en-US" sz="1200" b="1" i="0" u="none" strike="noStrike" kern="1200" cap="none" spc="0" normalizeH="0" baseline="0" noProof="0">
                <a:ln>
                  <a:noFill/>
                </a:ln>
                <a:solidFill>
                  <a:srgbClr val="000000"/>
                </a:solidFill>
                <a:effectLst/>
                <a:uLnTx/>
                <a:uFillTx/>
                <a:latin typeface="Calibri"/>
                <a:ea typeface="+mn-ea"/>
                <a:cs typeface="+mn-cs"/>
              </a:rPr>
              <a:t>CO</a:t>
            </a:r>
            <a:r>
              <a:rPr kumimoji="0" lang="en-US" sz="1200" b="1" i="0" u="none" strike="noStrike" kern="1200" cap="none" spc="0" normalizeH="0" baseline="-25000" noProof="0">
                <a:ln>
                  <a:noFill/>
                </a:ln>
                <a:solidFill>
                  <a:srgbClr val="000000"/>
                </a:solidFill>
                <a:effectLst/>
                <a:uLnTx/>
                <a:uFillTx/>
                <a:latin typeface="Calibri"/>
                <a:ea typeface="+mn-ea"/>
                <a:cs typeface="+mn-cs"/>
              </a:rPr>
              <a:t>2</a:t>
            </a:r>
            <a:r>
              <a:rPr lang="en-GB" sz="1200" b="1">
                <a:latin typeface="Calibri"/>
              </a:rPr>
              <a:t> </a:t>
            </a:r>
            <a:r>
              <a:rPr lang="en-GB" sz="1200">
                <a:latin typeface="Calibri"/>
              </a:rPr>
              <a:t>per year across the economy by </a:t>
            </a:r>
            <a:r>
              <a:rPr lang="en-GB" sz="1200" b="1">
                <a:latin typeface="Calibri"/>
              </a:rPr>
              <a:t>2030</a:t>
            </a:r>
            <a:r>
              <a:rPr lang="en-GB" sz="1200">
                <a:latin typeface="Calibri"/>
              </a:rPr>
              <a:t>.</a:t>
            </a:r>
            <a:r>
              <a:rPr lang="en-GB" sz="1200" b="1">
                <a:latin typeface="Calibri"/>
              </a:rPr>
              <a:t> </a:t>
            </a:r>
            <a:r>
              <a:rPr lang="en-GB" sz="1200">
                <a:solidFill>
                  <a:srgbClr val="000000"/>
                </a:solidFill>
                <a:latin typeface="Calibri"/>
              </a:rPr>
              <a:t>T</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he UK Government’s 2021 Industrial Decarbonisation Strategy states that emissions from industry will need to fall by 67% by 2035 and by 90% by 2050 if the UK is to meet its net zero by 2050 target. Industrial emissions are covered by the UK ETS.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the UK proposed a carbon border tax for 2027 and committed £22 billion to carbon capture to decarbonize heavy industry by 2050.</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88445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855161"/>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3 budget</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oposes investment tax credits for CCUS</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budget also include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rbon Contracts for Differences which would see the government sign long-term deals for carbon credits and other commodities (including hydrogen) at fixed prices</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s 2030 Emissions Reduction Plan includes an estimate that heavy industry emissions will be reduced by 39% by 2030 from 2005 levels but doesn't include this as a formal target. Industrial emissions are covered by an ETS.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Canada announced a plan to cut oil and gas sector emissions by 42% by 2030, focusing on methane reduction and carbon capture.</a:t>
            </a: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75364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663391"/>
            <a:ext cx="9847754"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ustry is covered by the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U ETS which aims to reduce emissions by 62% by 2030</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relative to 2005. National Hydrogen Strategy includes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7 billion for Hydrogen to 2030</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The 2020 National Energy and Climate Plan sets a target to reduce final energy consumption in the industrial sector by 15.7% by 2028, relative to 2016. France offers tax credits for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low-carbon investment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which are expected to generate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US$22 bn of private investment.</a:t>
            </a:r>
            <a:r>
              <a:rPr kumimoji="0" lang="en-GB" sz="1200" b="1" i="0" u="none" strike="noStrike" kern="1200" cap="none" spc="0" normalizeH="0" baseline="0" noProof="0">
                <a:ln>
                  <a:noFill/>
                </a:ln>
                <a:effectLst/>
                <a:uLnTx/>
                <a:uFillTx/>
                <a:latin typeface="Calibri"/>
                <a:ea typeface="+mn-ea"/>
                <a:cs typeface="Arial" panose="020B0604020202020204" pitchFamily="34" charset="0"/>
              </a:rPr>
              <a:t> </a:t>
            </a:r>
            <a:r>
              <a:rPr kumimoji="0" lang="en-GB" sz="1200" i="0" u="none" strike="noStrike" kern="1200" cap="none" spc="0" normalizeH="0" baseline="0" noProof="0">
                <a:ln>
                  <a:noFill/>
                </a:ln>
                <a:effectLst/>
                <a:uLnTx/>
                <a:uFillTx/>
                <a:latin typeface="Calibri"/>
                <a:ea typeface="+mn-ea"/>
                <a:cs typeface="Arial" panose="020B0604020202020204" pitchFamily="34" charset="0"/>
              </a:rPr>
              <a:t>In 2023, France announced a CCUS strategy targeting </a:t>
            </a:r>
            <a:r>
              <a:rPr kumimoji="0" lang="en-GB" sz="1200" b="1" i="0" u="none" strike="noStrike" kern="1200" cap="none" spc="0" normalizeH="0" baseline="0" noProof="0">
                <a:ln>
                  <a:noFill/>
                </a:ln>
                <a:effectLst/>
                <a:uLnTx/>
                <a:uFillTx/>
                <a:latin typeface="Calibri"/>
                <a:ea typeface="+mn-ea"/>
                <a:cs typeface="Arial" panose="020B0604020202020204" pitchFamily="34" charset="0"/>
              </a:rPr>
              <a:t>4 - 8.5 million tons of </a:t>
            </a:r>
            <a:r>
              <a:rPr kumimoji="0" lang="en-US" sz="1200" b="1" i="0" u="none" strike="noStrike" kern="1200" cap="none" spc="0" normalizeH="0" baseline="0" noProof="0">
                <a:ln>
                  <a:noFill/>
                </a:ln>
                <a:solidFill>
                  <a:srgbClr val="000000"/>
                </a:solidFill>
                <a:effectLst/>
                <a:uLnTx/>
                <a:uFillTx/>
                <a:latin typeface="Calibri"/>
                <a:ea typeface="+mn-ea"/>
                <a:cs typeface="+mn-cs"/>
              </a:rPr>
              <a:t>CO</a:t>
            </a:r>
            <a:r>
              <a:rPr kumimoji="0" lang="en-US" sz="1200" b="1" i="0" u="none" strike="noStrike" kern="1200" cap="none" spc="0" normalizeH="0" baseline="-25000" noProof="0">
                <a:ln>
                  <a:noFill/>
                </a:ln>
                <a:solidFill>
                  <a:srgbClr val="000000"/>
                </a:solidFill>
                <a:effectLst/>
                <a:uLnTx/>
                <a:uFillTx/>
                <a:latin typeface="Calibri"/>
                <a:ea typeface="+mn-ea"/>
                <a:cs typeface="+mn-cs"/>
              </a:rPr>
              <a:t>2</a:t>
            </a:r>
            <a:r>
              <a:rPr kumimoji="0" lang="en-GB" sz="1200" b="1" i="0" u="none" strike="noStrike" kern="1200" cap="none" spc="0" normalizeH="0" baseline="0" noProof="0">
                <a:ln>
                  <a:noFill/>
                </a:ln>
                <a:effectLst/>
                <a:uLnTx/>
                <a:uFillTx/>
                <a:latin typeface="Calibri"/>
                <a:ea typeface="+mn-ea"/>
                <a:cs typeface="Arial" panose="020B0604020202020204" pitchFamily="34" charset="0"/>
              </a:rPr>
              <a:t> captured a year by 2030 and 15 - 20 million tons a year by 2050</a:t>
            </a:r>
            <a:r>
              <a:rPr kumimoji="0" lang="en-GB" sz="1200" i="0" u="none" strike="noStrike" kern="1200" cap="none" spc="0" normalizeH="0" baseline="0" noProof="0">
                <a:ln>
                  <a:noFill/>
                </a:ln>
                <a:effectLst/>
                <a:uLnTx/>
                <a:uFillTx/>
                <a:latin typeface="Calibri"/>
                <a:ea typeface="+mn-ea"/>
                <a:cs typeface="Arial" panose="020B0604020202020204" pitchFamily="34" charset="0"/>
              </a:rPr>
              <a:t>. France has also announced plans to launch carbon contracts for difference to support CCUS.</a:t>
            </a:r>
            <a:endParaRPr kumimoji="0" lang="en-US" sz="1200" i="0" u="none" strike="noStrike" kern="1200" cap="none" spc="0" normalizeH="0" baseline="0" noProof="0">
              <a:ln>
                <a:noFill/>
              </a:ln>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74886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689083"/>
            <a:ext cx="9847754"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ermany has announc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50 bn to support industrial decarbonisation through carbon contacts for difference.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ustry is covered by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U ET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hich aims to reduce emissions by 62% by 2030, relative to 2005. The European Commission approv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00 million to support renewable hydrogen production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Germany. The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limate Action Programme 2030 indicates that emissions from heavy industry should fall by 45 million tonnes a year from current levels to reach 2030 targets.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Germany approved a bill allowing carbon capture and storage for selected industrial sectors to achieve the goal of carbon neutrality by 2045. In 2024, Germany approved bills to accelerate hydrogen infrastructure development and enable carbon capture and storage for industrial sectors.</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72782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688365"/>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ustry is covered by the EU ETS which aims to reduce emissions by 62% by 2030, relative to 2005. The EU Commission has approved a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450 million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ian scheme to support the production of renewable hydrogen</a:t>
            </a:r>
            <a:r>
              <a:rPr kumimoji="0" lang="en-GB" sz="1200" b="0" i="0" u="none" strike="noStrike" kern="1200" cap="none" spc="0" normalizeH="0" baseline="0" noProof="0">
                <a:ln>
                  <a:noFill/>
                </a:ln>
                <a:effectLst/>
                <a:uLnTx/>
                <a:uFillTx/>
                <a:latin typeface="Calibri"/>
                <a:ea typeface="+mn-ea"/>
                <a:cs typeface="Arial" panose="020B0604020202020204" pitchFamily="34" charset="0"/>
              </a:rPr>
              <a:t>. In 2023, Italy updated its National Energy and Climate Plan to </a:t>
            </a:r>
            <a:r>
              <a:rPr lang="en-GB" sz="1200">
                <a:latin typeface="Calibri"/>
              </a:rPr>
              <a:t>include a </a:t>
            </a:r>
            <a:r>
              <a:rPr kumimoji="0" lang="en-GB" sz="1200" b="0" i="0" u="none" strike="noStrike" kern="1200" cap="none" spc="0" normalizeH="0" baseline="0" noProof="0">
                <a:ln>
                  <a:noFill/>
                </a:ln>
                <a:effectLst/>
                <a:uLnTx/>
                <a:uFillTx/>
                <a:latin typeface="Calibri"/>
                <a:ea typeface="+mn-ea"/>
                <a:cs typeface="Arial" panose="020B0604020202020204" pitchFamily="34" charset="0"/>
              </a:rPr>
              <a:t>target for clean hydrogen to provide </a:t>
            </a:r>
            <a:r>
              <a:rPr kumimoji="0" lang="en-GB" sz="1200" b="1" i="0" u="none" strike="noStrike" kern="1200" cap="none" spc="0" normalizeH="0" baseline="0" noProof="0">
                <a:ln>
                  <a:noFill/>
                </a:ln>
                <a:effectLst/>
                <a:uLnTx/>
                <a:uFillTx/>
                <a:latin typeface="Calibri"/>
                <a:ea typeface="+mn-ea"/>
                <a:cs typeface="Arial" panose="020B0604020202020204" pitchFamily="34" charset="0"/>
              </a:rPr>
              <a:t>42% of industrial hydrogen needs by 2030. </a:t>
            </a:r>
            <a:endParaRPr kumimoji="0" lang="en-US" sz="1200" b="1" i="0" u="none" strike="noStrike" kern="1200" cap="none" spc="0" normalizeH="0" baseline="0" noProof="0">
              <a:ln>
                <a:noFill/>
              </a:ln>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9"/>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4" name="Picture 23">
            <a:extLst>
              <a:ext uri="{FF2B5EF4-FFF2-40B4-BE49-F238E27FC236}">
                <a16:creationId xmlns:a16="http://schemas.microsoft.com/office/drawing/2014/main" id="{3009D042-DC52-C3F7-F3D2-319B12CAF0F6}"/>
              </a:ext>
            </a:extLst>
          </p:cNvPr>
          <p:cNvPicPr>
            <a:picLocks noChangeAspect="1"/>
          </p:cNvPicPr>
          <p:nvPr/>
        </p:nvPicPr>
        <p:blipFill>
          <a:blip r:embed="rId32"/>
          <a:stretch>
            <a:fillRect/>
          </a:stretch>
        </p:blipFill>
        <p:spPr>
          <a:xfrm>
            <a:off x="557114" y="290313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5302DF88-1D70-BAFC-DF0C-111A266C74FC}"/>
              </a:ext>
            </a:extLst>
          </p:cNvPr>
          <p:cNvPicPr>
            <a:picLocks noChangeAspect="1"/>
          </p:cNvPicPr>
          <p:nvPr/>
        </p:nvPicPr>
        <p:blipFill>
          <a:blip r:embed="rId33"/>
          <a:stretch>
            <a:fillRect/>
          </a:stretch>
        </p:blipFill>
        <p:spPr>
          <a:xfrm>
            <a:off x="557114" y="1945624"/>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738AD3F8-F975-1F07-D175-C1F80F08A323}"/>
              </a:ext>
            </a:extLst>
          </p:cNvPr>
          <p:cNvPicPr>
            <a:picLocks noChangeAspect="1"/>
          </p:cNvPicPr>
          <p:nvPr/>
        </p:nvPicPr>
        <p:blipFill>
          <a:blip r:embed="rId34"/>
          <a:stretch>
            <a:fillRect/>
          </a:stretch>
        </p:blipFill>
        <p:spPr>
          <a:xfrm>
            <a:off x="557114" y="3769560"/>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85223015-9610-7DBC-F13C-D6124FCD9ADB}"/>
              </a:ext>
            </a:extLst>
          </p:cNvPr>
          <p:cNvPicPr>
            <a:picLocks noChangeAspect="1"/>
          </p:cNvPicPr>
          <p:nvPr/>
        </p:nvPicPr>
        <p:blipFill>
          <a:blip r:embed="rId35"/>
          <a:stretch>
            <a:fillRect/>
          </a:stretch>
        </p:blipFill>
        <p:spPr>
          <a:xfrm>
            <a:off x="557114" y="5738672"/>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0D4C25DD-13FA-9E05-B806-6CA5FF27EFCD}"/>
              </a:ext>
            </a:extLst>
          </p:cNvPr>
          <p:cNvPicPr>
            <a:picLocks noChangeAspect="1"/>
          </p:cNvPicPr>
          <p:nvPr/>
        </p:nvPicPr>
        <p:blipFill>
          <a:blip r:embed="rId36"/>
          <a:stretch>
            <a:fillRect/>
          </a:stretch>
        </p:blipFill>
        <p:spPr>
          <a:xfrm>
            <a:off x="557114" y="4766166"/>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247806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584750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Industry emissions reduction: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4"/>
            </p:custDataLst>
          </p:nvPr>
        </p:nvCxnSpPr>
        <p:spPr bwMode="gray">
          <a:xfrm>
            <a:off x="571500" y="420219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5"/>
            </p:custDataLst>
          </p:nvPr>
        </p:nvCxnSpPr>
        <p:spPr bwMode="gray">
          <a:xfrm>
            <a:off x="571500" y="380044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315171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7"/>
            </p:custDataLst>
          </p:nvPr>
        </p:nvCxnSpPr>
        <p:spPr bwMode="gray">
          <a:xfrm>
            <a:off x="571500" y="250653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8"/>
            </p:custDataLst>
          </p:nvPr>
        </p:nvSpPr>
        <p:spPr>
          <a:xfrm>
            <a:off x="565987" y="6419163"/>
            <a:ext cx="948288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rgent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Argus Med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Energy New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3"/>
              </a:rPr>
              <a:t>ArgusMedia</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ustral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Australian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Parliament of Austral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Australian Governmen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S &amp;P Global</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Reuter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0"/>
              </a:rPr>
              <a:t>Reuter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one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S&amp;P Global</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Japan: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gr Grou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3"/>
              </a:rPr>
              <a:t>EnergyGC</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4"/>
              </a:rPr>
              <a:t>Enerdat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5"/>
              </a:rPr>
              <a:t>Japan2Earth</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IE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7"/>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8"/>
              </a:rPr>
              <a:t>S&amp;P Global</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3, Argentina propos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 bill which includes several provisions to encourage hydrogen produc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g., 0% tax rate on revenues generated from green and pink (nuclear) hydrogen for the first 10 years after the legislation is passed and a 1.5% tax rate on blue hydrogen. Some industrial emissions are covered by a carbon price</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4, the EU and Germany proposed a $216 million hydrogen fund to boost investment in Argentina's renewable hydrogen sector.</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60231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542538"/>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Australian Parliament passed a bill which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laces a cap on the emission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f the country's largest polluting facilities requiring them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duce their emissions by 30% by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Government announc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S$1.3 billion in funding for large-scale hydrogen production.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Australia expanded investments in clean energy and green industries to drive economic growth and emissions reduction.</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24749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187713"/>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 offers producers of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green hydrogen fuel incentives worth at least 10% of their cost under a $2billion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cheme. An Indian planning body has proposed a CCUS policy which could result in India reaching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750 million Mt/year of CCUS capacity by 205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 has a carbon market under development but not to cover industry.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India expanded its steel production goals while advancing green steel initiatives to balance growth with sustainability.</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89622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836449"/>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 does not have polic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support emissions reduction in industry.</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29797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238195"/>
            <a:ext cx="9847754" cy="10055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10000"/>
              </a:lnSpc>
              <a:spcBef>
                <a:spcPts val="300"/>
              </a:spcBef>
              <a:spcAft>
                <a:spcPts val="9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Japan plans to invest </a:t>
            </a:r>
            <a:r>
              <a:rPr kumimoji="0" lang="en-GB" sz="12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US$ 108 bn over the next 15 years to increase hydrogen supply, </a:t>
            </a:r>
            <a:r>
              <a:rPr kumimoji="0" lang="en-GB" sz="12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of which roughly half would come from government</a:t>
            </a:r>
            <a:r>
              <a:rPr kumimoji="0" lang="en-GB" sz="12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 </a:t>
            </a:r>
            <a:r>
              <a:rPr kumimoji="0" lang="en-GB" sz="12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It has targets for </a:t>
            </a:r>
            <a:r>
              <a:rPr kumimoji="0" lang="en-US" sz="1200" b="1" i="0" u="none" strike="noStrike" kern="1200" cap="none" spc="0" normalizeH="0" baseline="0" noProof="0" dirty="0">
                <a:ln>
                  <a:noFill/>
                </a:ln>
                <a:solidFill>
                  <a:srgbClr val="000000"/>
                </a:solidFill>
                <a:effectLst/>
                <a:uLnTx/>
                <a:uFillTx/>
                <a:latin typeface="Calibri"/>
                <a:ea typeface="+mn-ea"/>
                <a:cs typeface="+mn-cs"/>
              </a:rPr>
              <a:t>CO</a:t>
            </a:r>
            <a:r>
              <a:rPr kumimoji="0" lang="en-US" sz="1200" b="1" i="0" u="none" strike="noStrike" kern="1200" cap="none" spc="0" normalizeH="0" baseline="-25000" noProof="0" dirty="0">
                <a:ln>
                  <a:noFill/>
                </a:ln>
                <a:solidFill>
                  <a:srgbClr val="000000"/>
                </a:solidFill>
                <a:effectLst/>
                <a:uLnTx/>
                <a:uFillTx/>
                <a:latin typeface="Calibri"/>
                <a:ea typeface="+mn-ea"/>
                <a:cs typeface="+mn-cs"/>
              </a:rPr>
              <a:t>2</a:t>
            </a:r>
            <a:r>
              <a:rPr kumimoji="0" lang="en-GB" sz="12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 storage capacity of 6-12MtCO</a:t>
            </a:r>
            <a:r>
              <a:rPr kumimoji="0" lang="en-GB" sz="1200" b="1" i="0" u="none" strike="noStrike" kern="1200" cap="none" spc="0" normalizeH="0" baseline="-2500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2</a:t>
            </a:r>
            <a:r>
              <a:rPr kumimoji="0" lang="en-GB" sz="12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year by 2030 (supported by subsidies) and to produce 12Mt of hydrogen a year by 2040</a:t>
            </a:r>
            <a:r>
              <a:rPr kumimoji="0" lang="en-GB" sz="12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 Japan has targets to expand the supply of green steel to 10m tonnes, cut </a:t>
            </a:r>
            <a:r>
              <a:rPr kumimoji="0" lang="en-US" sz="1200" b="1" i="0" u="none" strike="noStrike" kern="1200" cap="none" spc="0" normalizeH="0" baseline="0" noProof="0" dirty="0">
                <a:ln>
                  <a:noFill/>
                </a:ln>
                <a:solidFill>
                  <a:srgbClr val="000000"/>
                </a:solidFill>
                <a:effectLst/>
                <a:uLnTx/>
                <a:uFillTx/>
                <a:latin typeface="Calibri"/>
                <a:ea typeface="+mn-ea"/>
                <a:cs typeface="+mn-cs"/>
              </a:rPr>
              <a:t>CO</a:t>
            </a:r>
            <a:r>
              <a:rPr kumimoji="0" lang="en-US" sz="1200" b="1" i="0" u="none" strike="noStrike" kern="1200" cap="none" spc="0" normalizeH="0" baseline="-25000" noProof="0" dirty="0">
                <a:ln>
                  <a:noFill/>
                </a:ln>
                <a:solidFill>
                  <a:srgbClr val="000000"/>
                </a:solidFill>
                <a:effectLst/>
                <a:uLnTx/>
                <a:uFillTx/>
                <a:latin typeface="Calibri"/>
                <a:ea typeface="+mn-ea"/>
                <a:cs typeface="+mn-cs"/>
              </a:rPr>
              <a:t>2</a:t>
            </a:r>
            <a:r>
              <a:rPr kumimoji="0" lang="en-GB" sz="12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rPr>
              <a:t> emissions from the steel industry by 30% compared to 2013 levels, and expand the supply of carbon neutral cement to 2m tonnes – all by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Japan and the EU strengthened cooperation on hydrogen and clean energy, focusing on transparency, sustainability, and regulatory alignment.</a:t>
            </a:r>
            <a:endParaRPr kumimoji="0" lang="en-GB" sz="12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9"/>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2883D0C1-F867-7C6B-8552-B08C32B0A946}"/>
              </a:ext>
            </a:extLst>
          </p:cNvPr>
          <p:cNvPicPr>
            <a:picLocks noChangeAspect="1"/>
          </p:cNvPicPr>
          <p:nvPr/>
        </p:nvPicPr>
        <p:blipFill>
          <a:blip r:embed="rId29"/>
          <a:stretch>
            <a:fillRect/>
          </a:stretch>
        </p:blipFill>
        <p:spPr>
          <a:xfrm>
            <a:off x="557115" y="2613260"/>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1D008F13-DCAE-25CC-80F8-F3D67D089A89}"/>
              </a:ext>
            </a:extLst>
          </p:cNvPr>
          <p:cNvPicPr>
            <a:picLocks noChangeAspect="1"/>
          </p:cNvPicPr>
          <p:nvPr/>
        </p:nvPicPr>
        <p:blipFill>
          <a:blip r:embed="rId30"/>
          <a:stretch>
            <a:fillRect/>
          </a:stretch>
        </p:blipFill>
        <p:spPr>
          <a:xfrm>
            <a:off x="557115" y="1944644"/>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0E9D15C0-BDC7-AA80-B459-2F3A92E27E9C}"/>
              </a:ext>
            </a:extLst>
          </p:cNvPr>
          <p:cNvPicPr>
            <a:picLocks noChangeAspect="1"/>
          </p:cNvPicPr>
          <p:nvPr/>
        </p:nvPicPr>
        <p:blipFill>
          <a:blip r:embed="rId31"/>
          <a:stretch>
            <a:fillRect/>
          </a:stretch>
        </p:blipFill>
        <p:spPr>
          <a:xfrm>
            <a:off x="557115" y="3263446"/>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207397C1-EAF9-C107-4E34-DB54DADD09AE}"/>
              </a:ext>
            </a:extLst>
          </p:cNvPr>
          <p:cNvPicPr>
            <a:picLocks noChangeAspect="1"/>
          </p:cNvPicPr>
          <p:nvPr/>
        </p:nvPicPr>
        <p:blipFill>
          <a:blip r:embed="rId32"/>
          <a:stretch>
            <a:fillRect/>
          </a:stretch>
        </p:blipFill>
        <p:spPr>
          <a:xfrm>
            <a:off x="557115" y="3907329"/>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9A1D0B33-2CD5-2E2D-56C7-0CFDCEBBEC53}"/>
              </a:ext>
            </a:extLst>
          </p:cNvPr>
          <p:cNvPicPr>
            <a:picLocks noChangeAspect="1"/>
          </p:cNvPicPr>
          <p:nvPr/>
        </p:nvPicPr>
        <p:blipFill>
          <a:blip r:embed="rId33"/>
          <a:stretch>
            <a:fillRect/>
          </a:stretch>
        </p:blipFill>
        <p:spPr>
          <a:xfrm>
            <a:off x="557115" y="4315881"/>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583312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615427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Industry emissions reduction: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19383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83132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41627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77384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326979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46783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US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BBC</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US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Gas World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Reuter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razi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Government of Brazil</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0"/>
              </a:rPr>
              <a:t>CanalSolar</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Vietnam: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S&amp;P Global</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Hydrogen Insights</a:t>
            </a:r>
            <a:r>
              <a:rPr lang="en-US" dirty="0">
                <a:solidFill>
                  <a:srgbClr val="000000"/>
                </a:solidFill>
                <a:latin typeface="Calibri"/>
              </a:rPr>
              <a:t>; Turke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ICAP</a:t>
            </a:r>
            <a:r>
              <a:rPr lang="en-US" dirty="0">
                <a:solidFill>
                  <a:srgbClr val="000000"/>
                </a:solidFill>
                <a:latin typeface="Calibri"/>
              </a:rPr>
              <a:t>; Saudi-Arab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World Saudi Arab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5"/>
              </a:rPr>
              <a:t>AGBI</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Saudi Arabia Carbon Exchang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3,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released a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arget for green hydrogen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cost $2.40/kg by 2035 and below $1.20/kg by 2053. It also targets the installation of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GW of electrolysers by 2030 and 5GW by 2035, rising to 70GW by 2053.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has an ETS under consideration.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 is expected to cover around 130 installations in energy and industry sectors with emissions greater than 500,000 tCO2e per year.</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52297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503836"/>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IRA provides US$ 61bn for clean industry</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The IRA incudes a Hydrogen Production Tax Credit which provides up to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US$ 3 per tonne of clean hydrogen produced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nd extends 45Q tax credits which provide up to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US$ 85 per tonne of </a:t>
            </a:r>
            <a:r>
              <a:rPr kumimoji="0" lang="en-US" sz="1200" b="1" i="0" u="none" strike="noStrike" kern="1200" cap="none" spc="0" normalizeH="0" baseline="0" noProof="0">
                <a:ln>
                  <a:noFill/>
                </a:ln>
                <a:solidFill>
                  <a:srgbClr val="000000"/>
                </a:solidFill>
                <a:effectLst/>
                <a:uLnTx/>
                <a:uFillTx/>
                <a:latin typeface="Calibri"/>
                <a:ea typeface="+mn-ea"/>
                <a:cs typeface="+mn-cs"/>
              </a:rPr>
              <a:t>CO</a:t>
            </a:r>
            <a:r>
              <a:rPr kumimoji="0" lang="en-US" sz="1200" b="1" i="0" u="none" strike="noStrike" kern="1200" cap="none" spc="0" normalizeH="0" baseline="-25000" noProof="0">
                <a:ln>
                  <a:noFill/>
                </a:ln>
                <a:solidFill>
                  <a:srgbClr val="000000"/>
                </a:solidFill>
                <a:effectLst/>
                <a:uLnTx/>
                <a:uFillTx/>
                <a:latin typeface="Calibri"/>
                <a:ea typeface="+mn-ea"/>
                <a:cs typeface="+mn-cs"/>
              </a:rPr>
              <a:t>2</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permanently stored.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 has set a target to produce 50 million metrics tonnes of clean hydrogen a year by 2050.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the U.S. tightened methane leak rules, invested $6 billion in industrial decarbonization, and launched a climate task force to cut trade emissions.</a:t>
            </a:r>
            <a:endParaRPr kumimoji="0" lang="en-US" sz="1200" b="1" i="0" u="none" strike="noStrike" kern="1200" cap="none" spc="0" normalizeH="0" baseline="0" noProof="0">
              <a:ln>
                <a:noFill/>
              </a:ln>
              <a:solidFill>
                <a:srgbClr val="FF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36557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305794"/>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s National Climate Change Strategy to 2050, which was approved in July 2022, sets targets for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mission reductions in industrial processes including a 38.3% cut by 2030 and an 84.8% cut by 2050</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both compared to its business-as-usual scenario. Vietnam has an ETS under consideration.</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87977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80984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 has an ETS under consideration. </a:t>
            </a:r>
            <a:r>
              <a:rPr lang="en-GB" sz="1200">
                <a:solidFill>
                  <a:srgbClr val="000000"/>
                </a:solidFill>
                <a:latin typeface="Calibri"/>
              </a:rPr>
              <a:t>With the </a:t>
            </a:r>
            <a:r>
              <a:rPr lang="en-GB" sz="1200" b="1">
                <a:solidFill>
                  <a:srgbClr val="000000"/>
                </a:solidFill>
                <a:latin typeface="Calibri"/>
              </a:rPr>
              <a:t>Brazilian Emissions Trading System (SBCE)</a:t>
            </a:r>
            <a:r>
              <a:rPr lang="en-GB" sz="1200">
                <a:solidFill>
                  <a:srgbClr val="000000"/>
                </a:solidFill>
                <a:latin typeface="Calibri"/>
              </a:rPr>
              <a:t>,</a:t>
            </a:r>
            <a:r>
              <a:rPr lang="en-GB" sz="1200" b="1">
                <a:solidFill>
                  <a:srgbClr val="000000"/>
                </a:solidFill>
                <a:latin typeface="Calibri"/>
              </a:rPr>
              <a:t> </a:t>
            </a:r>
            <a:r>
              <a:rPr lang="en-GB" sz="1200">
                <a:solidFill>
                  <a:srgbClr val="000000"/>
                </a:solidFill>
                <a:latin typeface="Calibri"/>
              </a:rPr>
              <a:t>companies emitting less than their allocated quotas can trade surplus allowances with other companies. </a:t>
            </a:r>
            <a:r>
              <a:rPr lang="en-US" sz="1200">
                <a:solidFill>
                  <a:srgbClr val="000000"/>
                </a:solidFill>
                <a:latin typeface="Calibri"/>
              </a:rPr>
              <a:t>production, ensuring it’s managed by Brazilian companies. In 2024, Brazil's Green Hydrogen Framework advanced to the Senate, aiming to boost low-carbon hydrogen with tax incentives and regulatory oversight.</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51204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452271"/>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 does not have polic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support emissions reduction in industry.</a:t>
            </a: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92710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867327"/>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 does not have polices in pla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support emissions reduction in industry.</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28961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229833"/>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udi Arabia aims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pture &gt;27m tonnes of </a:t>
            </a:r>
            <a:r>
              <a:rPr kumimoji="0" lang="en-US" sz="1200" b="1" i="0" u="none" strike="noStrike" kern="1200" cap="none" spc="0" normalizeH="0" baseline="0" noProof="0" dirty="0">
                <a:ln>
                  <a:noFill/>
                </a:ln>
                <a:solidFill>
                  <a:srgbClr val="000000"/>
                </a:solidFill>
                <a:effectLst/>
                <a:uLnTx/>
                <a:uFillTx/>
                <a:latin typeface="Calibri"/>
                <a:ea typeface="+mn-ea"/>
                <a:cs typeface="+mn-cs"/>
              </a:rPr>
              <a:t>CO</a:t>
            </a:r>
            <a:r>
              <a:rPr kumimoji="0" lang="en-US" sz="1200" b="1" i="0" u="none" strike="noStrike" kern="1200" cap="none" spc="0" normalizeH="0" baseline="-25000" noProof="0" dirty="0">
                <a:ln>
                  <a:noFill/>
                </a:ln>
                <a:solidFill>
                  <a:srgbClr val="000000"/>
                </a:solidFill>
                <a:effectLst/>
                <a:uLnTx/>
                <a:uFillTx/>
                <a:latin typeface="Calibri"/>
                <a:ea typeface="+mn-ea"/>
                <a:cs typeface="+mn-cs"/>
              </a:rPr>
              <a:t>2</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mission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y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oducing four million tonnes of clean hydrogen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er year. In 2023 Saudi Arabia launched a US$10.4 bn investment fund for CCUS</a:t>
            </a:r>
            <a:r>
              <a:rPr lang="en-GB" sz="1200" dirty="0">
                <a:solidFill>
                  <a:srgbClr val="000000"/>
                </a:solidFill>
                <a:latin typeface="Calibri"/>
              </a:rPr>
              <a:t> 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igned deals on a US$8.4bn green hydrogen project. In 2024 Saudi Arabia launched their first voluntary and regional carbon trading exchange at COP29.</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4" name="Picture 23">
            <a:extLst>
              <a:ext uri="{FF2B5EF4-FFF2-40B4-BE49-F238E27FC236}">
                <a16:creationId xmlns:a16="http://schemas.microsoft.com/office/drawing/2014/main" id="{7A9A016A-39E5-A398-846A-75F34806E2A6}"/>
              </a:ext>
            </a:extLst>
          </p:cNvPr>
          <p:cNvPicPr>
            <a:picLocks noChangeAspect="1"/>
          </p:cNvPicPr>
          <p:nvPr/>
        </p:nvPicPr>
        <p:blipFill>
          <a:blip r:embed="rId27"/>
          <a:stretch>
            <a:fillRect/>
          </a:stretch>
        </p:blipFill>
        <p:spPr>
          <a:xfrm>
            <a:off x="557115" y="4946911"/>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86063786-3CE3-98C6-C82B-BB0F84C52F3A}"/>
              </a:ext>
            </a:extLst>
          </p:cNvPr>
          <p:cNvPicPr>
            <a:picLocks noChangeAspect="1"/>
          </p:cNvPicPr>
          <p:nvPr/>
        </p:nvPicPr>
        <p:blipFill>
          <a:blip r:embed="rId28"/>
          <a:stretch>
            <a:fillRect/>
          </a:stretch>
        </p:blipFill>
        <p:spPr>
          <a:xfrm>
            <a:off x="557115" y="4529759"/>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284BC391-F49E-EB9F-BA74-FC0123A8FF1F}"/>
              </a:ext>
            </a:extLst>
          </p:cNvPr>
          <p:cNvPicPr>
            <a:picLocks noChangeAspect="1"/>
          </p:cNvPicPr>
          <p:nvPr/>
        </p:nvPicPr>
        <p:blipFill>
          <a:blip r:embed="rId29"/>
          <a:stretch>
            <a:fillRect/>
          </a:stretch>
        </p:blipFill>
        <p:spPr>
          <a:xfrm>
            <a:off x="557115" y="3892595"/>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0BEA5FBE-3C03-6E32-471F-ACBC49C7A545}"/>
              </a:ext>
            </a:extLst>
          </p:cNvPr>
          <p:cNvPicPr>
            <a:picLocks noChangeAspect="1"/>
          </p:cNvPicPr>
          <p:nvPr/>
        </p:nvPicPr>
        <p:blipFill>
          <a:blip r:embed="rId30"/>
          <a:stretch>
            <a:fillRect/>
          </a:stretch>
        </p:blipFill>
        <p:spPr>
          <a:xfrm>
            <a:off x="557115" y="3386718"/>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1D8AD58B-81AE-0BAC-E5A9-565746F5178A}"/>
              </a:ext>
            </a:extLst>
          </p:cNvPr>
          <p:cNvPicPr>
            <a:picLocks noChangeAspect="1"/>
          </p:cNvPicPr>
          <p:nvPr/>
        </p:nvPicPr>
        <p:blipFill>
          <a:blip r:embed="rId31"/>
          <a:stretch>
            <a:fillRect/>
          </a:stretch>
        </p:blipFill>
        <p:spPr>
          <a:xfrm>
            <a:off x="557115" y="2542393"/>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A04C5CA1-1BBB-B4C2-7B42-7DB26839104F}"/>
              </a:ext>
            </a:extLst>
          </p:cNvPr>
          <p:cNvPicPr>
            <a:picLocks noChangeAspect="1"/>
          </p:cNvPicPr>
          <p:nvPr/>
        </p:nvPicPr>
        <p:blipFill>
          <a:blip r:embed="rId32"/>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42120A56-68D1-44B7-D84C-B38E39FE5C72}"/>
              </a:ext>
            </a:extLst>
          </p:cNvPr>
          <p:cNvPicPr>
            <a:picLocks noChangeAspect="1"/>
          </p:cNvPicPr>
          <p:nvPr/>
        </p:nvPicPr>
        <p:blipFill>
          <a:blip r:embed="rId33"/>
          <a:stretch>
            <a:fillRect/>
          </a:stretch>
        </p:blipFill>
        <p:spPr>
          <a:xfrm>
            <a:off x="557115" y="5303940"/>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168952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393873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5" imgH="405" progId="TCLayout.ActiveDocument.1">
                  <p:embed/>
                </p:oleObj>
              </mc:Choice>
              <mc:Fallback>
                <p:oleObj name="think-cell Slide" r:id="rId10"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Industry emissions reduction: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4"/>
            </p:custDataLst>
          </p:nvPr>
        </p:nvCxnSpPr>
        <p:spPr bwMode="gray">
          <a:xfrm>
            <a:off x="571500" y="409314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5"/>
            </p:custDataLst>
          </p:nvPr>
        </p:nvCxnSpPr>
        <p:spPr bwMode="gray">
          <a:xfrm>
            <a:off x="571500" y="337479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266338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7"/>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Ch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2"/>
              </a:rPr>
              <a:t>South China Pos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3"/>
              </a:rPr>
              <a:t>Envilianc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 As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4"/>
              </a:rPr>
              <a:t>Enerdat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Carbon Pulse</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6"/>
              </a:rPr>
              <a:t>SCMP</a:t>
            </a:r>
            <a:r>
              <a:rPr lang="en-US" dirty="0">
                <a:solidFill>
                  <a:srgbClr val="000000"/>
                </a:solidFill>
                <a:latin typeface="Calibri"/>
              </a:rPr>
              <a:t>; South Kore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Argu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Invest Korea</a:t>
            </a:r>
            <a:r>
              <a:rPr lang="en-US" dirty="0">
                <a:solidFill>
                  <a:srgbClr val="000000"/>
                </a:solidFill>
                <a:latin typeface="Calibri"/>
              </a:rPr>
              <a:t>; South Africa: </a:t>
            </a:r>
            <a:r>
              <a:rPr lang="en-US" dirty="0">
                <a:solidFill>
                  <a:srgbClr val="000000"/>
                </a:solidFill>
                <a:latin typeface="Calibri"/>
                <a:hlinkClick r:id="rId19"/>
              </a:rPr>
              <a:t>The Presidency Republic of South Africa</a:t>
            </a:r>
            <a:r>
              <a:rPr lang="en-US" dirty="0">
                <a:solidFill>
                  <a:srgbClr val="000000"/>
                </a:solidFill>
                <a:latin typeface="Calibri"/>
              </a:rPr>
              <a:t> ; Mexico:</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H2 Energy New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2, China released a plan to achieve peak emissions by 2030 in carbon-intensive industrie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 targets low-carbon hydrogen production of between 0.1 - 0.2 million tons per year by 2025 as part of its Medium and Long-term Plan for Hydrogen Energy Industry Development (2021-2035). China is planning to expand its current ETS to cover industry.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China pledged to cut heavy industry emissions by 84 million </a:t>
            </a:r>
            <a:r>
              <a:rPr kumimoji="0" lang="en-US" sz="12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tonnes</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by 2025, focusing on energy efficiency in steel, cement, and refining.</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78964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699388"/>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th Korea has set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arget to reduce emissions in industry by 11.4% by 2030 compared to 2018 levels</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2, South Korea released a target to sourc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7.1% of the country's energy mix from hydrogen by</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36</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Korea announced a plan to develop a CCUS value chain and to secur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 billion tonnes of </a:t>
            </a:r>
            <a:r>
              <a:rPr kumimoji="0" lang="en-US" sz="1200" b="1" i="0" u="none" strike="noStrike" kern="1200" cap="none" spc="0" normalizeH="0" baseline="0" noProof="0" dirty="0">
                <a:ln>
                  <a:noFill/>
                </a:ln>
                <a:solidFill>
                  <a:srgbClr val="000000"/>
                </a:solidFill>
                <a:effectLst/>
                <a:uLnTx/>
                <a:uFillTx/>
                <a:latin typeface="Calibri"/>
                <a:ea typeface="+mn-ea"/>
                <a:cs typeface="+mn-cs"/>
              </a:rPr>
              <a:t>CO</a:t>
            </a:r>
            <a:r>
              <a:rPr kumimoji="0" lang="en-US" sz="1200" b="1" i="0" u="none" strike="noStrike" kern="1200" cap="none" spc="0" normalizeH="0" baseline="-25000" noProof="0" dirty="0">
                <a:ln>
                  <a:noFill/>
                </a:ln>
                <a:solidFill>
                  <a:srgbClr val="000000"/>
                </a:solidFill>
                <a:effectLst/>
                <a:uLnTx/>
                <a:uFillTx/>
                <a:latin typeface="Calibri"/>
                <a:ea typeface="+mn-ea"/>
                <a:cs typeface="+mn-cs"/>
              </a:rPr>
              <a:t>2</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torage by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government offers tax credits of 20-40% for technologies including CCUS and hydrogen. Industrial emissions are covered by an ETS.</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47057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410794"/>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s Just Energy Transition Investment Plan includes an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aspirational target contingent on international financing of 60 GW of green hydrogen electrolyser capacity</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s part of the development goals for achieving the country's emissions reduction commitments. Industrial emissions are covered by a carbon price.</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18892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12914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 has proposed a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bill to promote green hydrogen</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nnounced in 2020, Mexico’s Strategy to Promote the Use of Cleaner Technologies and Fuels aims to "develop the regulatory framework and regulations that allow carbon capture and storage projects.” Industrial emissions are covered by an ETS.</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8"/>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AD746285-306A-AF66-5A93-0684BB46CB96}"/>
              </a:ext>
            </a:extLst>
          </p:cNvPr>
          <p:cNvPicPr>
            <a:picLocks noChangeAspect="1"/>
          </p:cNvPicPr>
          <p:nvPr/>
        </p:nvPicPr>
        <p:blipFill>
          <a:blip r:embed="rId21"/>
          <a:stretch>
            <a:fillRect/>
          </a:stretch>
        </p:blipFill>
        <p:spPr>
          <a:xfrm>
            <a:off x="557115" y="3488547"/>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17DFE80D-C3F8-9D93-597D-7E690FAEF558}"/>
              </a:ext>
            </a:extLst>
          </p:cNvPr>
          <p:cNvPicPr>
            <a:picLocks noChangeAspect="1"/>
          </p:cNvPicPr>
          <p:nvPr/>
        </p:nvPicPr>
        <p:blipFill>
          <a:blip r:embed="rId22"/>
          <a:stretch>
            <a:fillRect/>
          </a:stretch>
        </p:blipFill>
        <p:spPr>
          <a:xfrm>
            <a:off x="557115" y="2803438"/>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868E69D0-1CD4-08AC-682C-39C80CD5021A}"/>
              </a:ext>
            </a:extLst>
          </p:cNvPr>
          <p:cNvPicPr>
            <a:picLocks noChangeAspect="1"/>
          </p:cNvPicPr>
          <p:nvPr/>
        </p:nvPicPr>
        <p:blipFill>
          <a:blip r:embed="rId23"/>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C478725E-AA44-364F-DF2C-4E1131B3518B}"/>
              </a:ext>
            </a:extLst>
          </p:cNvPr>
          <p:cNvPicPr>
            <a:picLocks noChangeAspect="1"/>
          </p:cNvPicPr>
          <p:nvPr/>
        </p:nvPicPr>
        <p:blipFill>
          <a:blip r:embed="rId24"/>
          <a:stretch>
            <a:fillRect/>
          </a:stretch>
        </p:blipFill>
        <p:spPr>
          <a:xfrm>
            <a:off x="557115" y="4207558"/>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88756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306195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5" imgH="405" progId="TCLayout.ActiveDocument.1">
                  <p:embed/>
                </p:oleObj>
              </mc:Choice>
              <mc:Fallback>
                <p:oleObj name="think-cell Slide" r:id="rId10"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Low-carbon agriculture: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4"/>
            </p:custDataLst>
          </p:nvPr>
        </p:nvCxnSpPr>
        <p:spPr bwMode="gray">
          <a:xfrm>
            <a:off x="571500" y="466115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5"/>
            </p:custDataLst>
          </p:nvPr>
        </p:nvCxnSpPr>
        <p:spPr bwMode="gray">
          <a:xfrm>
            <a:off x="571500" y="355521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6"/>
            </p:custDataLst>
          </p:nvPr>
        </p:nvCxnSpPr>
        <p:spPr bwMode="gray">
          <a:xfrm>
            <a:off x="571500" y="271973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flation Reduction Act</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provides subsidies to support conservation activities by agricultural producers, farmers, ranchers, and forest landowners e.g. the Conservation Stewardship Program (CSP) has a funding package of $3.25bn that provides farmers payments for enhancing soil carbon, reducing nitrogen losses, and sequestering CO2 and CH4 emissions associated with agricultural production. In 2024 the U.S. Congress announced a bill to reallocate IRA funding originally intended for climate-smart farm practices. </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76470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755731"/>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missions Reduction Fund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s a voluntary scheme that aims to reduce Australia's greenhouse gas emissions by providing incentives to encourage farmers to reduce emissions in the agricultural sector. A number of activities are eligible under the scheme. Farmers taking part in these activities may be able to earn Australian carbon credit units (ACCUs) per stored or avoided ton CO2. ACCUs may be sold to generate additional income, either to the government through a Carbon Abatement Contract, or on the secondary market.</a:t>
            </a: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65099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591219"/>
            <a:ext cx="9847754" cy="9694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part of Canada's 2030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missions Reductions Pla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country introduced new funding for emissions reductions in agriculture, including: </a:t>
            </a:r>
          </a:p>
          <a:p>
            <a:pPr marL="400050" marR="0" lvl="1"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470 million to the Agricultural Climate Solutions: On-Farm Climate Action Fund.</a:t>
            </a:r>
          </a:p>
          <a:p>
            <a:pPr marL="400050" marR="0" lvl="1"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50 million for a resilient agricultural landscapes program to support carbon sequestration, adaptation and address other environmental co-benefit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0, Canada announced to set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ational fertilizer emission reduction target of 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elow 2020 levels by 2030.</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697155"/>
            <a:ext cx="9847754" cy="16004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European Commission announced a target in May 2020 to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duce fertilizer use by at least 20% by 2030</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dditionally, the EU aims to adopt th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arm to Fork Strategy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y the end of 2023. This strategy will promote the transition to sustainable food systems through the adoption of environmentally friendly and climate-smart food production practice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1, Germany passed th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limate Change Act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at provides for a reduction of annual emissions in agriculture to 56 MtCO2e by 2030. The German Sustainability Strategy for 2021 sets out an agreement to limit nitrogen surplus to 70 kg/ha of agricultural land in the five-year average from 2028-2032.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EU provides direct payments to farmers promoting sustainable agricultural practices under th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mmon Agricultural Policy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P).</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98910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57688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7"/>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A594AD80-5DE4-3FFA-EE2C-0B25571D16A4}"/>
              </a:ext>
            </a:extLst>
          </p:cNvPr>
          <p:cNvPicPr>
            <a:picLocks noChangeAspect="1"/>
          </p:cNvPicPr>
          <p:nvPr/>
        </p:nvPicPr>
        <p:blipFill>
          <a:blip r:embed="rId12"/>
          <a:stretch>
            <a:fillRect/>
          </a:stretch>
        </p:blipFill>
        <p:spPr>
          <a:xfrm>
            <a:off x="557115" y="2779782"/>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9F967EFF-FB92-2D06-CB1C-653A0ADEB619}"/>
              </a:ext>
            </a:extLst>
          </p:cNvPr>
          <p:cNvPicPr>
            <a:picLocks noChangeAspect="1"/>
          </p:cNvPicPr>
          <p:nvPr/>
        </p:nvPicPr>
        <p:blipFill>
          <a:blip r:embed="rId13"/>
          <a:stretch>
            <a:fillRect/>
          </a:stretch>
        </p:blipFill>
        <p:spPr>
          <a:xfrm>
            <a:off x="557115" y="366514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746AD1D7-F860-642F-49D7-60946A737407}"/>
              </a:ext>
            </a:extLst>
          </p:cNvPr>
          <p:cNvPicPr>
            <a:picLocks noChangeAspect="1"/>
          </p:cNvPicPr>
          <p:nvPr/>
        </p:nvPicPr>
        <p:blipFill>
          <a:blip r:embed="rId14"/>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31877043-1E44-6C58-EB6B-3871C18647ED}"/>
              </a:ext>
            </a:extLst>
          </p:cNvPr>
          <p:cNvPicPr>
            <a:picLocks noChangeAspect="1"/>
          </p:cNvPicPr>
          <p:nvPr/>
        </p:nvPicPr>
        <p:blipFill>
          <a:blip r:embed="rId15"/>
          <a:stretch>
            <a:fillRect/>
          </a:stretch>
        </p:blipFill>
        <p:spPr>
          <a:xfrm>
            <a:off x="557115" y="5001175"/>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4B7501B4-0051-2B6A-E235-3BE36530654D}"/>
              </a:ext>
            </a:extLst>
          </p:cNvPr>
          <p:cNvPicPr>
            <a:picLocks noChangeAspect="1"/>
          </p:cNvPicPr>
          <p:nvPr/>
        </p:nvPicPr>
        <p:blipFill>
          <a:blip r:embed="rId16"/>
          <a:stretch>
            <a:fillRect/>
          </a:stretch>
        </p:blipFill>
        <p:spPr>
          <a:xfrm>
            <a:off x="557115" y="5598217"/>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55CC9209-7566-13F8-77C5-B940F397FBF0}"/>
              </a:ext>
            </a:extLst>
          </p:cNvPr>
          <p:cNvPicPr>
            <a:picLocks noChangeAspect="1"/>
          </p:cNvPicPr>
          <p:nvPr/>
        </p:nvPicPr>
        <p:blipFill>
          <a:blip r:embed="rId17"/>
          <a:stretch>
            <a:fillRect/>
          </a:stretch>
        </p:blipFill>
        <p:spPr>
          <a:xfrm>
            <a:off x="557115" y="5301824"/>
            <a:ext cx="233367" cy="155578"/>
          </a:xfrm>
          <a:prstGeom prst="rect">
            <a:avLst/>
          </a:prstGeom>
          <a:ln>
            <a:noFill/>
          </a:ln>
          <a:effectLst>
            <a:outerShdw blurRad="50800" dist="38100" dir="2700000" algn="tl" rotWithShape="0">
              <a:prstClr val="black">
                <a:alpha val="40000"/>
              </a:prstClr>
            </a:outerShdw>
          </a:effectLst>
        </p:spPr>
      </p:pic>
      <p:sp>
        <p:nvSpPr>
          <p:cNvPr id="38" name="TextBox 37">
            <a:extLst>
              <a:ext uri="{FF2B5EF4-FFF2-40B4-BE49-F238E27FC236}">
                <a16:creationId xmlns:a16="http://schemas.microsoft.com/office/drawing/2014/main" id="{98E16F99-7FB5-382B-EC4A-93C7D9D50B6C}"/>
              </a:ext>
            </a:extLst>
          </p:cNvPr>
          <p:cNvSpPr txBox="1"/>
          <p:nvPr/>
        </p:nvSpPr>
        <p:spPr>
          <a:xfrm>
            <a:off x="881849" y="528299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39" name="5. Source">
            <a:extLst>
              <a:ext uri="{FF2B5EF4-FFF2-40B4-BE49-F238E27FC236}">
                <a16:creationId xmlns:a16="http://schemas.microsoft.com/office/drawing/2014/main" id="{2F403B54-A756-1072-4E70-F9E82DF08EB2}"/>
              </a:ext>
            </a:extLst>
          </p:cNvPr>
          <p:cNvSpPr txBox="1"/>
          <p:nvPr>
            <p:custDataLst>
              <p:tags r:id="rId8"/>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dirty="0">
                <a:solidFill>
                  <a:srgbClr val="000000"/>
                </a:solidFill>
                <a:latin typeface="Calibri"/>
              </a:rPr>
              <a:t>Sources: USA</a:t>
            </a:r>
            <a:r>
              <a:rPr lang="en-US" dirty="0">
                <a:solidFill>
                  <a:schemeClr val="accent4"/>
                </a:solidFill>
                <a:latin typeface="Calibri"/>
              </a:rPr>
              <a:t>: </a:t>
            </a:r>
            <a:r>
              <a:rPr lang="en-US" dirty="0">
                <a:solidFill>
                  <a:srgbClr val="0000FF"/>
                </a:solidFill>
                <a:latin typeface="Calibri"/>
                <a:hlinkClick r:id="rId18">
                  <a:extLst>
                    <a:ext uri="{A12FA001-AC4F-418D-AE19-62706E023703}">
                      <ahyp:hlinkClr xmlns:ahyp="http://schemas.microsoft.com/office/drawing/2018/hyperlinkcolor" val="tx"/>
                    </a:ext>
                  </a:extLst>
                </a:hlinkClick>
              </a:rPr>
              <a:t>USDA</a:t>
            </a:r>
            <a:r>
              <a:rPr lang="en-US">
                <a:solidFill>
                  <a:srgbClr val="0000FF"/>
                </a:solidFill>
                <a:latin typeface="Calibri"/>
              </a:rPr>
              <a:t>, </a:t>
            </a:r>
            <a:r>
              <a:rPr lang="en-US">
                <a:solidFill>
                  <a:srgbClr val="0000FF"/>
                </a:solidFill>
                <a:latin typeface="Calibri"/>
                <a:hlinkClick r:id="rId19"/>
              </a:rPr>
              <a:t>Reuters</a:t>
            </a:r>
            <a:r>
              <a:rPr lang="en-US" dirty="0">
                <a:solidFill>
                  <a:srgbClr val="000000"/>
                </a:solidFill>
                <a:latin typeface="Calibri"/>
              </a:rPr>
              <a:t>; Australia: </a:t>
            </a:r>
            <a:r>
              <a:rPr lang="en-US" dirty="0">
                <a:solidFill>
                  <a:srgbClr val="0000FF"/>
                </a:solidFill>
                <a:latin typeface="Calibri"/>
                <a:hlinkClick r:id="rId20">
                  <a:extLst>
                    <a:ext uri="{A12FA001-AC4F-418D-AE19-62706E023703}">
                      <ahyp:hlinkClr xmlns:ahyp="http://schemas.microsoft.com/office/drawing/2018/hyperlinkcolor" val="tx"/>
                    </a:ext>
                  </a:extLst>
                </a:hlinkClick>
              </a:rPr>
              <a:t>Australian Government</a:t>
            </a:r>
            <a:r>
              <a:rPr lang="en-US" dirty="0">
                <a:solidFill>
                  <a:srgbClr val="000000"/>
                </a:solidFill>
                <a:latin typeface="Calibri"/>
              </a:rPr>
              <a:t>; Canada: </a:t>
            </a:r>
            <a:r>
              <a:rPr lang="en-US" dirty="0">
                <a:solidFill>
                  <a:srgbClr val="0000FF"/>
                </a:solidFill>
                <a:latin typeface="Calibri"/>
                <a:hlinkClick r:id="rId20">
                  <a:extLst>
                    <a:ext uri="{A12FA001-AC4F-418D-AE19-62706E023703}">
                      <ahyp:hlinkClr xmlns:ahyp="http://schemas.microsoft.com/office/drawing/2018/hyperlinkcolor" val="tx"/>
                    </a:ext>
                  </a:extLst>
                </a:hlinkClick>
              </a:rPr>
              <a:t>Environment and Climate Change Canada</a:t>
            </a:r>
            <a:r>
              <a:rPr lang="en-US" dirty="0">
                <a:solidFill>
                  <a:srgbClr val="000000"/>
                </a:solidFill>
                <a:latin typeface="Calibri"/>
              </a:rPr>
              <a:t>; EU: </a:t>
            </a:r>
            <a:r>
              <a:rPr lang="en-US" dirty="0">
                <a:solidFill>
                  <a:srgbClr val="0000FF"/>
                </a:solidFill>
                <a:latin typeface="Calibri"/>
                <a:hlinkClick r:id="rId21">
                  <a:extLst>
                    <a:ext uri="{A12FA001-AC4F-418D-AE19-62706E023703}">
                      <ahyp:hlinkClr xmlns:ahyp="http://schemas.microsoft.com/office/drawing/2018/hyperlinkcolor" val="tx"/>
                    </a:ext>
                  </a:extLst>
                </a:hlinkClick>
              </a:rPr>
              <a:t>European Commission</a:t>
            </a:r>
            <a:r>
              <a:rPr lang="en-US" dirty="0">
                <a:solidFill>
                  <a:srgbClr val="0000FF"/>
                </a:solidFill>
                <a:latin typeface="Calibri"/>
              </a:rPr>
              <a:t>, </a:t>
            </a:r>
            <a:r>
              <a:rPr lang="en-US" dirty="0">
                <a:solidFill>
                  <a:srgbClr val="0000FF"/>
                </a:solidFill>
                <a:latin typeface="Calibri"/>
                <a:hlinkClick r:id="rId22">
                  <a:extLst>
                    <a:ext uri="{A12FA001-AC4F-418D-AE19-62706E023703}">
                      <ahyp:hlinkClr xmlns:ahyp="http://schemas.microsoft.com/office/drawing/2018/hyperlinkcolor" val="tx"/>
                    </a:ext>
                  </a:extLst>
                </a:hlinkClick>
              </a:rPr>
              <a:t>European Commission</a:t>
            </a:r>
            <a:r>
              <a:rPr lang="en-US" dirty="0">
                <a:solidFill>
                  <a:srgbClr val="0000FF"/>
                </a:solidFill>
                <a:latin typeface="Calibri"/>
              </a:rPr>
              <a:t>, </a:t>
            </a:r>
            <a:r>
              <a:rPr lang="en-US" dirty="0">
                <a:solidFill>
                  <a:srgbClr val="0000FF"/>
                </a:solidFill>
                <a:latin typeface="Calibri"/>
                <a:hlinkClick r:id="rId23">
                  <a:extLst>
                    <a:ext uri="{A12FA001-AC4F-418D-AE19-62706E023703}">
                      <ahyp:hlinkClr xmlns:ahyp="http://schemas.microsoft.com/office/drawing/2018/hyperlinkcolor" val="tx"/>
                    </a:ext>
                  </a:extLst>
                </a:hlinkClick>
              </a:rPr>
              <a:t>BMEL</a:t>
            </a:r>
            <a:r>
              <a:rPr lang="en-US" dirty="0">
                <a:solidFill>
                  <a:srgbClr val="0000FF"/>
                </a:solidFill>
                <a:latin typeface="Calibri"/>
              </a:rPr>
              <a:t>, </a:t>
            </a:r>
            <a:r>
              <a:rPr lang="en-US" dirty="0" err="1">
                <a:solidFill>
                  <a:srgbClr val="0000FF"/>
                </a:solidFill>
                <a:latin typeface="Calibri"/>
                <a:hlinkClick r:id="rId24">
                  <a:extLst>
                    <a:ext uri="{A12FA001-AC4F-418D-AE19-62706E023703}">
                      <ahyp:hlinkClr xmlns:ahyp="http://schemas.microsoft.com/office/drawing/2018/hyperlinkcolor" val="tx"/>
                    </a:ext>
                  </a:extLst>
                </a:hlinkClick>
              </a:rPr>
              <a:t>Acatech</a:t>
            </a:r>
            <a:r>
              <a:rPr lang="en-US" dirty="0">
                <a:solidFill>
                  <a:srgbClr val="0000FF"/>
                </a:solidFill>
                <a:latin typeface="Calibri"/>
              </a:rPr>
              <a:t>, </a:t>
            </a:r>
            <a:r>
              <a:rPr lang="en-US" dirty="0">
                <a:solidFill>
                  <a:srgbClr val="0000FF"/>
                </a:solidFill>
                <a:latin typeface="Calibri"/>
                <a:hlinkClick r:id="rId21">
                  <a:extLst>
                    <a:ext uri="{A12FA001-AC4F-418D-AE19-62706E023703}">
                      <ahyp:hlinkClr xmlns:ahyp="http://schemas.microsoft.com/office/drawing/2018/hyperlinkcolor" val="tx"/>
                    </a:ext>
                  </a:extLst>
                </a:hlinkClick>
              </a:rPr>
              <a:t>European Commission</a:t>
            </a:r>
            <a:r>
              <a:rPr lang="en-US" dirty="0">
                <a:solidFill>
                  <a:srgbClr val="000000"/>
                </a:solidFill>
                <a:latin typeface="Calibri"/>
              </a:rPr>
              <a:t>.</a:t>
            </a:r>
            <a:endParaRPr kumimoji="0" lang="en-US" sz="1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917559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53401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5" imgH="405" progId="TCLayout.ActiveDocument.1">
                  <p:embed/>
                </p:oleObj>
              </mc:Choice>
              <mc:Fallback>
                <p:oleObj name="think-cell Slide" r:id="rId10"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Low-carbon agriculture: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26821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5"/>
            </p:custDataLst>
          </p:nvPr>
        </p:nvCxnSpPr>
        <p:spPr bwMode="gray">
          <a:xfrm>
            <a:off x="571500" y="379370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296954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7"/>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Japan</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2"/>
              </a:rPr>
              <a:t>USD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3"/>
              </a:rPr>
              <a:t>Maff.Go</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Vietnam: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S&amp;P Global</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5"/>
              </a:rPr>
              <a:t>VietnamNew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Korea: </a:t>
            </a:r>
            <a:r>
              <a:rPr lang="en-US" dirty="0">
                <a:solidFill>
                  <a:srgbClr val="000000"/>
                </a:solidFill>
                <a:latin typeface="Calibri"/>
                <a:hlinkClick r:id="rId16"/>
              </a:rPr>
              <a:t>SFO°C</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razi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Gov.br</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IIS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Since 2011, Japan has provided direct payments to farmers who engage in activities that effectively combat global warming and/or conserve biodiversity while reducing the use of synthetic fertilizers and pesticides by over 50% compared to conventional farming practices in the region. The financial support ranges from 800 to 12,000 Yen (equivalent to US$6 to US$86) per acre.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Additionally, in 2022, the Ministry of Agriculture, Forestry, and Fisheries released 2030 targets for its “Green Food System Strategy,” which include a 10.6% reduction in carbon dioxide emissions, a 20% reduction in the use of chemical fertilizers, and a 10% reduction in the use of chemical pesticides.</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06532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005548"/>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 has not yet introduced subsidies linked to emissions reduction, but it has set target caps for agriculture sector emissions. In July 2022, the country approved its National Climate Change Strategy for 2050, which includes targets for emissions reductions in all sectors, including agriculture. The target for agriculture is to reduce emissions by 43% by 2030 and 63.1% by 2050, both compared to its business-as-usual scenario. In 2024, Vietnam and Brazil strengthened agricultural trade, focusing on sustainability and reducing carbon footprints.</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88947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82970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 provides direct payments to farmers, through domestic policies, supporting adoption of agri-environmental practices, eco-friendliness and land preservation.</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36399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304212"/>
            <a:ext cx="9847754"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a:t>
            </a:r>
            <a:r>
              <a:rPr kumimoji="0" lang="en-US" sz="120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RenovAgro</a:t>
            </a: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 rebranded in 2023 aims to promote low-carbon agriculture through financial incentives. It offers investment credit to support sustainable practices such as no-till farming, integrated crop-livestock-forestry systems, organic production, and environmental compliance.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2, the Brazilian government rolled out a new nationwide initiative to help the country reduce carbon emissions in agriculture and ranching for the period of 2020 to 2030 by 1.1bn tCO2. The goal is to recover 30 million hectares of degraded pastures; cultivate up to 12.5 million hectares in no-tillage systems; implement 10.10 million hectares in integrated production systems; plant 4 million hectares of forest; and use bio-inputs on 13 million hectares.</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8"/>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65D141EA-B9EA-7506-339D-B515973BCF02}"/>
              </a:ext>
            </a:extLst>
          </p:cNvPr>
          <p:cNvPicPr>
            <a:picLocks noChangeAspect="1"/>
          </p:cNvPicPr>
          <p:nvPr/>
        </p:nvPicPr>
        <p:blipFill>
          <a:blip r:embed="rId19"/>
          <a:stretch>
            <a:fillRect/>
          </a:stretch>
        </p:blipFill>
        <p:spPr>
          <a:xfrm>
            <a:off x="557115" y="3905256"/>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01AC6168-BC21-F001-6693-ADAFC9F0C280}"/>
              </a:ext>
            </a:extLst>
          </p:cNvPr>
          <p:cNvPicPr>
            <a:picLocks noChangeAspect="1"/>
          </p:cNvPicPr>
          <p:nvPr/>
        </p:nvPicPr>
        <p:blipFill>
          <a:blip r:embed="rId20"/>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8C24FE63-7BAF-9A43-81B2-CB8EC2F986C7}"/>
              </a:ext>
            </a:extLst>
          </p:cNvPr>
          <p:cNvPicPr>
            <a:picLocks noChangeAspect="1"/>
          </p:cNvPicPr>
          <p:nvPr/>
        </p:nvPicPr>
        <p:blipFill>
          <a:blip r:embed="rId21"/>
          <a:stretch>
            <a:fillRect/>
          </a:stretch>
        </p:blipFill>
        <p:spPr>
          <a:xfrm>
            <a:off x="557115" y="3087704"/>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935CCF54-9EB7-DD5A-4D5A-C10AEF335487}"/>
              </a:ext>
            </a:extLst>
          </p:cNvPr>
          <p:cNvPicPr>
            <a:picLocks noChangeAspect="1"/>
          </p:cNvPicPr>
          <p:nvPr/>
        </p:nvPicPr>
        <p:blipFill>
          <a:blip r:embed="rId22"/>
          <a:stretch>
            <a:fillRect/>
          </a:stretch>
        </p:blipFill>
        <p:spPr>
          <a:xfrm>
            <a:off x="557115" y="4374239"/>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262580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32208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Low-carbon agriculture: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15649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53719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04637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7"/>
            </p:custDataLst>
          </p:nvPr>
        </p:nvCxnSpPr>
        <p:spPr bwMode="gray">
          <a:xfrm>
            <a:off x="571500" y="290130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8"/>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UK: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Gov.UK</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Gov.UK</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Gov.UK</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6"/>
              </a:rPr>
              <a:t>GovUK</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h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Climate change new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World bank grou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Mexico: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OEC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IEA</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Directorate of climate change</a:t>
            </a:r>
            <a:r>
              <a:rPr lang="en-US" dirty="0">
                <a:solidFill>
                  <a:srgbClr val="000000"/>
                </a:solidFill>
                <a:latin typeface="Calibri"/>
              </a:rPr>
              <a:t>; India: </a:t>
            </a:r>
            <a:r>
              <a:rPr kumimoji="0" lang="en-US" sz="1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a:solidFill>
                  <a:srgbClr val="000000"/>
                </a:solidFill>
                <a:latin typeface="Calibri"/>
                <a:hlinkClick r:id="rId21"/>
              </a:rPr>
              <a:t>International Carbon Action Partnership</a:t>
            </a:r>
            <a:r>
              <a:rPr lang="en-US">
                <a:solidFill>
                  <a:srgbClr val="000000"/>
                </a:solidFill>
                <a:latin typeface="Calibri"/>
              </a:rPr>
              <a:t>, </a:t>
            </a:r>
            <a:r>
              <a:rPr lang="en-US">
                <a:solidFill>
                  <a:srgbClr val="000000"/>
                </a:solidFill>
                <a:latin typeface="Calibri"/>
                <a:hlinkClick r:id="rId22"/>
              </a:rPr>
              <a:t>Epaper</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3, the UK are currently piloting th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ustainable Farming Incentive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FI) which is part of the Environmental Land Management Scheme, a move away from the EU CAP. The SFI will pay £20 per ha management payment per year, for up to the first 50 ha entered into SFI actions. This will represent a maximum payment of up to £1,000 per year. In addition, the UK set a target to </a:t>
            </a:r>
            <a:r>
              <a:rPr kumimoji="0" lang="en-US" sz="120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decarbonise</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griculture emissions by a total of up to 6 million tCO2e per annum by the Sixth Carbon Budget (2033-2037). In 2024, the UK updated its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gricultural transition plan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o boost sustainability, farmer-led innovation, and environmental incentives.</a:t>
            </a:r>
            <a:endParaRPr kumimoji="0" lang="en-US" sz="1200" b="0" i="0" u="none" strike="noStrike" kern="1200" cap="none" spc="0" normalizeH="0" baseline="0" noProof="0" dirty="0">
              <a:ln>
                <a:noFill/>
              </a:ln>
              <a:solidFill>
                <a:srgbClr val="FF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01739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937301"/>
            <a:ext cx="9847754"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hina announced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inancial incentives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eared toward reducing agricultural related emissions with partnerships from The World Bank. In April 2023, China committed $4.1bn to support the greening of agriculture and rural development. The program will reduce greenhouse gas (GHG) emissions from crop and livestock farming, increase carbon sequestration in farmlands, and improve biodiversity protection and restoration in agricultural ecosystem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dditionally, in July 2022, China's National Development &amp; Reform Commission and Ministry of Agriculture &amp; Rural Affairs released an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tion plan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o reduce carbon emissions in agriculture.</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14215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082373"/>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xico set the target of 22% reduction in GHG emissions by 2030. Further, Mexico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centivizes investments in emission reduction projects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rough its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rbon tax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ith the option for farmers to participate in carbon markets substituting tax payments with certified emission reductions. </a:t>
            </a: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63296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57319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Türkiye published its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limate Change Mitigation Strategy and Action Plan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utlining its strategies to reduce greenhouse gas emissions across various sectors including agriculture. It emphasizes the development of carbon pricing mechanisms and the establishment of an Emissions Trading Scheme in alignment with the EU ETS.</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25227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19249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India legislated th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ergy Conservation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mendment) Bill to develop domestic carbon markets - the bill can benefit the adoption of sustainable farming practices, create a tangible ecosystem for the development of voluntary carbon markets and improve agricultural output. In 2024, Punjab allocated Rs64 billion to agriculture, boosting subsidies, solarizing tube-wells, and supporting farmers through the </a:t>
            </a:r>
            <a:r>
              <a:rPr kumimoji="0" lang="en-US" sz="120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Kissan</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rd Scheme.</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9"/>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2FA36ED8-3926-D2F2-7B6B-325A141EEB53}"/>
              </a:ext>
            </a:extLst>
          </p:cNvPr>
          <p:cNvPicPr>
            <a:picLocks noChangeAspect="1"/>
          </p:cNvPicPr>
          <p:nvPr/>
        </p:nvPicPr>
        <p:blipFill>
          <a:blip r:embed="rId23"/>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01246216-A3A8-E7D6-EFC5-9B4A881D6DAD}"/>
              </a:ext>
            </a:extLst>
          </p:cNvPr>
          <p:cNvPicPr>
            <a:picLocks noChangeAspect="1"/>
          </p:cNvPicPr>
          <p:nvPr/>
        </p:nvPicPr>
        <p:blipFill>
          <a:blip r:embed="rId24"/>
          <a:stretch>
            <a:fillRect/>
          </a:stretch>
        </p:blipFill>
        <p:spPr>
          <a:xfrm>
            <a:off x="557115" y="3035034"/>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D515C3F3-A125-F091-EB4A-4EBFEDAD9ED5}"/>
              </a:ext>
            </a:extLst>
          </p:cNvPr>
          <p:cNvPicPr>
            <a:picLocks noChangeAspect="1"/>
          </p:cNvPicPr>
          <p:nvPr/>
        </p:nvPicPr>
        <p:blipFill>
          <a:blip r:embed="rId25"/>
          <a:stretch>
            <a:fillRect/>
          </a:stretch>
        </p:blipFill>
        <p:spPr>
          <a:xfrm>
            <a:off x="557115" y="4655013"/>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08FE1319-C93C-4E7B-5E29-21E9F7819E3F}"/>
              </a:ext>
            </a:extLst>
          </p:cNvPr>
          <p:cNvPicPr>
            <a:picLocks noChangeAspect="1"/>
          </p:cNvPicPr>
          <p:nvPr/>
        </p:nvPicPr>
        <p:blipFill>
          <a:blip r:embed="rId26"/>
          <a:stretch>
            <a:fillRect/>
          </a:stretch>
        </p:blipFill>
        <p:spPr>
          <a:xfrm>
            <a:off x="557115" y="4161001"/>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E33A9AA0-ADB8-18A2-B170-DF76A46514D1}"/>
              </a:ext>
            </a:extLst>
          </p:cNvPr>
          <p:cNvPicPr>
            <a:picLocks noChangeAspect="1"/>
          </p:cNvPicPr>
          <p:nvPr/>
        </p:nvPicPr>
        <p:blipFill>
          <a:blip r:embed="rId27"/>
          <a:stretch>
            <a:fillRect/>
          </a:stretch>
        </p:blipFill>
        <p:spPr>
          <a:xfrm>
            <a:off x="557115" y="5261926"/>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08005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789515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et Zero Target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24598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70643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87041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24136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72126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22587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rces: Mexico: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5"/>
              </a:rPr>
              <a:t>Bloomberg</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rgentina: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6"/>
              </a:rPr>
              <a:t>Net zero target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Brazil: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7"/>
              </a:rPr>
              <a:t>UNFCCC</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UK: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8"/>
              </a:rPr>
              <a:t>UK Government</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9"/>
              </a:rPr>
              <a:t>Reuter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lang="en-GB">
                <a:hlinkClick r:id="rId20"/>
              </a:rPr>
              <a:t>The King’s Speech 2024</a:t>
            </a:r>
            <a:r>
              <a:rPr lang="en-US">
                <a:solidFill>
                  <a:srgbClr val="000000"/>
                </a:solidFill>
                <a:latin typeface="Calibri"/>
              </a:rPr>
              <a:t>;</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USA: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1"/>
              </a:rPr>
              <a:t> EPA</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China: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2"/>
              </a:rPr>
              <a:t>Bloomberg</a:t>
            </a:r>
            <a:r>
              <a:rPr lang="en-US">
                <a:solidFill>
                  <a:srgbClr val="000000"/>
                </a:solidFill>
                <a:latin typeface="Calibri"/>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3"/>
              </a:rPr>
              <a:t>Climate Cooperation China</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4"/>
              </a:rPr>
              <a:t>Reuter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5"/>
              </a:rPr>
              <a:t>Bloomberg</a:t>
            </a:r>
            <a:r>
              <a:rPr lang="en-US">
                <a:solidFill>
                  <a:srgbClr val="000000"/>
                </a:solidFill>
                <a:latin typeface="Calibri"/>
              </a:rPr>
              <a:t>;</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Japan: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6"/>
              </a:rPr>
              <a:t>Reuter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during COP29, Mexico committed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hieving a net-zero economy by 2050</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joining global leaders in combating climate change.</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39784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26187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November 2021, Argentina announced a target under its NDC to not exceed net emissions of 349 million tonnes of </a:t>
            </a:r>
            <a:r>
              <a:rPr kumimoji="0" lang="en-US" sz="1200" b="0" i="0" u="none" strike="noStrike" kern="1200" cap="none" spc="0" normalizeH="0" baseline="0" noProof="0" dirty="0">
                <a:ln>
                  <a:noFill/>
                </a:ln>
                <a:solidFill>
                  <a:srgbClr val="000000"/>
                </a:solidFill>
                <a:effectLst/>
                <a:uLnTx/>
                <a:uFillTx/>
                <a:latin typeface="Calibri"/>
                <a:ea typeface="+mn-ea"/>
                <a:cs typeface="+mn-cs"/>
              </a:rPr>
              <a:t>CO</a:t>
            </a:r>
            <a:r>
              <a:rPr kumimoji="0" lang="en-US" sz="1200" b="0" i="0" u="none" strike="noStrike" kern="1200" cap="none" spc="0" normalizeH="0" baseline="-25000" noProof="0" dirty="0">
                <a:ln>
                  <a:noFill/>
                </a:ln>
                <a:solidFill>
                  <a:srgbClr val="000000"/>
                </a:solidFill>
                <a:effectLst/>
                <a:uLnTx/>
                <a:uFillTx/>
                <a:latin typeface="Calibri"/>
                <a:ea typeface="+mn-ea"/>
                <a:cs typeface="+mn-cs"/>
              </a:rPr>
              <a:t>2</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y 2030.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y have also set an intention of being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t-zero by 2050</a:t>
            </a:r>
            <a:r>
              <a:rPr kumimoji="0" lang="en-GB" sz="1200" b="0" i="0" u="none" strike="noStrike" kern="1200" cap="none" spc="0" normalizeH="0" baseline="0" noProof="0" dirty="0">
                <a:ln>
                  <a:noFill/>
                </a:ln>
                <a:solidFill>
                  <a:srgbClr val="000000"/>
                </a:solidFill>
                <a:effectLst/>
                <a:uLnTx/>
                <a:uFillTx/>
                <a:latin typeface="Calibri"/>
                <a:ea typeface="+mn-ea"/>
                <a:cs typeface="+mn-cs"/>
              </a:rPr>
              <a:t>.</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90276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757265"/>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part of its latest NDC Brazil announced in 2022, Brazil set a target t</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 reduce emissions by 50% between 2005 and 203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is target is in line with Brazil’s indicative target of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aching climate neutrality by 205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39429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27736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UK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legislated to meet a net zero target for 2050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at includes all greenhouse gasses</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1 the UK announced that it aims to reduce greenhouse gas emissions by 78% by 2035 based on 1990 levels. In 2024 the UK announced increased investment to fund its net zero and clean power transition</a:t>
            </a:r>
            <a:r>
              <a:rPr lang="en-GB" sz="1200" dirty="0">
                <a:solidFill>
                  <a:srgbClr val="000000"/>
                </a:solidFill>
                <a:latin typeface="Calibri"/>
              </a:rPr>
              <a:t> as well as a new climate goal of aiming for an </a:t>
            </a:r>
            <a:r>
              <a:rPr lang="en-GB" sz="1200" b="1" dirty="0">
                <a:solidFill>
                  <a:srgbClr val="000000"/>
                </a:solidFill>
                <a:latin typeface="Calibri"/>
              </a:rPr>
              <a:t>81% reduction in UK emissions by 2035</a:t>
            </a:r>
            <a:r>
              <a:rPr lang="en-GB" sz="1200" dirty="0">
                <a:solidFill>
                  <a:srgbClr val="000000"/>
                </a:solidFill>
                <a:latin typeface="Calibri"/>
              </a:rPr>
              <a:t>.</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070969"/>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906417"/>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GB" sz="1200" dirty="0">
                <a:solidFill>
                  <a:srgbClr val="000000"/>
                </a:solidFill>
                <a:latin typeface="Calibri"/>
              </a:rPr>
              <a:t>The</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iden Administration issued an executive order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hieve net zero by 205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or federal operations in 2021. The US also set out pathways to achieving 2050 net zero in the 2021 policy document, ‘The Long-term Strategy of the United States – Pathways to Net-Zero Greenhouse Gas Emissions by 2050’. Newly announced policies under the Trump administration </a:t>
            </a:r>
            <a:r>
              <a:rPr lang="en-GB" sz="1200" dirty="0">
                <a:solidFill>
                  <a:srgbClr val="000000"/>
                </a:solidFill>
                <a:latin typeface="Calibri"/>
              </a:rPr>
              <a:t>may undermine achieving this target, including rescinding policies for net zero in transport and other industries. </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88793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742435"/>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hina has announced a target to peak </a:t>
            </a:r>
            <a:r>
              <a:rPr kumimoji="0" lang="en-US" sz="1200" i="0" u="none" strike="noStrike" kern="1200" cap="none" spc="0" normalizeH="0" baseline="0" noProof="0" dirty="0">
                <a:ln>
                  <a:noFill/>
                </a:ln>
                <a:solidFill>
                  <a:srgbClr val="000000"/>
                </a:solidFill>
                <a:effectLst/>
                <a:uLnTx/>
                <a:uFillTx/>
                <a:latin typeface="Calibri"/>
                <a:ea typeface="+mn-ea"/>
                <a:cs typeface="+mn-cs"/>
              </a:rPr>
              <a:t>CO</a:t>
            </a:r>
            <a:r>
              <a:rPr kumimoji="0" lang="en-US" sz="1200" i="0" u="none" strike="noStrike" kern="1200" cap="none" spc="0" normalizeH="0" baseline="-25000" noProof="0" dirty="0">
                <a:ln>
                  <a:noFill/>
                </a:ln>
                <a:solidFill>
                  <a:srgbClr val="000000"/>
                </a:solidFill>
                <a:effectLst/>
                <a:uLnTx/>
                <a:uFillTx/>
                <a:latin typeface="Calibri"/>
                <a:ea typeface="+mn-ea"/>
                <a:cs typeface="+mn-cs"/>
              </a:rPr>
              <a:t>2</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missions by 2030 an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hieve carbon neutrality by 206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is target was reaffirmed by President Xi in October 2022. In 2024 China announced several plans aimed at implement low-carbon technologies, setting emission standards, and other carbon reforms.</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41796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28198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0 Japan announced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rbon neutrality target for 205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part of its latest NDC, Japan has committed to a near-term target of reducing GHG emissions by 46% in 2030, compared with 2013 levels.</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18" name="Picture 17">
            <a:extLst>
              <a:ext uri="{FF2B5EF4-FFF2-40B4-BE49-F238E27FC236}">
                <a16:creationId xmlns:a16="http://schemas.microsoft.com/office/drawing/2014/main" id="{C605D06D-4328-B470-00E3-C05322031AFB}"/>
              </a:ext>
            </a:extLst>
          </p:cNvPr>
          <p:cNvPicPr>
            <a:picLocks noChangeAspect="1"/>
          </p:cNvPicPr>
          <p:nvPr/>
        </p:nvPicPr>
        <p:blipFill>
          <a:blip r:embed="rId27"/>
          <a:stretch>
            <a:fillRect/>
          </a:stretch>
        </p:blipFill>
        <p:spPr>
          <a:xfrm>
            <a:off x="559063" y="1946549"/>
            <a:ext cx="233367" cy="155578"/>
          </a:xfrm>
          <a:prstGeom prst="rect">
            <a:avLst/>
          </a:prstGeom>
          <a:ln>
            <a:no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C77A8000-F039-B26F-F200-3D3DCDCE98D8}"/>
              </a:ext>
            </a:extLst>
          </p:cNvPr>
          <p:cNvPicPr>
            <a:picLocks noChangeAspect="1"/>
          </p:cNvPicPr>
          <p:nvPr/>
        </p:nvPicPr>
        <p:blipFill>
          <a:blip r:embed="rId28"/>
          <a:stretch>
            <a:fillRect/>
          </a:stretch>
        </p:blipFill>
        <p:spPr>
          <a:xfrm>
            <a:off x="559063" y="2423145"/>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81C893D6-169B-1C7B-42E6-78E857BE8A7F}"/>
              </a:ext>
            </a:extLst>
          </p:cNvPr>
          <p:cNvPicPr>
            <a:picLocks noChangeAspect="1"/>
          </p:cNvPicPr>
          <p:nvPr/>
        </p:nvPicPr>
        <p:blipFill>
          <a:blip r:embed="rId29"/>
          <a:stretch>
            <a:fillRect/>
          </a:stretch>
        </p:blipFill>
        <p:spPr>
          <a:xfrm>
            <a:off x="559063" y="2917841"/>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E2F072C3-39C6-EB45-4378-C220C375138B}"/>
              </a:ext>
            </a:extLst>
          </p:cNvPr>
          <p:cNvPicPr>
            <a:picLocks noChangeAspect="1"/>
          </p:cNvPicPr>
          <p:nvPr/>
        </p:nvPicPr>
        <p:blipFill>
          <a:blip r:embed="rId30"/>
          <a:stretch>
            <a:fillRect/>
          </a:stretch>
        </p:blipFill>
        <p:spPr>
          <a:xfrm>
            <a:off x="559063" y="3414047"/>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AE861BD9-86E6-53B0-E13D-12694D6E45A4}"/>
              </a:ext>
            </a:extLst>
          </p:cNvPr>
          <p:cNvPicPr>
            <a:picLocks noChangeAspect="1"/>
          </p:cNvPicPr>
          <p:nvPr/>
        </p:nvPicPr>
        <p:blipFill>
          <a:blip r:embed="rId31"/>
          <a:stretch>
            <a:fillRect/>
          </a:stretch>
        </p:blipFill>
        <p:spPr>
          <a:xfrm>
            <a:off x="559063" y="5432738"/>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EE79D3FA-04FA-0102-104B-E8F4DC964A8E}"/>
              </a:ext>
            </a:extLst>
          </p:cNvPr>
          <p:cNvPicPr>
            <a:picLocks noChangeAspect="1"/>
          </p:cNvPicPr>
          <p:nvPr/>
        </p:nvPicPr>
        <p:blipFill>
          <a:blip r:embed="rId32"/>
          <a:stretch>
            <a:fillRect/>
          </a:stretch>
        </p:blipFill>
        <p:spPr>
          <a:xfrm>
            <a:off x="559063" y="4085874"/>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6FF5B64A-EE4F-CFF0-4E93-4EEF35D4222C}"/>
              </a:ext>
            </a:extLst>
          </p:cNvPr>
          <p:cNvPicPr>
            <a:picLocks noChangeAspect="1"/>
          </p:cNvPicPr>
          <p:nvPr/>
        </p:nvPicPr>
        <p:blipFill>
          <a:blip r:embed="rId33"/>
          <a:stretch>
            <a:fillRect/>
          </a:stretch>
        </p:blipFill>
        <p:spPr>
          <a:xfrm>
            <a:off x="559063" y="4897997"/>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332635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32313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05" imgH="405" progId="TCLayout.ActiveDocument.1">
                  <p:embed/>
                </p:oleObj>
              </mc:Choice>
              <mc:Fallback>
                <p:oleObj name="think-cell Slide" r:id="rId12"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Low-carbon agriculture: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78394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35872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77094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7"/>
            </p:custDataLst>
          </p:nvPr>
        </p:nvCxnSpPr>
        <p:spPr bwMode="gray">
          <a:xfrm>
            <a:off x="571500" y="259539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8"/>
            </p:custDataLst>
          </p:nvPr>
        </p:nvCxnSpPr>
        <p:spPr bwMode="gray">
          <a:xfrm>
            <a:off x="571500" y="224431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9"/>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dirty="0">
                <a:solidFill>
                  <a:srgbClr val="000000"/>
                </a:solidFill>
                <a:latin typeface="Calibri"/>
              </a:rPr>
              <a:t>Sources: Argentina: </a:t>
            </a:r>
            <a:r>
              <a:rPr lang="en-US" dirty="0">
                <a:solidFill>
                  <a:srgbClr val="000000"/>
                </a:solidFill>
                <a:latin typeface="Calibri"/>
                <a:hlinkClick r:id="rId14"/>
              </a:rPr>
              <a:t>Argus</a:t>
            </a:r>
            <a:r>
              <a:rPr lang="en-US" dirty="0">
                <a:solidFill>
                  <a:srgbClr val="000000"/>
                </a:solidFill>
                <a:latin typeface="Calibri"/>
              </a:rPr>
              <a:t>; Nigeria: </a:t>
            </a:r>
            <a:r>
              <a:rPr lang="en-US" dirty="0">
                <a:solidFill>
                  <a:srgbClr val="000000"/>
                </a:solidFill>
                <a:latin typeface="Calibri"/>
                <a:hlinkClick r:id="rId15"/>
              </a:rPr>
              <a:t>Climate Action Tracker</a:t>
            </a:r>
            <a:r>
              <a:rPr lang="en-US" dirty="0">
                <a:solidFill>
                  <a:srgbClr val="000000"/>
                </a:solidFill>
                <a:latin typeface="Calibri"/>
              </a:rPr>
              <a:t>; Indonesia: </a:t>
            </a:r>
            <a:r>
              <a:rPr lang="en-US" dirty="0">
                <a:solidFill>
                  <a:srgbClr val="0000FF"/>
                </a:solidFill>
                <a:latin typeface="Calibri"/>
                <a:hlinkClick r:id="rId16">
                  <a:extLst>
                    <a:ext uri="{A12FA001-AC4F-418D-AE19-62706E023703}">
                      <ahyp:hlinkClr xmlns:ahyp="http://schemas.microsoft.com/office/drawing/2018/hyperlinkcolor" val="tx"/>
                    </a:ext>
                  </a:extLst>
                </a:hlinkClick>
              </a:rPr>
              <a:t>CIPS</a:t>
            </a:r>
            <a:r>
              <a:rPr lang="en-US" dirty="0">
                <a:solidFill>
                  <a:srgbClr val="0000FF"/>
                </a:solidFill>
                <a:latin typeface="Calibri"/>
              </a:rPr>
              <a:t>; </a:t>
            </a:r>
            <a:r>
              <a:rPr lang="en-US" dirty="0">
                <a:solidFill>
                  <a:srgbClr val="0000FF"/>
                </a:solidFill>
                <a:latin typeface="Calibri"/>
                <a:hlinkClick r:id="rId17">
                  <a:extLst>
                    <a:ext uri="{A12FA001-AC4F-418D-AE19-62706E023703}">
                      <ahyp:hlinkClr xmlns:ahyp="http://schemas.microsoft.com/office/drawing/2018/hyperlinkcolor" val="tx"/>
                    </a:ext>
                  </a:extLst>
                </a:hlinkClick>
              </a:rPr>
              <a:t>Reuters</a:t>
            </a:r>
            <a:r>
              <a:rPr lang="en-US" dirty="0">
                <a:solidFill>
                  <a:srgbClr val="000000"/>
                </a:solidFill>
                <a:latin typeface="Calibri"/>
              </a:rPr>
              <a:t>; Russia: </a:t>
            </a:r>
            <a:r>
              <a:rPr lang="en-US" dirty="0">
                <a:solidFill>
                  <a:srgbClr val="0000FF"/>
                </a:solidFill>
                <a:latin typeface="Calibri"/>
                <a:hlinkClick r:id="rId18">
                  <a:extLst>
                    <a:ext uri="{A12FA001-AC4F-418D-AE19-62706E023703}">
                      <ahyp:hlinkClr xmlns:ahyp="http://schemas.microsoft.com/office/drawing/2018/hyperlinkcolor" val="tx"/>
                    </a:ext>
                  </a:extLst>
                </a:hlinkClick>
              </a:rPr>
              <a:t>DGB</a:t>
            </a:r>
            <a:r>
              <a:rPr lang="en-US" dirty="0">
                <a:solidFill>
                  <a:srgbClr val="000000"/>
                </a:solidFill>
                <a:latin typeface="Calibri"/>
              </a:rPr>
              <a:t>; South Africa: </a:t>
            </a:r>
            <a:r>
              <a:rPr lang="en-US" dirty="0">
                <a:solidFill>
                  <a:srgbClr val="0000FF"/>
                </a:solidFill>
                <a:latin typeface="Calibri"/>
                <a:hlinkClick r:id="rId19">
                  <a:extLst>
                    <a:ext uri="{A12FA001-AC4F-418D-AE19-62706E023703}">
                      <ahyp:hlinkClr xmlns:ahyp="http://schemas.microsoft.com/office/drawing/2018/hyperlinkcolor" val="tx"/>
                    </a:ext>
                  </a:extLst>
                </a:hlinkClick>
              </a:rPr>
              <a:t>EDF.org</a:t>
            </a:r>
            <a:r>
              <a:rPr lang="en-US" dirty="0">
                <a:solidFill>
                  <a:srgbClr val="000000"/>
                </a:solidFill>
                <a:latin typeface="Calibri"/>
              </a:rPr>
              <a:t>.</a:t>
            </a:r>
            <a:endParaRPr kumimoji="0" lang="en-US" sz="1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24598"/>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igeria announced plans to unveil a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rbon tax policy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centivizing also farmers to reduce GHG emissions through generating carbon credits. </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34009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28031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rgentina announced the creation of an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missions trading system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o reduce GHG emissions through market-driven policies.</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69117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631396"/>
            <a:ext cx="9847754"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part of the 2022 updated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ational Determined Contribution</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onesia has announced a GHG reduction target for the agriculture sector at 10 Mt CO</a:t>
            </a:r>
            <a:r>
              <a:rPr kumimoji="0" lang="en-US" sz="1200" i="0" u="none" strike="noStrike" kern="1200" cap="none" spc="0" normalizeH="0" baseline="-25000" noProof="0" dirty="0">
                <a:ln>
                  <a:noFill/>
                </a:ln>
                <a:solidFill>
                  <a:srgbClr val="000000"/>
                </a:solidFill>
                <a:effectLst/>
                <a:uLnTx/>
                <a:uFillTx/>
                <a:latin typeface="Calibri"/>
                <a:ea typeface="+mn-ea"/>
                <a:cs typeface="Arial" panose="020B0604020202020204" pitchFamily="34" charset="0"/>
              </a:rPr>
              <a:t>2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quivalent in an unconditional mitigation scenario and 12 Mt CO</a:t>
            </a:r>
            <a:r>
              <a:rPr kumimoji="0" lang="en-US" sz="1200" i="0" u="none" strike="noStrike" kern="1200" cap="none" spc="0" normalizeH="0" baseline="-25000" noProof="0" dirty="0">
                <a:ln>
                  <a:noFill/>
                </a:ln>
                <a:solidFill>
                  <a:srgbClr val="000000"/>
                </a:solidFill>
                <a:effectLst/>
                <a:uLnTx/>
                <a:uFillTx/>
                <a:latin typeface="Calibri"/>
                <a:ea typeface="+mn-ea"/>
                <a:cs typeface="Arial" panose="020B0604020202020204" pitchFamily="34" charset="0"/>
              </a:rPr>
              <a:t>2</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q in a conditional scenario, aiming to reduce emissions by respectively 0.3 and 0.4 percent compared to business as usual scenarios.</a:t>
            </a:r>
            <a:endParaRPr kumimoji="0" lang="en-US" sz="1200" i="0" u="none" strike="noStrike" kern="1200" cap="none" spc="0" normalizeH="0" baseline="30000" noProof="0" dirty="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dirty="0">
                <a:solidFill>
                  <a:srgbClr val="000000"/>
                </a:solidFill>
                <a:latin typeface="Calibri"/>
              </a:rPr>
              <a:t>Additionally, Indonesia has implemented </a:t>
            </a:r>
            <a:r>
              <a:rPr lang="en-US" sz="1200" b="1" dirty="0">
                <a:solidFill>
                  <a:srgbClr val="000000"/>
                </a:solidFill>
                <a:latin typeface="Calibri"/>
              </a:rPr>
              <a:t>biofuel initiatives</a:t>
            </a:r>
            <a:r>
              <a:rPr lang="en-US" sz="1200" dirty="0">
                <a:solidFill>
                  <a:srgbClr val="000000"/>
                </a:solidFill>
                <a:latin typeface="Calibri"/>
              </a:rPr>
              <a:t>, which require specific percentages of renewable palm oil-based biofuels for agricultural practices and machinery to reduce GHG emissions in the agriculture sector.</a:t>
            </a:r>
            <a:endParaRPr kumimoji="0" lang="en-US" sz="1200" i="0" u="none" strike="noStrike" kern="1200" cap="none" spc="0" normalizeH="0" baseline="3000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86672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80694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carbon tax of South Africa aims at reducing GHG emissions also in the agriculture sector enabling farmers to implement projects that sequester carbon and reduce GHG emissions generating tradable carbon credits. </a:t>
            </a: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45450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394724"/>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udi Arabia does not engage in agricultural activities.</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87972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81994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Russia launched a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voluntary carbon offsetting scheme</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llowing agricultural enterprises to develop projects that reduce GHG emissions, enabling them to generate carbon credits to be traded in the market. </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0"/>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06FD0B4F-173D-9B56-4865-D7808020AE5D}"/>
              </a:ext>
            </a:extLst>
          </p:cNvPr>
          <p:cNvPicPr>
            <a:picLocks noChangeAspect="1"/>
          </p:cNvPicPr>
          <p:nvPr/>
        </p:nvPicPr>
        <p:blipFill>
          <a:blip r:embed="rId20"/>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212A2221-6191-C940-5D3C-CE9879D3C7B2}"/>
              </a:ext>
            </a:extLst>
          </p:cNvPr>
          <p:cNvPicPr>
            <a:picLocks noChangeAspect="1"/>
          </p:cNvPicPr>
          <p:nvPr/>
        </p:nvPicPr>
        <p:blipFill>
          <a:blip r:embed="rId21"/>
          <a:stretch>
            <a:fillRect/>
          </a:stretch>
        </p:blipFill>
        <p:spPr>
          <a:xfrm>
            <a:off x="557115" y="234987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A280721-EEAE-E3B6-131F-2759812FCA89}"/>
              </a:ext>
            </a:extLst>
          </p:cNvPr>
          <p:cNvPicPr>
            <a:picLocks noChangeAspect="1"/>
          </p:cNvPicPr>
          <p:nvPr/>
        </p:nvPicPr>
        <p:blipFill>
          <a:blip r:embed="rId22"/>
          <a:stretch>
            <a:fillRect/>
          </a:stretch>
        </p:blipFill>
        <p:spPr>
          <a:xfrm>
            <a:off x="557115" y="4465255"/>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C4BB0F8C-C6A1-0067-4F5B-841B7A92F4B7}"/>
              </a:ext>
            </a:extLst>
          </p:cNvPr>
          <p:cNvPicPr>
            <a:picLocks noChangeAspect="1"/>
          </p:cNvPicPr>
          <p:nvPr/>
        </p:nvPicPr>
        <p:blipFill>
          <a:blip r:embed="rId23"/>
          <a:stretch>
            <a:fillRect/>
          </a:stretch>
        </p:blipFill>
        <p:spPr>
          <a:xfrm>
            <a:off x="557115" y="2712457"/>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DB35874D-44C1-DEFD-9337-33F1D6165B4A}"/>
              </a:ext>
            </a:extLst>
          </p:cNvPr>
          <p:cNvPicPr>
            <a:picLocks noChangeAspect="1"/>
          </p:cNvPicPr>
          <p:nvPr/>
        </p:nvPicPr>
        <p:blipFill>
          <a:blip r:embed="rId24"/>
          <a:stretch>
            <a:fillRect/>
          </a:stretch>
        </p:blipFill>
        <p:spPr>
          <a:xfrm>
            <a:off x="557115" y="3868868"/>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A457DDDF-1F98-04B5-67EB-428410B755DE}"/>
              </a:ext>
            </a:extLst>
          </p:cNvPr>
          <p:cNvPicPr>
            <a:picLocks noChangeAspect="1"/>
          </p:cNvPicPr>
          <p:nvPr/>
        </p:nvPicPr>
        <p:blipFill>
          <a:blip r:embed="rId25"/>
          <a:stretch>
            <a:fillRect/>
          </a:stretch>
        </p:blipFill>
        <p:spPr>
          <a:xfrm>
            <a:off x="557115" y="4903714"/>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35610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95996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5" imgH="405" progId="TCLayout.ActiveDocument.1">
                  <p:embed/>
                </p:oleObj>
              </mc:Choice>
              <mc:Fallback>
                <p:oleObj name="think-cell Slide" r:id="rId15"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et deforestation1: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16299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65650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84801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7"/>
            </p:custDataLst>
          </p:nvPr>
        </p:nvCxnSpPr>
        <p:spPr bwMode="gray">
          <a:xfrm>
            <a:off x="571500" y="336333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8"/>
            </p:custDataLst>
          </p:nvPr>
        </p:nvCxnSpPr>
        <p:spPr bwMode="gray">
          <a:xfrm>
            <a:off x="571500" y="269135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9"/>
            </p:custDataLst>
          </p:nvPr>
        </p:nvSpPr>
        <p:spPr>
          <a:xfrm>
            <a:off x="565987" y="6419163"/>
            <a:ext cx="1148313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ustral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UNFCC</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Australian Governmen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UNFCCC</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Government of Canad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Government of Canad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a:solidFill>
                  <a:srgbClr val="000000"/>
                </a:solidFill>
                <a:latin typeface="Calibri"/>
                <a:hlinkClick r:id="rId21"/>
              </a:rPr>
              <a:t>Cision</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ranc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European Commiss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DGB Group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ermany: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German Government</a:t>
            </a:r>
            <a:r>
              <a:rPr lang="en-US">
                <a:solidFill>
                  <a:srgbClr val="000000"/>
                </a:solidFill>
                <a:latin typeface="Calibri"/>
              </a:rPr>
              <a:t>, </a:t>
            </a:r>
            <a:r>
              <a:rPr lang="en-US">
                <a:solidFill>
                  <a:srgbClr val="000000"/>
                </a:solidFill>
                <a:latin typeface="Calibri"/>
                <a:hlinkClick r:id="rId25"/>
              </a:rPr>
              <a:t>Bmel</a:t>
            </a:r>
            <a:r>
              <a:rPr lang="en-US">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UNFCCC</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7"/>
              </a:rPr>
              <a:t>FAO</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taly: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European Commiss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Kore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UNFCCC</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Afric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8"/>
              </a:rPr>
              <a:t>South African Governmen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Australia, afforestation and reforestation projects can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qualify for emissions offset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nder the Emissions Reduction Fund. The government has allocat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UD$70m (US$50m) towards the 20m Trees Programme</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ustrali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igned the 'Glasgow Leaders' Declaration on Forests and Land Use by 203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November 2021 to halt deforestation.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Queensland had the highest rates of deforestation, with 75% of cases exempt from assessment under state vegetation management laws</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78713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72735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nada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ed net deforestation</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 signed the 'Glasgow Leaders' Declaration on Forests and Land Use by 2030' in November 2021 to halt deforestation.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November 2024, the Canadian government announced an additional investment of over $200 million for more than 30 new tree-planting projects, which will result in over 160 million new trees across the country</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45911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39933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rance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ed net deforestation</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 €200 million fund for European afforestation was launched by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rance Valley in June 2024. This fund targets afforestation, reforestation, and revegetation (ARR) projects across Europe, focusing on areas with secure land rights and high biodiversity potential</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94378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884010"/>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ermany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ed net deforest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ermany released a Forest Strategy 2050 including action plans for forest adaption and conservation. The EU has enacted market-based mechanisms to promote afforestation, including the low-carbon certification, a voluntary carbon-offsetting scheme to promote local greenhouse gas reducing projects.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Germany held hearings on amending the Federal Forest Act to enhance climate resilience, biodiversity, and sustainable forestry.</a:t>
            </a: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75227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69250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ia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ed net deforest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its NDC, India aims to reach </a:t>
            </a:r>
            <a:r>
              <a:rPr lang="en-GB" sz="1200" dirty="0">
                <a:solidFill>
                  <a:srgbClr val="000000"/>
                </a:solidFill>
                <a:latin typeface="Calibri"/>
              </a:rPr>
              <a:t>33</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orest cover and create a carbon sink of 2.5-3bn tonnes of </a:t>
            </a:r>
            <a:r>
              <a:rPr kumimoji="0" lang="en-US" sz="1200" i="0" u="none" strike="noStrike" kern="1200" cap="none" spc="0" normalizeH="0" baseline="0" noProof="0" dirty="0">
                <a:ln>
                  <a:noFill/>
                </a:ln>
                <a:solidFill>
                  <a:srgbClr val="000000"/>
                </a:solidFill>
                <a:effectLst/>
                <a:uLnTx/>
                <a:uFillTx/>
                <a:latin typeface="Calibri"/>
                <a:ea typeface="+mn-ea"/>
                <a:cs typeface="+mn-cs"/>
              </a:rPr>
              <a:t>CO</a:t>
            </a:r>
            <a:r>
              <a:rPr kumimoji="0" lang="en-US" sz="1200" i="0" u="none" strike="noStrike" kern="1200" cap="none" spc="0" normalizeH="0" baseline="-25000" noProof="0" dirty="0">
                <a:ln>
                  <a:noFill/>
                </a:ln>
                <a:solidFill>
                  <a:srgbClr val="000000"/>
                </a:solidFill>
                <a:effectLst/>
                <a:uLnTx/>
                <a:uFillTx/>
                <a:latin typeface="Calibri"/>
                <a:ea typeface="+mn-ea"/>
                <a:cs typeface="+mn-cs"/>
              </a:rPr>
              <a:t>2</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rough forest cover by 2030. The Government provides funding for afforestation and protection of ecosystems under the 2016 Compensatory Afforestation Fund Act. </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25877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19899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taly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ed net deforest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EU has enacted market-based mechanisms to promote afforestation, including the low-carbon certification, a voluntary carbon-offsetting scheme to promote local greenhouse gas reducing projects.</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0"/>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A8EBEEC6-F5A5-0130-BF37-2304D0D4AC67}"/>
              </a:ext>
            </a:extLst>
          </p:cNvPr>
          <p:cNvPicPr>
            <a:picLocks noChangeAspect="1"/>
          </p:cNvPicPr>
          <p:nvPr/>
        </p:nvPicPr>
        <p:blipFill>
          <a:blip r:embed="rId29"/>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A28CF207-8A03-B1E2-92FF-A785DF19172A}"/>
              </a:ext>
            </a:extLst>
          </p:cNvPr>
          <p:cNvPicPr>
            <a:picLocks noChangeAspect="1"/>
          </p:cNvPicPr>
          <p:nvPr/>
        </p:nvPicPr>
        <p:blipFill>
          <a:blip r:embed="rId30"/>
          <a:stretch>
            <a:fillRect/>
          </a:stretch>
        </p:blipFill>
        <p:spPr>
          <a:xfrm>
            <a:off x="557115" y="2801187"/>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7905F2AB-874B-A0CC-EC57-BE9277FC9EC3}"/>
              </a:ext>
            </a:extLst>
          </p:cNvPr>
          <p:cNvPicPr>
            <a:picLocks noChangeAspect="1"/>
          </p:cNvPicPr>
          <p:nvPr/>
        </p:nvPicPr>
        <p:blipFill>
          <a:blip r:embed="rId31"/>
          <a:stretch>
            <a:fillRect/>
          </a:stretch>
        </p:blipFill>
        <p:spPr>
          <a:xfrm>
            <a:off x="557115" y="3474811"/>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6FABD314-0C76-2B2C-14BD-7F94123F89D6}"/>
              </a:ext>
            </a:extLst>
          </p:cNvPr>
          <p:cNvPicPr>
            <a:picLocks noChangeAspect="1"/>
          </p:cNvPicPr>
          <p:nvPr/>
        </p:nvPicPr>
        <p:blipFill>
          <a:blip r:embed="rId32"/>
          <a:stretch>
            <a:fillRect/>
          </a:stretch>
        </p:blipFill>
        <p:spPr>
          <a:xfrm>
            <a:off x="557115" y="3954143"/>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1235FB42-ABE0-00DA-C4E8-8744301EC3F4}"/>
              </a:ext>
            </a:extLst>
          </p:cNvPr>
          <p:cNvPicPr>
            <a:picLocks noChangeAspect="1"/>
          </p:cNvPicPr>
          <p:nvPr/>
        </p:nvPicPr>
        <p:blipFill>
          <a:blip r:embed="rId33"/>
          <a:stretch>
            <a:fillRect/>
          </a:stretch>
        </p:blipFill>
        <p:spPr>
          <a:xfrm>
            <a:off x="557115" y="4767670"/>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BBCD0511-7739-24B9-ADB8-206679B09DC9}"/>
              </a:ext>
            </a:extLst>
          </p:cNvPr>
          <p:cNvPicPr>
            <a:picLocks noChangeAspect="1"/>
          </p:cNvPicPr>
          <p:nvPr/>
        </p:nvPicPr>
        <p:blipFill>
          <a:blip r:embed="rId34"/>
          <a:stretch>
            <a:fillRect/>
          </a:stretch>
        </p:blipFill>
        <p:spPr>
          <a:xfrm>
            <a:off x="557115" y="5273880"/>
            <a:ext cx="233367" cy="155578"/>
          </a:xfrm>
          <a:prstGeom prst="rect">
            <a:avLst/>
          </a:prstGeom>
          <a:ln>
            <a:noFill/>
          </a:ln>
          <a:effectLst>
            <a:outerShdw blurRad="50800" dist="38100" dir="2700000" algn="tl" rotWithShape="0">
              <a:prstClr val="black">
                <a:alpha val="40000"/>
              </a:prstClr>
            </a:outerShdw>
          </a:effectLst>
        </p:spPr>
      </p:pic>
      <p:cxnSp>
        <p:nvCxnSpPr>
          <p:cNvPr id="40" name="LineSeparatorDefault 463">
            <a:extLst>
              <a:ext uri="{FF2B5EF4-FFF2-40B4-BE49-F238E27FC236}">
                <a16:creationId xmlns:a16="http://schemas.microsoft.com/office/drawing/2014/main" id="{D1FD137C-D9FD-6EC0-7D56-BEB3FAD089B5}"/>
              </a:ext>
            </a:extLst>
          </p:cNvPr>
          <p:cNvCxnSpPr>
            <a:cxnSpLocks/>
          </p:cNvCxnSpPr>
          <p:nvPr>
            <p:custDataLst>
              <p:tags r:id="rId11"/>
            </p:custDataLst>
          </p:nvPr>
        </p:nvCxnSpPr>
        <p:spPr bwMode="gray">
          <a:xfrm>
            <a:off x="571499" y="600541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894DFC84-F3D0-073C-00B5-80B1C8DA0690}"/>
              </a:ext>
            </a:extLst>
          </p:cNvPr>
          <p:cNvSpPr txBox="1"/>
          <p:nvPr/>
        </p:nvSpPr>
        <p:spPr>
          <a:xfrm>
            <a:off x="881848" y="5753299"/>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42" name="TextBox 41">
            <a:extLst>
              <a:ext uri="{FF2B5EF4-FFF2-40B4-BE49-F238E27FC236}">
                <a16:creationId xmlns:a16="http://schemas.microsoft.com/office/drawing/2014/main" id="{813D2830-6611-F788-21AE-EF039AF12FC7}"/>
              </a:ext>
            </a:extLst>
          </p:cNvPr>
          <p:cNvSpPr txBox="1">
            <a:spLocks/>
          </p:cNvSpPr>
          <p:nvPr/>
        </p:nvSpPr>
        <p:spPr>
          <a:xfrm>
            <a:off x="1807670" y="5717124"/>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ational Forests Act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1998 protects all natural forest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e., forests with predominantly indigenous trees) from being cut, damaged, and destroyed.</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43" name="TextBox 42">
            <a:extLst>
              <a:ext uri="{FF2B5EF4-FFF2-40B4-BE49-F238E27FC236}">
                <a16:creationId xmlns:a16="http://schemas.microsoft.com/office/drawing/2014/main" id="{37AC9552-412A-3F6D-86D4-1BEA3FC49D5A}"/>
              </a:ext>
            </a:extLst>
          </p:cNvPr>
          <p:cNvSpPr txBox="1"/>
          <p:nvPr/>
        </p:nvSpPr>
        <p:spPr>
          <a:xfrm>
            <a:off x="881848" y="610119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44" name="TextBox 43">
            <a:extLst>
              <a:ext uri="{FF2B5EF4-FFF2-40B4-BE49-F238E27FC236}">
                <a16:creationId xmlns:a16="http://schemas.microsoft.com/office/drawing/2014/main" id="{3F73D374-3DEC-DD7F-686D-1A6E1A5C5832}"/>
              </a:ext>
            </a:extLst>
          </p:cNvPr>
          <p:cNvSpPr txBox="1">
            <a:spLocks/>
          </p:cNvSpPr>
          <p:nvPr/>
        </p:nvSpPr>
        <p:spPr>
          <a:xfrm>
            <a:off x="1807670" y="6041419"/>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igned the 'Glasgow Leaders' Declaration on Forests and Land Use by 2030'</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in November 2021 to halt deforestation.</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pic>
        <p:nvPicPr>
          <p:cNvPr id="45" name="Picture 44">
            <a:extLst>
              <a:ext uri="{FF2B5EF4-FFF2-40B4-BE49-F238E27FC236}">
                <a16:creationId xmlns:a16="http://schemas.microsoft.com/office/drawing/2014/main" id="{B54E8736-95A4-63F9-94E8-F40EE356E62D}"/>
              </a:ext>
            </a:extLst>
          </p:cNvPr>
          <p:cNvPicPr>
            <a:picLocks noChangeAspect="1"/>
          </p:cNvPicPr>
          <p:nvPr/>
        </p:nvPicPr>
        <p:blipFill>
          <a:blip r:embed="rId35"/>
          <a:stretch>
            <a:fillRect/>
          </a:stretch>
        </p:blipFill>
        <p:spPr>
          <a:xfrm>
            <a:off x="557114" y="6120675"/>
            <a:ext cx="233367" cy="155578"/>
          </a:xfrm>
          <a:prstGeom prst="rect">
            <a:avLst/>
          </a:prstGeom>
          <a:ln>
            <a:noFill/>
          </a:ln>
          <a:effectLst>
            <a:outerShdw blurRad="50800" dist="38100" dir="2700000" algn="tl" rotWithShape="0">
              <a:prstClr val="black">
                <a:alpha val="40000"/>
              </a:prstClr>
            </a:outerShdw>
          </a:effectLst>
        </p:spPr>
      </p:pic>
      <p:pic>
        <p:nvPicPr>
          <p:cNvPr id="46" name="Picture 45">
            <a:extLst>
              <a:ext uri="{FF2B5EF4-FFF2-40B4-BE49-F238E27FC236}">
                <a16:creationId xmlns:a16="http://schemas.microsoft.com/office/drawing/2014/main" id="{5C71CD45-5CF7-4A4E-C8E3-189921E79412}"/>
              </a:ext>
            </a:extLst>
          </p:cNvPr>
          <p:cNvPicPr>
            <a:picLocks noChangeAspect="1"/>
          </p:cNvPicPr>
          <p:nvPr/>
        </p:nvPicPr>
        <p:blipFill>
          <a:blip r:embed="rId36"/>
          <a:stretch>
            <a:fillRect/>
          </a:stretch>
        </p:blipFill>
        <p:spPr>
          <a:xfrm>
            <a:off x="557114" y="5767843"/>
            <a:ext cx="233367" cy="155578"/>
          </a:xfrm>
          <a:prstGeom prst="rect">
            <a:avLst/>
          </a:prstGeom>
          <a:ln>
            <a:noFill/>
          </a:ln>
          <a:effectLst>
            <a:outerShdw blurRad="50800" dist="38100" dir="2700000" algn="tl" rotWithShape="0">
              <a:prstClr val="black">
                <a:alpha val="40000"/>
              </a:prstClr>
            </a:outerShdw>
          </a:effectLst>
        </p:spPr>
      </p:pic>
      <p:cxnSp>
        <p:nvCxnSpPr>
          <p:cNvPr id="47" name="LineSeparatorDefault 463">
            <a:extLst>
              <a:ext uri="{FF2B5EF4-FFF2-40B4-BE49-F238E27FC236}">
                <a16:creationId xmlns:a16="http://schemas.microsoft.com/office/drawing/2014/main" id="{AB91728E-1436-E78D-F5DF-8825D846993E}"/>
              </a:ext>
            </a:extLst>
          </p:cNvPr>
          <p:cNvCxnSpPr>
            <a:cxnSpLocks/>
          </p:cNvCxnSpPr>
          <p:nvPr>
            <p:custDataLst>
              <p:tags r:id="rId12"/>
            </p:custDataLst>
          </p:nvPr>
        </p:nvCxnSpPr>
        <p:spPr bwMode="gray">
          <a:xfrm>
            <a:off x="571500" y="568112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4. Footnote">
            <a:extLst>
              <a:ext uri="{FF2B5EF4-FFF2-40B4-BE49-F238E27FC236}">
                <a16:creationId xmlns:a16="http://schemas.microsoft.com/office/drawing/2014/main" id="{D6C5584B-2374-A6BF-D869-A31DCFBA4F7A}"/>
              </a:ext>
            </a:extLst>
          </p:cNvPr>
          <p:cNvSpPr txBox="1"/>
          <p:nvPr>
            <p:custDataLst>
              <p:tags r:id="rId13"/>
            </p:custDataLst>
          </p:nvPr>
        </p:nvSpPr>
        <p:spPr>
          <a:xfrm>
            <a:off x="571500" y="6644088"/>
            <a:ext cx="10910233"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GB" sz="800" b="0" i="0" u="none" strike="noStrike" kern="1200" cap="none" spc="0" normalizeH="0" baseline="0" noProof="0">
                <a:ln>
                  <a:noFill/>
                </a:ln>
                <a:solidFill>
                  <a:srgbClr val="1D1C1D"/>
                </a:solidFill>
                <a:effectLst/>
                <a:uLnTx/>
                <a:uFillTx/>
                <a:latin typeface="Slack-Lato"/>
                <a:ea typeface="+mn-ea"/>
                <a:cs typeface="Arial" panose="020B0604020202020204" pitchFamily="34" charset="0"/>
              </a:rPr>
              <a:t>End of deforestation is defined as a reduction in average annual deforestation by more than 95% versus the 1990-2020 level alongside net increase in forest cover</a:t>
            </a:r>
            <a:r>
              <a:rPr kumimoji="0" lang="en-GB"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p>
        </p:txBody>
      </p:sp>
    </p:spTree>
    <p:extLst>
      <p:ext uri="{BB962C8B-B14F-4D97-AF65-F5344CB8AC3E}">
        <p14:creationId xmlns:p14="http://schemas.microsoft.com/office/powerpoint/2010/main" val="27825803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189936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et deforestation1: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27265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5"/>
            </p:custDataLst>
          </p:nvPr>
        </p:nvCxnSpPr>
        <p:spPr bwMode="gray">
          <a:xfrm>
            <a:off x="571500" y="442362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6"/>
            </p:custDataLst>
          </p:nvPr>
        </p:nvCxnSpPr>
        <p:spPr bwMode="gray">
          <a:xfrm>
            <a:off x="571500" y="389680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7"/>
            </p:custDataLst>
          </p:nvPr>
        </p:nvCxnSpPr>
        <p:spPr bwMode="gray">
          <a:xfrm>
            <a:off x="571500" y="304837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8"/>
            </p:custDataLst>
          </p:nvPr>
        </p:nvCxnSpPr>
        <p:spPr bwMode="gray">
          <a:xfrm>
            <a:off x="571500" y="235607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9"/>
            </p:custDataLst>
          </p:nvPr>
        </p:nvSpPr>
        <p:spPr>
          <a:xfrm>
            <a:off x="565987" y="6419163"/>
            <a:ext cx="1162601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US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US Department of Agriculture</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Mexico: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NDC</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7"/>
              </a:rPr>
              <a:t>Tecm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 Grou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Convention on Diversity</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rgent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UN-RED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0"/>
              </a:rPr>
              <a:t>Jduspr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K: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UK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Gov.uk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razi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Government of Brazil</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Brasil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5"/>
              </a:rPr>
              <a:t>Politico</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7"/>
              </a:rPr>
              <a:t>ECO NEW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8"/>
              </a:rPr>
              <a:t>APSNEW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h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9"/>
              </a:rPr>
              <a:t>UNFCCC</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30"/>
              </a:rPr>
              <a:t>UNFCCC</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31"/>
              </a:rPr>
              <a:t>Republic of Chin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Mexico set a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arget to reach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t zero deforestation by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Mexico’s 2019 National Development Plan 2019-2024 sets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forestation target of 1 million hectares</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yments to forest communities of $10-$40 per hectare per year to conserve forests.</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47217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39207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 released a plan</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18 outlining a goal of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20,000 annual ha of native forest restored by 2023. </a:t>
            </a:r>
            <a:r>
              <a:rPr lang="en-US" sz="1200" b="1">
                <a:solidFill>
                  <a:srgbClr val="000000"/>
                </a:solidFill>
                <a:latin typeface="Calibri"/>
              </a:rPr>
              <a:t>T</a:t>
            </a: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here are no specific reports confirming whether Argentina has met its 2023 restoration target.</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reen Insurance Initiative gives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1% of motor insurance premium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o</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ctivities such as forest implementation,</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management, irrigation, and protection - aiming to increase forest plantation to 2 million ha by 2030.</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14415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084378"/>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 targeted to</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recover native vegetation of at least 12 million hectare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of area by 2030. President Lula reinstated the Amazon Fund, a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1.2 billion fund to protect of the world’s largest rainforest</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fter a three-year period of inactivity. As of November 2024, the BRB Finance Coalition aims with a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10 billion to accelerate forest conservation and restoration across Brazil's ecosystems by 2030. In 2024, Brazil fined 23 meatpacking companies $64 million for sourcing cattle from illegally deforested Amazon land.</a:t>
            </a: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99258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93280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UK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ed net deforest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UK government has committed to use part of £640m in the Nature Climate Fund to achieve tree planting of 30,000 ha per year by 2025.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 Tree Planting Taskforce has been launched to oversee the planting of millions of trees across the UK's four nations</a:t>
            </a:r>
            <a:r>
              <a:rPr lang="en-US" sz="1200" dirty="0">
                <a:solidFill>
                  <a:srgbClr val="000000"/>
                </a:solidFill>
                <a:latin typeface="Calibri"/>
              </a:rPr>
              <a:t>.</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58036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459624"/>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President Biden signed an executive order which commits that the US will help deliver on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lobal goals to end natural forest loss by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whil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storing at least an additional 200 million hectare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f forests and other ecosystems. The 2022 Replant Act directs the Forest Service to plant more than a billion trees over the next decade and removes a cap of $30 million.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administration has made significant investments in forest conservation, including $1.5 billion for urban and community forests through the Inflation Reduction Act</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38875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30865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hina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ed net deforest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hina signed the 'Glasgow Leaders' Declaration on Forests and Land Use by 2030' in November 2021 to halt deforestation. China has a target to reach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5% forest coverage by 2030 and to increase forest volume stock by 6 billion cubic meters by 2030 relative to 2005 levels.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country plans to plant 500 million mu (about 33.33 million hectares) of forests and grasslands between 2021 and 2025</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0"/>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02607793-D391-40DB-D439-9E0D6BD90E98}"/>
              </a:ext>
            </a:extLst>
          </p:cNvPr>
          <p:cNvPicPr>
            <a:picLocks noChangeAspect="1"/>
          </p:cNvPicPr>
          <p:nvPr/>
        </p:nvPicPr>
        <p:blipFill>
          <a:blip r:embed="rId32"/>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4A9E907C-56F1-D0A4-5A74-0BE6090E3689}"/>
              </a:ext>
            </a:extLst>
          </p:cNvPr>
          <p:cNvPicPr>
            <a:picLocks noChangeAspect="1"/>
          </p:cNvPicPr>
          <p:nvPr/>
        </p:nvPicPr>
        <p:blipFill>
          <a:blip r:embed="rId33"/>
          <a:stretch>
            <a:fillRect/>
          </a:stretch>
        </p:blipFill>
        <p:spPr>
          <a:xfrm>
            <a:off x="557115" y="2487691"/>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1EC3B4F0-C323-2A17-8D62-159F66A52707}"/>
              </a:ext>
            </a:extLst>
          </p:cNvPr>
          <p:cNvPicPr>
            <a:picLocks noChangeAspect="1"/>
          </p:cNvPicPr>
          <p:nvPr/>
        </p:nvPicPr>
        <p:blipFill>
          <a:blip r:embed="rId34"/>
          <a:stretch>
            <a:fillRect/>
          </a:stretch>
        </p:blipFill>
        <p:spPr>
          <a:xfrm>
            <a:off x="557115" y="3162821"/>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B16AE2CD-3B1D-403B-A94E-E143F385E0E3}"/>
              </a:ext>
            </a:extLst>
          </p:cNvPr>
          <p:cNvPicPr>
            <a:picLocks noChangeAspect="1"/>
          </p:cNvPicPr>
          <p:nvPr/>
        </p:nvPicPr>
        <p:blipFill>
          <a:blip r:embed="rId35"/>
          <a:stretch>
            <a:fillRect/>
          </a:stretch>
        </p:blipFill>
        <p:spPr>
          <a:xfrm>
            <a:off x="557115" y="4007917"/>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ABABFEF6-93EB-029A-1187-8DD8DF903BAE}"/>
              </a:ext>
            </a:extLst>
          </p:cNvPr>
          <p:cNvPicPr>
            <a:picLocks noChangeAspect="1"/>
          </p:cNvPicPr>
          <p:nvPr/>
        </p:nvPicPr>
        <p:blipFill>
          <a:blip r:embed="rId36"/>
          <a:stretch>
            <a:fillRect/>
          </a:stretch>
        </p:blipFill>
        <p:spPr>
          <a:xfrm>
            <a:off x="557115" y="4598147"/>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74B848CA-590B-0E49-4776-53880178A472}"/>
              </a:ext>
            </a:extLst>
          </p:cNvPr>
          <p:cNvPicPr>
            <a:picLocks noChangeAspect="1"/>
          </p:cNvPicPr>
          <p:nvPr/>
        </p:nvPicPr>
        <p:blipFill>
          <a:blip r:embed="rId37"/>
          <a:stretch>
            <a:fillRect/>
          </a:stretch>
        </p:blipFill>
        <p:spPr>
          <a:xfrm>
            <a:off x="557115" y="5404350"/>
            <a:ext cx="233367" cy="155578"/>
          </a:xfrm>
          <a:prstGeom prst="rect">
            <a:avLst/>
          </a:prstGeom>
          <a:ln>
            <a:noFill/>
          </a:ln>
          <a:effectLst>
            <a:outerShdw blurRad="50800" dist="38100" dir="2700000" algn="tl" rotWithShape="0">
              <a:prstClr val="black">
                <a:alpha val="40000"/>
              </a:prstClr>
            </a:outerShdw>
          </a:effectLst>
        </p:spPr>
      </p:pic>
      <p:pic>
        <p:nvPicPr>
          <p:cNvPr id="41" name="Picture 40">
            <a:extLst>
              <a:ext uri="{FF2B5EF4-FFF2-40B4-BE49-F238E27FC236}">
                <a16:creationId xmlns:a16="http://schemas.microsoft.com/office/drawing/2014/main" id="{6A4110C1-63B8-991A-BF62-5A6D126E0A7D}"/>
              </a:ext>
            </a:extLst>
          </p:cNvPr>
          <p:cNvPicPr>
            <a:picLocks noChangeAspect="1"/>
          </p:cNvPicPr>
          <p:nvPr/>
        </p:nvPicPr>
        <p:blipFill>
          <a:blip r:embed="rId38"/>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sp>
        <p:nvSpPr>
          <p:cNvPr id="43" name="4. Footnote">
            <a:extLst>
              <a:ext uri="{FF2B5EF4-FFF2-40B4-BE49-F238E27FC236}">
                <a16:creationId xmlns:a16="http://schemas.microsoft.com/office/drawing/2014/main" id="{B2EEC728-A924-7080-F9F1-868FF6992FFB}"/>
              </a:ext>
            </a:extLst>
          </p:cNvPr>
          <p:cNvSpPr txBox="1"/>
          <p:nvPr>
            <p:custDataLst>
              <p:tags r:id="rId11"/>
            </p:custDataLst>
          </p:nvPr>
        </p:nvSpPr>
        <p:spPr>
          <a:xfrm>
            <a:off x="571500" y="6644088"/>
            <a:ext cx="10910233"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GB" sz="800" b="0" i="0" u="none" strike="noStrike" kern="1200" cap="none" spc="0" normalizeH="0" baseline="0" noProof="0">
                <a:ln>
                  <a:noFill/>
                </a:ln>
                <a:solidFill>
                  <a:srgbClr val="1D1C1D"/>
                </a:solidFill>
                <a:effectLst/>
                <a:uLnTx/>
                <a:uFillTx/>
                <a:latin typeface="Slack-Lato"/>
                <a:ea typeface="+mn-ea"/>
                <a:cs typeface="Arial" panose="020B0604020202020204" pitchFamily="34" charset="0"/>
              </a:rPr>
              <a:t>End of deforestation is defined as a reduction in average annual deforestation by more than 95% versus the 1990-2020 level alongside net increase in forest cover</a:t>
            </a:r>
            <a:r>
              <a:rPr kumimoji="0" lang="en-GB"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p>
        </p:txBody>
      </p:sp>
    </p:spTree>
    <p:extLst>
      <p:ext uri="{BB962C8B-B14F-4D97-AF65-F5344CB8AC3E}">
        <p14:creationId xmlns:p14="http://schemas.microsoft.com/office/powerpoint/2010/main" val="41075964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007809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5" imgH="405" progId="TCLayout.ActiveDocument.1">
                  <p:embed/>
                </p:oleObj>
              </mc:Choice>
              <mc:Fallback>
                <p:oleObj name="think-cell Slide" r:id="rId15"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et deforestation1: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78091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32234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86377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34957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8"/>
            </p:custDataLst>
          </p:nvPr>
        </p:nvCxnSpPr>
        <p:spPr bwMode="gray">
          <a:xfrm>
            <a:off x="571500" y="234311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9"/>
            </p:custDataLst>
          </p:nvPr>
        </p:nvSpPr>
        <p:spPr>
          <a:xfrm>
            <a:off x="565987" y="6419163"/>
            <a:ext cx="1124501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defRPr/>
            </a:pP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rces: Türkiye: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7"/>
              </a:rPr>
              <a:t>UNCCD</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8"/>
              </a:rPr>
              <a:t>T</a:t>
            </a:r>
            <a:r>
              <a:rPr lang="en-US">
                <a:solidFill>
                  <a:srgbClr val="000000"/>
                </a:solidFill>
                <a:latin typeface="Calibri"/>
                <a:hlinkClick r:id="rId18"/>
              </a:rPr>
              <a:t>ü</a:t>
            </a:r>
            <a:r>
              <a:rPr kumimoji="0" lang="en-US" sz="8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hlinkClick r:id="rId18"/>
              </a:rPr>
              <a:t>rkiye</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8"/>
              </a:rPr>
              <a:t> National Repor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Vietnam: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9"/>
              </a:rPr>
              <a:t>UNFCCC</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0"/>
              </a:rPr>
              <a:t>S&amp;P Global</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1"/>
              </a:rPr>
              <a:t>USDA</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2"/>
              </a:rPr>
              <a:t>Mongabay</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hlinkClick r:id="rId23"/>
              </a:rPr>
              <a:t>LuatVietnam</a:t>
            </a:r>
            <a:r>
              <a:rPr lang="en-US">
                <a:solidFill>
                  <a:srgbClr val="000000"/>
                </a:solidFill>
                <a:latin typeface="Calibri"/>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9"/>
              </a:rPr>
              <a:t>UNFCCC</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r>
              <a:rPr lang="en-US">
                <a:solidFill>
                  <a:srgbClr val="000000"/>
                </a:solidFill>
              </a:rPr>
              <a:t> </a:t>
            </a:r>
            <a:r>
              <a:rPr lang="en-US">
                <a:solidFill>
                  <a:srgbClr val="000000"/>
                </a:solidFill>
                <a:hlinkClick r:id="rId24"/>
              </a:rPr>
              <a:t>Rbc</a:t>
            </a:r>
            <a:r>
              <a:rPr lang="en-US">
                <a:solidFill>
                  <a:srgbClr val="000000"/>
                </a:solidFill>
              </a:rPr>
              <a:t>;</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Nigeria: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9"/>
              </a:rPr>
              <a:t>UNFCCC</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5"/>
              </a:rPr>
              <a:t>Climate Action Tracker</a:t>
            </a:r>
            <a:r>
              <a:rPr lang="en-US">
                <a:solidFill>
                  <a:srgbClr val="000000"/>
                </a:solidFill>
                <a:latin typeface="Calibri"/>
              </a:rPr>
              <a:t>;</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Japan: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9"/>
              </a:rPr>
              <a:t>UNFCCC</a:t>
            </a:r>
            <a:r>
              <a:rPr lang="en-US">
                <a:solidFill>
                  <a:srgbClr val="000000"/>
                </a:solidFill>
                <a:latin typeface="Calibri"/>
              </a:rPr>
              <a:t>;</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Indonesia: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9"/>
              </a:rPr>
              <a:t>UNFCCC</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6"/>
              </a:rPr>
              <a:t>The Guardian</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hlinkClick r:id="rId27"/>
              </a:rPr>
              <a:t>Asianews</a:t>
            </a:r>
            <a:r>
              <a:rPr lang="en-US">
                <a:solidFill>
                  <a:srgbClr val="000000"/>
                </a:solidFill>
                <a:latin typeface="Calibri"/>
              </a:rPr>
              <a:t>; Saudi Arabia: </a:t>
            </a:r>
            <a:r>
              <a:rPr lang="en-US">
                <a:solidFill>
                  <a:srgbClr val="000000"/>
                </a:solidFill>
                <a:latin typeface="Calibri"/>
                <a:hlinkClick r:id="rId28"/>
              </a:rPr>
              <a:t>Saudi &amp; Middle East Green Initiative</a:t>
            </a:r>
            <a:r>
              <a:rPr lang="en-US">
                <a:solidFill>
                  <a:srgbClr val="000000"/>
                </a:solidFill>
                <a:latin typeface="Calibri"/>
              </a:rPr>
              <a:t>, </a:t>
            </a:r>
            <a:r>
              <a:rPr lang="en-US">
                <a:solidFill>
                  <a:srgbClr val="000000"/>
                </a:solidFill>
                <a:latin typeface="Calibri"/>
                <a:hlinkClick r:id="rId29"/>
              </a:rPr>
              <a:t>Gulfnews</a:t>
            </a:r>
            <a:r>
              <a:rPr lang="en-US">
                <a:solidFill>
                  <a:srgbClr val="000000"/>
                </a:solidFill>
                <a:latin typeface="Calibri"/>
              </a:rPr>
              <a:t>.</a:t>
            </a:r>
            <a:r>
              <a:rPr kumimoji="0" lang="en-US" sz="1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30"/>
              </a:rPr>
              <a:t> </a:t>
            </a:r>
            <a:endPar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ed net deforest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plans to expand its forest cover by 5% by 2030. This would take total forest cover to 30%.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urrently, Türkiye's forests cover 28.5% of the country's total area.</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43889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379116"/>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ime Minister Nguyen Xuan Phuc has called for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 billion trees to be planted nationwide by 2025</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o help prevent landslides and flooding. Vietnam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igned the 'Glasgow Leaders' Declaration on Forests and Land Use by 203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November 2021 to halt deforestation. In August 2023, Vietnam issued an action plan detailing how it will implement this pledge. National Climate Change Strategy to 2050 targets 70% emissions reductions in forestry and land-use by 2030 and 90% by 2050, both compared to its business-as-usual scenario. Target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crease sequestration from LULUCF by 30% by 2050.</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44535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385574"/>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ussia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ed net deforest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ussia signed the 'Glasgow Leaders' Declaration on Forests and Land Use by 2030' in November 2021 to halt deforestation.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Russia's State Duma advanced legislation to enhance forest climate projects, boosting carbon absorption and reforestation efforts.</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95955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899779"/>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1, Indonesia set a target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o reduce the deforestation rate by 75% over the next three decade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s well as to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eforest 26.2m acre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of land by 2050. Indonesia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igned the 'Glasgow Leaders' Declaration on Forests and Land Us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November 2021 to halt deforestation but have since questioned thi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41812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35834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igned the 'Glasgow Leaders' Declaration on Forests and Land Use by 2030'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November 2021 to halt deforestation. There is an aim to reduce emissions from forestry by 20% by 2050.</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87669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816917"/>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Japan h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limited scope for afforest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Japan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igned the 'Glasgow Leaders' Declaration on Forests and Land Use by 203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November 2021 to halt deforestation.</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0"/>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B39A806D-0034-1750-BF46-7B42BF9AE23C}"/>
              </a:ext>
            </a:extLst>
          </p:cNvPr>
          <p:cNvPicPr>
            <a:picLocks noChangeAspect="1"/>
          </p:cNvPicPr>
          <p:nvPr/>
        </p:nvPicPr>
        <p:blipFill>
          <a:blip r:embed="rId31"/>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7FC07E2D-3ACF-8D33-E846-03379CAA6E34}"/>
              </a:ext>
            </a:extLst>
          </p:cNvPr>
          <p:cNvPicPr>
            <a:picLocks noChangeAspect="1"/>
          </p:cNvPicPr>
          <p:nvPr/>
        </p:nvPicPr>
        <p:blipFill>
          <a:blip r:embed="rId32"/>
          <a:stretch>
            <a:fillRect/>
          </a:stretch>
        </p:blipFill>
        <p:spPr>
          <a:xfrm>
            <a:off x="557115" y="3470998"/>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CCD6940F-6381-0472-3693-50FCED442450}"/>
              </a:ext>
            </a:extLst>
          </p:cNvPr>
          <p:cNvPicPr>
            <a:picLocks noChangeAspect="1"/>
          </p:cNvPicPr>
          <p:nvPr/>
        </p:nvPicPr>
        <p:blipFill>
          <a:blip r:embed="rId33"/>
          <a:stretch>
            <a:fillRect/>
          </a:stretch>
        </p:blipFill>
        <p:spPr>
          <a:xfrm>
            <a:off x="557115" y="4435954"/>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A1CDC03E-E890-4AEB-917B-81C49AD138F2}"/>
              </a:ext>
            </a:extLst>
          </p:cNvPr>
          <p:cNvPicPr>
            <a:picLocks noChangeAspect="1"/>
          </p:cNvPicPr>
          <p:nvPr/>
        </p:nvPicPr>
        <p:blipFill>
          <a:blip r:embed="rId34"/>
          <a:stretch>
            <a:fillRect/>
          </a:stretch>
        </p:blipFill>
        <p:spPr>
          <a:xfrm>
            <a:off x="557115" y="2460468"/>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6351EA54-6667-1978-D444-0DEBF1C623FD}"/>
              </a:ext>
            </a:extLst>
          </p:cNvPr>
          <p:cNvPicPr>
            <a:picLocks noChangeAspect="1"/>
          </p:cNvPicPr>
          <p:nvPr/>
        </p:nvPicPr>
        <p:blipFill>
          <a:blip r:embed="rId35"/>
          <a:stretch>
            <a:fillRect/>
          </a:stretch>
        </p:blipFill>
        <p:spPr>
          <a:xfrm>
            <a:off x="557115" y="3974796"/>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70E84DA2-6EC3-1059-AFBD-79247B4DD37A}"/>
              </a:ext>
            </a:extLst>
          </p:cNvPr>
          <p:cNvPicPr>
            <a:picLocks noChangeAspect="1"/>
          </p:cNvPicPr>
          <p:nvPr/>
        </p:nvPicPr>
        <p:blipFill>
          <a:blip r:embed="rId36"/>
          <a:stretch>
            <a:fillRect/>
          </a:stretch>
        </p:blipFill>
        <p:spPr>
          <a:xfrm>
            <a:off x="557115" y="4897772"/>
            <a:ext cx="233367" cy="155578"/>
          </a:xfrm>
          <a:prstGeom prst="rect">
            <a:avLst/>
          </a:prstGeom>
          <a:ln>
            <a:noFill/>
          </a:ln>
          <a:effectLst>
            <a:outerShdw blurRad="50800" dist="38100" dir="2700000" algn="tl" rotWithShape="0">
              <a:prstClr val="black">
                <a:alpha val="40000"/>
              </a:prstClr>
            </a:outerShdw>
          </a:effectLst>
        </p:spPr>
      </p:pic>
      <p:cxnSp>
        <p:nvCxnSpPr>
          <p:cNvPr id="40" name="LineSeparatorDefault 463">
            <a:extLst>
              <a:ext uri="{FF2B5EF4-FFF2-40B4-BE49-F238E27FC236}">
                <a16:creationId xmlns:a16="http://schemas.microsoft.com/office/drawing/2014/main" id="{58752701-81D9-B8EE-56BD-C5CE418398B9}"/>
              </a:ext>
            </a:extLst>
          </p:cNvPr>
          <p:cNvCxnSpPr>
            <a:cxnSpLocks/>
          </p:cNvCxnSpPr>
          <p:nvPr>
            <p:custDataLst>
              <p:tags r:id="rId11"/>
            </p:custDataLst>
          </p:nvPr>
        </p:nvCxnSpPr>
        <p:spPr bwMode="gray">
          <a:xfrm>
            <a:off x="571500" y="528528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18FB5DA-0061-0B1A-A9C7-C062E293A58C}"/>
              </a:ext>
            </a:extLst>
          </p:cNvPr>
          <p:cNvSpPr txBox="1"/>
          <p:nvPr/>
        </p:nvSpPr>
        <p:spPr>
          <a:xfrm>
            <a:off x="881849" y="538106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42" name="TextBox 41">
            <a:extLst>
              <a:ext uri="{FF2B5EF4-FFF2-40B4-BE49-F238E27FC236}">
                <a16:creationId xmlns:a16="http://schemas.microsoft.com/office/drawing/2014/main" id="{860F025B-03D5-8F3D-E796-E5A8F3E52B15}"/>
              </a:ext>
            </a:extLst>
          </p:cNvPr>
          <p:cNvSpPr txBox="1">
            <a:spLocks/>
          </p:cNvSpPr>
          <p:nvPr/>
        </p:nvSpPr>
        <p:spPr>
          <a:xfrm>
            <a:off x="1807671" y="532128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 currently does not have forest cover and therefore has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nded net deforestation</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s a part of the Saudi Green Initiatives, KSA has pledged to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lant 100 million trees, including 7 million trees in national parks and forests to offset 45 million tonnes of </a:t>
            </a:r>
            <a:r>
              <a:rPr kumimoji="0" lang="en-US" sz="1200" b="1" i="0" u="none" strike="noStrike" kern="1200" cap="none" spc="0" normalizeH="0" baseline="0" noProof="0">
                <a:ln>
                  <a:noFill/>
                </a:ln>
                <a:solidFill>
                  <a:srgbClr val="000000"/>
                </a:solidFill>
                <a:effectLst/>
                <a:uLnTx/>
                <a:uFillTx/>
                <a:latin typeface="Calibri"/>
                <a:ea typeface="+mn-ea"/>
                <a:cs typeface="+mn-cs"/>
              </a:rPr>
              <a:t>CO</a:t>
            </a:r>
            <a:r>
              <a:rPr kumimoji="0" lang="en-US" sz="1200" b="1" i="0" u="none" strike="noStrike" kern="1200" cap="none" spc="0" normalizeH="0" baseline="-25000" noProof="0">
                <a:ln>
                  <a:noFill/>
                </a:ln>
                <a:solidFill>
                  <a:srgbClr val="000000"/>
                </a:solidFill>
                <a:effectLst/>
                <a:uLnTx/>
                <a:uFillTx/>
                <a:latin typeface="Calibri"/>
                <a:ea typeface="+mn-ea"/>
                <a:cs typeface="+mn-cs"/>
              </a:rPr>
              <a:t>2</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emissions by 2030. </a:t>
            </a: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Saudi Arabia unveiled a tree-planting roadmap to support its 10 billion tree goal under the Saudi Green Initiative.</a:t>
            </a:r>
            <a:endParaRPr kumimoji="0" lang="en-GB" sz="120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pic>
        <p:nvPicPr>
          <p:cNvPr id="43" name="Picture 42">
            <a:extLst>
              <a:ext uri="{FF2B5EF4-FFF2-40B4-BE49-F238E27FC236}">
                <a16:creationId xmlns:a16="http://schemas.microsoft.com/office/drawing/2014/main" id="{751AA61A-996A-BF7E-7C69-CC267303DE80}"/>
              </a:ext>
            </a:extLst>
          </p:cNvPr>
          <p:cNvPicPr>
            <a:picLocks noChangeAspect="1"/>
          </p:cNvPicPr>
          <p:nvPr/>
        </p:nvPicPr>
        <p:blipFill>
          <a:blip r:embed="rId37"/>
          <a:stretch>
            <a:fillRect/>
          </a:stretch>
        </p:blipFill>
        <p:spPr>
          <a:xfrm>
            <a:off x="557115" y="5399370"/>
            <a:ext cx="233367" cy="155578"/>
          </a:xfrm>
          <a:prstGeom prst="rect">
            <a:avLst/>
          </a:prstGeom>
          <a:ln>
            <a:noFill/>
          </a:ln>
          <a:effectLst>
            <a:outerShdw blurRad="50800" dist="38100" dir="2700000" algn="tl" rotWithShape="0">
              <a:prstClr val="black">
                <a:alpha val="40000"/>
              </a:prstClr>
            </a:outerShdw>
          </a:effectLst>
        </p:spPr>
      </p:pic>
      <p:sp>
        <p:nvSpPr>
          <p:cNvPr id="46" name="4. Footnote">
            <a:extLst>
              <a:ext uri="{FF2B5EF4-FFF2-40B4-BE49-F238E27FC236}">
                <a16:creationId xmlns:a16="http://schemas.microsoft.com/office/drawing/2014/main" id="{66D6ED9F-3264-3FC9-B656-E084C815F0D9}"/>
              </a:ext>
            </a:extLst>
          </p:cNvPr>
          <p:cNvSpPr txBox="1"/>
          <p:nvPr>
            <p:custDataLst>
              <p:tags r:id="rId12"/>
            </p:custDataLst>
          </p:nvPr>
        </p:nvSpPr>
        <p:spPr>
          <a:xfrm>
            <a:off x="571500" y="6644088"/>
            <a:ext cx="10910233"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GB" sz="800" b="0" i="0" u="none" strike="noStrike" kern="1200" cap="none" spc="0" normalizeH="0" baseline="0" noProof="0">
                <a:ln>
                  <a:noFill/>
                </a:ln>
                <a:solidFill>
                  <a:srgbClr val="1D1C1D"/>
                </a:solidFill>
                <a:effectLst/>
                <a:uLnTx/>
                <a:uFillTx/>
                <a:latin typeface="Slack-Lato"/>
                <a:ea typeface="+mn-ea"/>
                <a:cs typeface="Arial" panose="020B0604020202020204" pitchFamily="34" charset="0"/>
              </a:rPr>
              <a:t>End of deforestation is defined as a reduction in average annual deforestation by more than 95% versus the 1990-2020 level alongside net increase in forest cover</a:t>
            </a:r>
            <a:r>
              <a:rPr kumimoji="0" lang="en-GB"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p>
        </p:txBody>
      </p:sp>
    </p:spTree>
    <p:extLst>
      <p:ext uri="{BB962C8B-B14F-4D97-AF65-F5344CB8AC3E}">
        <p14:creationId xmlns:p14="http://schemas.microsoft.com/office/powerpoint/2010/main" val="14143088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410378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5" imgH="405" progId="TCLayout.ActiveDocument.1">
                  <p:embed/>
                </p:oleObj>
              </mc:Choice>
              <mc:Fallback>
                <p:oleObj name="think-cell Slide" r:id="rId10"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dirty="0"/>
              <a:t>Land Protection: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389628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5"/>
            </p:custDataLst>
          </p:nvPr>
        </p:nvCxnSpPr>
        <p:spPr bwMode="gray">
          <a:xfrm>
            <a:off x="571500" y="296938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248320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7"/>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ustral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2"/>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Australia's Nature Hub</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2"/>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Government of Canad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Government of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U: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2"/>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Euro New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European Commission</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Earth.org</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8"/>
              </a:rPr>
              <a:t>Ifaw</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K: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UK Parlia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Gov.UK.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21"/>
              </a:rPr>
              <a:t>GovUK</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20% of l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Australian Government has committed to protect 30% of Australia’s land and seas by 2030 within Australia's Strategy for Nature 2019-2030 and is estimated to require an additional 60 million ha of land protected. Australia is launching a process to recognise Other Effective Area Conservation Measures (OECMs) as it attempts to increase options available to reach its targets. </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57898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519207"/>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13,7% of l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nada has announced a target to conserve 25% of it's land and 25% of its oceans by 2025, and 30% by 2030. Canada has pledged to restore 19 million hectares of degraded and deforested land by 2030.</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06516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005383"/>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38% of land in Germany, 28% in France and 22% in Italy while an EU proposal currently under consideration will make restoration a legal requirement if passed: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The EU Nature Restoration Law, part of the European Green Deal, which sets legally binding targets to rehabilitate degraded habitats and lost species c</a:t>
            </a:r>
            <a:r>
              <a:rPr kumimoji="0" lang="en-US" sz="1200" b="0" i="0" u="none" strike="noStrike" kern="1200" cap="none" spc="0" normalizeH="0" baseline="0" noProof="0" dirty="0" err="1">
                <a:ln>
                  <a:noFill/>
                </a:ln>
                <a:effectLst/>
                <a:uLnTx/>
                <a:uFillTx/>
                <a:latin typeface="Calibri"/>
                <a:ea typeface="+mn-ea"/>
                <a:cs typeface="Arial" panose="020B0604020202020204" pitchFamily="34" charset="0"/>
              </a:rPr>
              <a:t>ame</a:t>
            </a:r>
            <a:r>
              <a:rPr kumimoji="0" lang="en-US" sz="1200" b="0" i="0" u="none" strike="noStrike" kern="1200" cap="none" spc="0" normalizeH="0" baseline="0" noProof="0" dirty="0">
                <a:ln>
                  <a:noFill/>
                </a:ln>
                <a:effectLst/>
                <a:uLnTx/>
                <a:uFillTx/>
                <a:latin typeface="Calibri"/>
                <a:ea typeface="+mn-ea"/>
                <a:cs typeface="Arial" panose="020B0604020202020204" pitchFamily="34" charset="0"/>
              </a:rPr>
              <a:t> into force in August 2024</a:t>
            </a:r>
            <a:r>
              <a:rPr lang="en-US" sz="1200" dirty="0">
                <a:latin typeface="Calibri"/>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law sets out legally-binding targets in seven specific topics, that put together should cover at least 20% of the EU's land and sea areas by 2030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all ecosystems in need of restoration by 205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34813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359872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02508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3932282"/>
            <a:ext cx="9847754"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ea typeface="+mn-ea"/>
                <a:cs typeface="Arial" panose="020B0604020202020204" pitchFamily="34" charset="0"/>
              </a:rPr>
              <a:t>Policy currently protects 28% of land: </a:t>
            </a:r>
            <a:r>
              <a:rPr kumimoji="0" lang="en-GB" sz="1200" b="0" i="0" u="none" strike="noStrike" kern="1200" cap="none" spc="0" normalizeH="0" baseline="0" noProof="0" dirty="0">
                <a:ln>
                  <a:noFill/>
                </a:ln>
                <a:solidFill>
                  <a:srgbClr val="000000"/>
                </a:solidFill>
                <a:effectLst/>
                <a:uLnTx/>
                <a:uFillTx/>
                <a:ea typeface="+mn-ea"/>
                <a:cs typeface="Arial" panose="020B0604020202020204" pitchFamily="34" charset="0"/>
              </a:rPr>
              <a:t>In 2020, the UK government committed to protect at least 30% of land and sea for nature by 2030. </a:t>
            </a:r>
            <a:r>
              <a:rPr lang="en-US" sz="1200" b="0" i="0" dirty="0">
                <a:effectLst/>
              </a:rPr>
              <a:t>As of October 2024, an indicative assessment showed that approximately 7.1% of England's land area (to Mean Low Water) was counting towards the 30x30 target</a:t>
            </a:r>
            <a:endParaRPr kumimoji="0" lang="en-GB" sz="1200" b="0" i="0" u="none" strike="noStrike" kern="1200" cap="none" spc="0" normalizeH="0" baseline="0" noProof="0" dirty="0">
              <a:ln>
                <a:noFill/>
              </a:ln>
              <a:solidFill>
                <a:srgbClr val="000000"/>
              </a:solidFill>
              <a:effectLst/>
              <a:uLnTx/>
              <a:uFillTx/>
              <a:ea typeface="+mn-ea"/>
              <a:cs typeface="Arial" panose="020B0604020202020204" pitchFamily="34" charset="0"/>
            </a:endParaRPr>
          </a:p>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GB" sz="1200" b="0" i="0" u="none" strike="noStrike" kern="1200" cap="none" spc="0" normalizeH="0" baseline="0" noProof="0" dirty="0">
                <a:ln>
                  <a:noFill/>
                </a:ln>
                <a:solidFill>
                  <a:srgbClr val="000000"/>
                </a:solidFill>
                <a:effectLst/>
                <a:uLnTx/>
                <a:uFillTx/>
                <a:ea typeface="+mn-ea"/>
                <a:cs typeface="Arial" panose="020B0604020202020204" pitchFamily="34" charset="0"/>
              </a:rPr>
              <a:t>Under the </a:t>
            </a:r>
            <a:r>
              <a:rPr kumimoji="0" lang="en-GB" sz="1200" b="1" i="0" u="none" strike="noStrike" kern="1200" cap="none" spc="0" normalizeH="0" baseline="0" noProof="0" dirty="0">
                <a:ln>
                  <a:noFill/>
                </a:ln>
                <a:solidFill>
                  <a:srgbClr val="000000"/>
                </a:solidFill>
                <a:effectLst/>
                <a:uLnTx/>
                <a:uFillTx/>
                <a:ea typeface="+mn-ea"/>
                <a:cs typeface="Arial" panose="020B0604020202020204" pitchFamily="34" charset="0"/>
              </a:rPr>
              <a:t>Environment Act 2021</a:t>
            </a:r>
            <a:r>
              <a:rPr kumimoji="0" lang="en-GB" sz="1200" b="0" i="0" u="none" strike="noStrike" kern="1200" cap="none" spc="0" normalizeH="0" baseline="0" noProof="0" dirty="0">
                <a:ln>
                  <a:noFill/>
                </a:ln>
                <a:solidFill>
                  <a:srgbClr val="000000"/>
                </a:solidFill>
                <a:effectLst/>
                <a:uLnTx/>
                <a:uFillTx/>
                <a:ea typeface="+mn-ea"/>
                <a:cs typeface="Arial" panose="020B0604020202020204" pitchFamily="34" charset="0"/>
              </a:rPr>
              <a:t>, the UK Government has committed to setting legally binding targets for nature recovery. The Department for Environment Food and Rural Affairs have consulted on a 'long-term wider habitats' target to create or restore 500,000 hectares of wildlife rich habitat outside of protected areas by 2042. </a:t>
            </a:r>
            <a:r>
              <a:rPr kumimoji="0" lang="en-US" sz="1200" b="0" i="0" u="none" strike="noStrike" kern="1200" cap="none" spc="0" normalizeH="0" baseline="0" noProof="0" dirty="0">
                <a:ln>
                  <a:noFill/>
                </a:ln>
                <a:solidFill>
                  <a:srgbClr val="000000"/>
                </a:solidFill>
                <a:effectLst/>
                <a:uLnTx/>
                <a:uFillTx/>
                <a:ea typeface="+mn-ea"/>
                <a:cs typeface="Arial" panose="020B0604020202020204" pitchFamily="34" charset="0"/>
              </a:rPr>
              <a:t>In 2024, the Ministry of Justice launched a Nature Recovery Plan linking conservation with justice initiatives.</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8"/>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0D0A25E6-41BA-7639-B7BF-87934CBE8290}"/>
              </a:ext>
            </a:extLst>
          </p:cNvPr>
          <p:cNvPicPr>
            <a:picLocks noChangeAspect="1"/>
          </p:cNvPicPr>
          <p:nvPr/>
        </p:nvPicPr>
        <p:blipFill>
          <a:blip r:embed="rId22"/>
          <a:stretch>
            <a:fillRect/>
          </a:stretch>
        </p:blipFill>
        <p:spPr>
          <a:xfrm>
            <a:off x="557115" y="3360859"/>
            <a:ext cx="233367" cy="155578"/>
          </a:xfrm>
          <a:prstGeom prst="rect">
            <a:avLst/>
          </a:prstGeom>
          <a:ln w="6350">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F5AD5051-7CCD-BC0D-4FB5-1EDD498D8B4C}"/>
              </a:ext>
            </a:extLst>
          </p:cNvPr>
          <p:cNvPicPr>
            <a:picLocks noChangeAspect="1"/>
          </p:cNvPicPr>
          <p:nvPr/>
        </p:nvPicPr>
        <p:blipFill>
          <a:blip r:embed="rId23"/>
          <a:stretch>
            <a:fillRect/>
          </a:stretch>
        </p:blipFill>
        <p:spPr>
          <a:xfrm>
            <a:off x="557115" y="3610766"/>
            <a:ext cx="233367" cy="155578"/>
          </a:xfrm>
          <a:prstGeom prst="rect">
            <a:avLst/>
          </a:prstGeom>
          <a:ln w="6350">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742127D4-1ADE-DE7F-82E3-BA1D52AD3750}"/>
              </a:ext>
            </a:extLst>
          </p:cNvPr>
          <p:cNvPicPr>
            <a:picLocks noChangeAspect="1"/>
          </p:cNvPicPr>
          <p:nvPr/>
        </p:nvPicPr>
        <p:blipFill>
          <a:blip r:embed="rId24"/>
          <a:stretch>
            <a:fillRect/>
          </a:stretch>
        </p:blipFill>
        <p:spPr>
          <a:xfrm>
            <a:off x="557115" y="2597382"/>
            <a:ext cx="233367" cy="155578"/>
          </a:xfrm>
          <a:prstGeom prst="rect">
            <a:avLst/>
          </a:prstGeom>
          <a:ln w="6350">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7A576FC8-EC06-3ED2-55BD-B3E9DF4D317D}"/>
              </a:ext>
            </a:extLst>
          </p:cNvPr>
          <p:cNvPicPr>
            <a:picLocks noChangeAspect="1"/>
          </p:cNvPicPr>
          <p:nvPr/>
        </p:nvPicPr>
        <p:blipFill>
          <a:blip r:embed="rId25"/>
          <a:stretch>
            <a:fillRect/>
          </a:stretch>
        </p:blipFill>
        <p:spPr>
          <a:xfrm>
            <a:off x="557115" y="3082442"/>
            <a:ext cx="233367" cy="155578"/>
          </a:xfrm>
          <a:prstGeom prst="rect">
            <a:avLst/>
          </a:prstGeom>
          <a:ln w="6350">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089B150C-96CF-F244-4C99-244F94AFEC3B}"/>
              </a:ext>
            </a:extLst>
          </p:cNvPr>
          <p:cNvPicPr>
            <a:picLocks noChangeAspect="1"/>
          </p:cNvPicPr>
          <p:nvPr/>
        </p:nvPicPr>
        <p:blipFill>
          <a:blip r:embed="rId26"/>
          <a:stretch>
            <a:fillRect/>
          </a:stretch>
        </p:blipFill>
        <p:spPr>
          <a:xfrm>
            <a:off x="557115" y="1946549"/>
            <a:ext cx="233367" cy="155578"/>
          </a:xfrm>
          <a:prstGeom prst="rect">
            <a:avLst/>
          </a:prstGeom>
          <a:ln w="6350">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1EE3804E-6C18-7912-A3F9-4B797094869B}"/>
              </a:ext>
            </a:extLst>
          </p:cNvPr>
          <p:cNvPicPr>
            <a:picLocks noChangeAspect="1"/>
          </p:cNvPicPr>
          <p:nvPr/>
        </p:nvPicPr>
        <p:blipFill>
          <a:blip r:embed="rId27"/>
          <a:stretch>
            <a:fillRect/>
          </a:stretch>
        </p:blipFill>
        <p:spPr>
          <a:xfrm>
            <a:off x="557115" y="4037163"/>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152342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856266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dirty="0"/>
              <a:t>Land Protection: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18449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5"/>
            </p:custDataLst>
          </p:nvPr>
        </p:nvCxnSpPr>
        <p:spPr bwMode="gray">
          <a:xfrm>
            <a:off x="571500" y="404221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277650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7"/>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USA: </a:t>
            </a:r>
            <a:r>
              <a:rPr lang="en-US" dirty="0">
                <a:solidFill>
                  <a:srgbClr val="000000"/>
                </a:solidFill>
                <a:latin typeface="Calibri"/>
                <a:hlinkClick r:id="rId13"/>
              </a:rPr>
              <a:t>US Department of the Interior</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Japan: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Ministry of the Environment</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6"/>
              </a:rPr>
              <a:t>Mainichi</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razi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Mongabay</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8"/>
              </a:rPr>
              <a:t>Reuter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9"/>
              </a:rPr>
              <a:t>XM</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h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hlinkClick r:id="rId20"/>
              </a:rPr>
              <a:t>Climate Cooperation </a:t>
            </a:r>
            <a:r>
              <a:rPr lang="en-US" dirty="0">
                <a:solidFill>
                  <a:srgbClr val="000000"/>
                </a:solidFill>
                <a:latin typeface="Calibri"/>
                <a:hlinkClick r:id="rId20"/>
              </a:rPr>
              <a:t>China</a:t>
            </a:r>
            <a:r>
              <a:rPr lang="en-US">
                <a:solidFill>
                  <a:srgbClr val="000000"/>
                </a:solidFill>
                <a:latin typeface="Calibri"/>
              </a:rPr>
              <a:t>, </a:t>
            </a:r>
            <a:r>
              <a:rPr lang="en-US">
                <a:solidFill>
                  <a:srgbClr val="000000"/>
                </a:solidFill>
                <a:latin typeface="Calibri"/>
                <a:hlinkClick r:id="rId21"/>
              </a:rPr>
              <a:t>ChinaDaily</a:t>
            </a:r>
            <a:r>
              <a:rPr lang="en-US">
                <a:solidFill>
                  <a:srgbClr val="000000"/>
                </a:solidFill>
                <a:latin typeface="Calibri"/>
              </a:rPr>
              <a:t>, </a:t>
            </a:r>
            <a:r>
              <a:rPr lang="en-US">
                <a:solidFill>
                  <a:srgbClr val="000000"/>
                </a:solidFill>
                <a:latin typeface="Calibri"/>
                <a:hlinkClick r:id="rId22"/>
              </a:rPr>
              <a:t>Montsame</a:t>
            </a:r>
            <a:r>
              <a:rPr lang="en-US">
                <a:solidFill>
                  <a:srgbClr val="000000"/>
                </a:solidFill>
                <a:latin typeface="Calibri"/>
              </a:rPr>
              <a:t>, </a:t>
            </a:r>
            <a:r>
              <a:rPr lang="en-US">
                <a:solidFill>
                  <a:srgbClr val="000000"/>
                </a:solidFill>
                <a:latin typeface="Calibri"/>
                <a:hlinkClick r:id="rId23"/>
              </a:rPr>
              <a:t>GovCN</a:t>
            </a:r>
            <a:r>
              <a:rPr lang="en-US">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currently protects 13% of land: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1, the US committed to the goal of conserving at least 30% of lands by 2030 through Executive Order 14008. In 2022, the US announced a $1.4 billion investment in ecosystem restoration efforts over the next five years under the Bipartisan Infrastructure Law.</a:t>
            </a:r>
          </a:p>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2, America the beautiful challenge was launched, providing up to $1bn to support and accelerate locally led conservation and restoration project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goal to conserve 30% of U.S. lands and waters by 2030 was set.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the U.S. strengthened environmental protections with major investments.</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87228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812508"/>
            <a:ext cx="9847754"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a:t>
            </a:r>
            <a:r>
              <a:rPr lang="en-GB" sz="1200" b="1" dirty="0">
                <a:solidFill>
                  <a:srgbClr val="000000"/>
                </a:solidFill>
                <a:latin typeface="Calibri"/>
              </a:rPr>
              <a:t>29,52</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of l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Japan established a 30x30 roadmap, outlining necessary actions to achieve it's 30x30 target, including certification of conserved areas to be identified as OECMs, and launching a 30x30 Alliance for Biodiversity made up of local governments, businesses and NGOs. With 68% forest cover, Japan has more restricted scope to restore land on domestic soil, but is contributing funding other countries for conservation.</a:t>
            </a:r>
          </a:p>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ough Japan supports several restoration projects in developing countries, e.g. with a $638 million contribution to the Global Environment Facility</a:t>
            </a:r>
            <a:r>
              <a:rPr lang="en-GB" sz="1200" dirty="0">
                <a:solidFill>
                  <a:srgbClr val="000000"/>
                </a:solidFill>
                <a:latin typeface="Calibri"/>
              </a:rPr>
              <a:t> or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7 million for the Japan Biodiversity Fund, there is currently no investment allocated to the restoration of land in Japan.</a:t>
            </a:r>
            <a:r>
              <a:rPr lang="en-GB" sz="1200" dirty="0">
                <a:solidFill>
                  <a:srgbClr val="000000"/>
                </a:solidFill>
                <a:latin typeface="Calibri"/>
              </a:rPr>
              <a:t> </a:t>
            </a:r>
            <a:r>
              <a:rPr kumimoji="0" lang="en-US" altLang="en-US" sz="1200" b="0" i="0" u="none" strike="noStrike" cap="none" normalizeH="0" baseline="0" dirty="0">
                <a:ln>
                  <a:noFill/>
                </a:ln>
                <a:solidFill>
                  <a:schemeClr val="tx1"/>
                </a:solidFill>
                <a:effectLst/>
                <a:latin typeface="+mn-lt"/>
                <a:ea typeface="Times New Roman" panose="02020603050405020304" pitchFamily="18" charset="0"/>
                <a:cs typeface="Calibri" panose="020F0502020204030204" pitchFamily="34" charset="0"/>
              </a:rPr>
              <a:t>In 2024, Japan and Brazil signed a Green Partnership Initiative to protect the Amazon through financial aid and sustainable agriculture.</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13799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078218"/>
            <a:ext cx="9847754"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currently protects 30,62% of land: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 has just over 30% protected area coverage to date and has pledged to restore 22million ha by 2030</a:t>
            </a:r>
            <a:r>
              <a:rPr lang="en-GB" sz="1200">
                <a:solidFill>
                  <a:srgbClr val="000000"/>
                </a:solidFill>
                <a:latin typeface="Calibri"/>
              </a:rPr>
              <a:t>.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 established the National System of Protected Areas in 2000, and in its 2015 commitment to the Paris Agreement, Brazil became the first country to pledge the restoration of 12 million hectares of natural areas by 2030, most of which is located in the Atlantic Forest. Brazil  joined the 20x20 initiative in 2018 and pledged to restore 22million ha by 2030. However, more than half of deforestation in the Brazilian Amazon has taken place within rural private properties, despite these properties being located in conservation areas covered by the national conservation forest policy.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4, Brazil and France launched a €1.1 billion Amazon protection plan, while Brazil’s Eco Invest auction raised $7.9 billion for sustainable projects.</a:t>
            </a:r>
            <a:endPar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28027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220490"/>
            <a:ext cx="9847754"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16% of l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14, China committed to increase its terrestrial protected area coverage to 20% by 2020, which has not yet been reached. In 2020, China issued a ‘Master Plan for the Protection and Restoration of Important National Ecosystems (2021-2035)', laying out a series of objectives for national ecological protection and restoration, while announcing 9 major projects on ecological protection and restoration</a:t>
            </a:r>
            <a:r>
              <a:rPr kumimoji="0" lang="en-GB" altLang="en-US" sz="1200" b="0" i="0" u="none" strike="noStrike" cap="none" normalizeH="0" baseline="0" dirty="0">
                <a:ln>
                  <a:noFill/>
                </a:ln>
                <a:solidFill>
                  <a:schemeClr val="tx1"/>
                </a:solidFill>
                <a:effectLst/>
                <a:latin typeface="+mn-lt"/>
                <a:ea typeface="Times New Roman" panose="02020603050405020304" pitchFamily="18" charset="0"/>
                <a:cs typeface="Calibri" panose="020F0502020204030204" pitchFamily="34" charset="0"/>
              </a:rPr>
              <a:t>. </a:t>
            </a:r>
            <a:r>
              <a:rPr kumimoji="0" lang="en-US" altLang="en-US" sz="1200" b="0" i="0" u="none" strike="noStrike" cap="none" normalizeH="0" baseline="0" dirty="0">
                <a:ln>
                  <a:noFill/>
                </a:ln>
                <a:solidFill>
                  <a:schemeClr val="tx1"/>
                </a:solidFill>
                <a:effectLst/>
                <a:latin typeface="+mn-lt"/>
                <a:ea typeface="Times New Roman" panose="02020603050405020304" pitchFamily="18" charset="0"/>
                <a:cs typeface="Calibri" panose="020F0502020204030204" pitchFamily="34" charset="0"/>
              </a:rPr>
              <a:t>In 2024, China launched a biodiversity plan to restore 30% of degraded ecosystems, strengthened ecological compensation regulations, and partnered with Mongolia to fight desertification.</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8"/>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AA414E90-FF87-6062-825C-BAD6BCD98F9D}"/>
              </a:ext>
            </a:extLst>
          </p:cNvPr>
          <p:cNvPicPr>
            <a:picLocks noChangeAspect="1"/>
          </p:cNvPicPr>
          <p:nvPr/>
        </p:nvPicPr>
        <p:blipFill>
          <a:blip r:embed="rId24"/>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7EFCF8F4-526D-04C6-A49E-6DC24AF530AB}"/>
              </a:ext>
            </a:extLst>
          </p:cNvPr>
          <p:cNvPicPr>
            <a:picLocks noChangeAspect="1"/>
          </p:cNvPicPr>
          <p:nvPr/>
        </p:nvPicPr>
        <p:blipFill>
          <a:blip r:embed="rId25"/>
          <a:stretch>
            <a:fillRect/>
          </a:stretch>
        </p:blipFill>
        <p:spPr>
          <a:xfrm>
            <a:off x="557115" y="2889605"/>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670A74DD-2A65-2E2D-6D91-8504E19FE3EA}"/>
              </a:ext>
            </a:extLst>
          </p:cNvPr>
          <p:cNvPicPr>
            <a:picLocks noChangeAspect="1"/>
          </p:cNvPicPr>
          <p:nvPr/>
        </p:nvPicPr>
        <p:blipFill>
          <a:blip r:embed="rId26"/>
          <a:stretch>
            <a:fillRect/>
          </a:stretch>
        </p:blipFill>
        <p:spPr>
          <a:xfrm>
            <a:off x="557115" y="4151345"/>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A79C6E15-3D71-E88D-FA5E-2BC389898BE9}"/>
              </a:ext>
            </a:extLst>
          </p:cNvPr>
          <p:cNvPicPr>
            <a:picLocks noChangeAspect="1"/>
          </p:cNvPicPr>
          <p:nvPr/>
        </p:nvPicPr>
        <p:blipFill>
          <a:blip r:embed="rId27"/>
          <a:stretch>
            <a:fillRect/>
          </a:stretch>
        </p:blipFill>
        <p:spPr>
          <a:xfrm>
            <a:off x="557115" y="5292714"/>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840682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305545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dirty="0"/>
              <a:t>Land Protection: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48069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5"/>
            </p:custDataLst>
          </p:nvPr>
        </p:nvCxnSpPr>
        <p:spPr bwMode="gray">
          <a:xfrm>
            <a:off x="571500" y="382705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253819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7"/>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South Kore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4"/>
              </a:rPr>
              <a:t>Carbon Pulse</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Mexico: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Mexico News</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6"/>
              </a:rPr>
              <a:t>Mongaby</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World Economic Forum</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rgent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CBD</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8"/>
              </a:rPr>
              <a:t>BATime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 </a:t>
            </a:r>
            <a:endPar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17% of l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th Korea has confirmed its 5th National Biodiversity Strategy covering 2024-2028 will be finalised by the end of 2023. The strategy will be designed to help South Korea meet its commitments under the Global Biodiversity Framework - including 30x30 land protection and restoration targets.</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63397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574193"/>
            <a:ext cx="9847754"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15% of land: </a:t>
            </a:r>
            <a:r>
              <a:rPr kumimoji="0" lang="en-GB" sz="1200" b="0" i="0" u="none" strike="noStrike" kern="1200" cap="none" spc="0" normalizeH="0" baseline="0" noProof="0" dirty="0">
                <a:ln>
                  <a:noFill/>
                </a:ln>
                <a:solidFill>
                  <a:srgbClr val="000000"/>
                </a:solidFill>
                <a:effectLst/>
                <a:uLnTx/>
                <a:uFillTx/>
                <a:latin typeface="Calibri"/>
                <a:ea typeface="+mn-ea"/>
                <a:cs typeface="+mn-cs"/>
              </a:rPr>
              <a:t>In 2021, the Mexican Alliance for Ecosystem Restoration was launched as part of the U.N. Decade for Ecosystem Restoration, aiming to restore 1 million hectares (2.5 million acres) of forest by 2030. </a:t>
            </a:r>
          </a:p>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14, Mexico's National Forestry Commission (CONAFOR) set a target of beginning to restore 1 million hectares by the end of 2018. The Ecology Law in Mexico established a total of eight types of protected areas, six under federal jurisdiction and two under state jurisdiction. Protected area in Mexico is at 15% as of 2022, up from 11% in 2010.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January 2024, Mexico had 225 ANPs, covering 95.9 million hectares in total. </a:t>
            </a:r>
            <a:r>
              <a:rPr kumimoji="0" lang="en-US" altLang="en-US" sz="1200" b="0" i="0" u="none" strike="noStrike" cap="none" normalizeH="0" baseline="0" dirty="0">
                <a:ln>
                  <a:noFill/>
                </a:ln>
                <a:solidFill>
                  <a:schemeClr val="tx1"/>
                </a:solidFill>
                <a:effectLst/>
                <a:latin typeface="+mn-lt"/>
                <a:ea typeface="Times New Roman" panose="02020603050405020304" pitchFamily="18" charset="0"/>
                <a:cs typeface="Calibri" panose="020F0502020204030204" pitchFamily="34" charset="0"/>
              </a:rPr>
              <a:t>In 2024, Mexico designated 20 new protected areas covering 2.3 million hectares despite budget cuts.</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922829"/>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863052"/>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8% of l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ia has committed to increasing its forest cover from 25% to 33%, and to restoring 26 million hectares by 2030 through it’s national commitment on land degradation neutrality. India currently has less than 8% of area protection coverage under the WDPA database, although India reports having more than 20% under conservation. India has set a target to restore 26 million hectares of degraded land by 2030.</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57647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516693"/>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10,66% of l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19, the government created the National Plan for the Restoration of Native Forests through Resolution 267/2019, which seeks to restore 20 million hectares of native forest per year by 2030. Argentina's Native Forest Law, passed in 2007, established a minimum annual federal budget for environmental protection, enrichment, restoration, conservation, and sustainable management of native forests and the environmental services they provide</a:t>
            </a:r>
            <a:r>
              <a:rPr kumimoji="0" lang="en-GB" altLang="en-US" sz="1200" b="0" i="0" u="none" strike="noStrike" cap="none" normalizeH="0" baseline="0" dirty="0">
                <a:ln>
                  <a:noFill/>
                </a:ln>
                <a:solidFill>
                  <a:schemeClr val="tx1"/>
                </a:solidFill>
                <a:effectLst/>
                <a:latin typeface="+mn-lt"/>
                <a:ea typeface="Times New Roman" panose="02020603050405020304" pitchFamily="18" charset="0"/>
                <a:cs typeface="Calibri" panose="020F0502020204030204" pitchFamily="34" charset="0"/>
              </a:rPr>
              <a:t>. </a:t>
            </a:r>
            <a:r>
              <a:rPr kumimoji="0" lang="en-US" altLang="en-US" sz="1200" b="0" i="0" u="none" strike="noStrike" cap="none" normalizeH="0" baseline="0" dirty="0">
                <a:ln>
                  <a:noFill/>
                </a:ln>
                <a:solidFill>
                  <a:schemeClr val="tx1"/>
                </a:solidFill>
                <a:effectLst/>
                <a:latin typeface="+mn-lt"/>
                <a:ea typeface="Times New Roman" panose="02020603050405020304" pitchFamily="18" charset="0"/>
                <a:cs typeface="Calibri" panose="020F0502020204030204" pitchFamily="34" charset="0"/>
              </a:rPr>
              <a:t>In Argentina 2024, the government announced an end to forest owner incentives under the amended Native Forests Law.</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8"/>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4" name="Picture 23">
            <a:extLst>
              <a:ext uri="{FF2B5EF4-FFF2-40B4-BE49-F238E27FC236}">
                <a16:creationId xmlns:a16="http://schemas.microsoft.com/office/drawing/2014/main" id="{BB36378C-D62A-0769-D037-07C31B031423}"/>
              </a:ext>
            </a:extLst>
          </p:cNvPr>
          <p:cNvPicPr>
            <a:picLocks noChangeAspect="1"/>
          </p:cNvPicPr>
          <p:nvPr/>
        </p:nvPicPr>
        <p:blipFill>
          <a:blip r:embed="rId19"/>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901A6A3D-DC2C-6F24-C65F-CF0E22B5DA29}"/>
              </a:ext>
            </a:extLst>
          </p:cNvPr>
          <p:cNvPicPr>
            <a:picLocks noChangeAspect="1"/>
          </p:cNvPicPr>
          <p:nvPr/>
        </p:nvPicPr>
        <p:blipFill>
          <a:blip r:embed="rId20"/>
          <a:stretch>
            <a:fillRect/>
          </a:stretch>
        </p:blipFill>
        <p:spPr>
          <a:xfrm>
            <a:off x="557115" y="2646168"/>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F0B5E48D-0110-39B4-E4DF-B9448D4DFC47}"/>
              </a:ext>
            </a:extLst>
          </p:cNvPr>
          <p:cNvPicPr>
            <a:picLocks noChangeAspect="1"/>
          </p:cNvPicPr>
          <p:nvPr/>
        </p:nvPicPr>
        <p:blipFill>
          <a:blip r:embed="rId21"/>
          <a:stretch>
            <a:fillRect/>
          </a:stretch>
        </p:blipFill>
        <p:spPr>
          <a:xfrm>
            <a:off x="557115" y="3938267"/>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CCB23105-9B0B-8DEE-E8FD-51C7926714F6}"/>
              </a:ext>
            </a:extLst>
          </p:cNvPr>
          <p:cNvPicPr>
            <a:picLocks noChangeAspect="1"/>
          </p:cNvPicPr>
          <p:nvPr/>
        </p:nvPicPr>
        <p:blipFill>
          <a:blip r:embed="rId22"/>
          <a:stretch>
            <a:fillRect/>
          </a:stretch>
        </p:blipFill>
        <p:spPr>
          <a:xfrm>
            <a:off x="557115" y="4584062"/>
            <a:ext cx="233367" cy="155578"/>
          </a:xfrm>
          <a:prstGeom prst="rect">
            <a:avLst/>
          </a:prstGeom>
          <a:ln>
            <a:noFill/>
          </a:ln>
          <a:effectLst>
            <a:outerShdw blurRad="50800" dist="38100" dir="2700000" algn="tl" rotWithShape="0">
              <a:prstClr val="black">
                <a:alpha val="40000"/>
              </a:prstClr>
            </a:outerShdw>
          </a:effectLst>
        </p:spPr>
      </p:pic>
      <p:sp>
        <p:nvSpPr>
          <p:cNvPr id="36" name="4. Footnote">
            <a:extLst>
              <a:ext uri="{FF2B5EF4-FFF2-40B4-BE49-F238E27FC236}">
                <a16:creationId xmlns:a16="http://schemas.microsoft.com/office/drawing/2014/main" id="{62018AA2-B622-FE4E-9311-2F250C20C32C}"/>
              </a:ext>
            </a:extLst>
          </p:cNvPr>
          <p:cNvSpPr txBox="1"/>
          <p:nvPr>
            <p:custDataLst>
              <p:tags r:id="rId9"/>
            </p:custDataLst>
          </p:nvPr>
        </p:nvSpPr>
        <p:spPr>
          <a:xfrm>
            <a:off x="547972" y="6559615"/>
            <a:ext cx="10976747"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Based on IPR Quarterly Forecast Tracker Definitions. </a:t>
            </a:r>
            <a:r>
              <a:rPr kumimoji="0" lang="en-GB" sz="6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FPS gap - no policy announced; Deceleration - policy announced that matches the forecast but sets a target date that is later than forecasted in IPR2023; Supportive - policy announced that moves in the direction of forecast but does not definitively meet it (e.g., announcements of intent, without policy to support it); Confirmatory - policy announced that matches the forecast and is in line with what was forecasted in IPR 2023; Acceleration - policy announced that matches the forecast and sets a target date that is earlier than forecasted in IPR2023. </a:t>
            </a:r>
          </a:p>
        </p:txBody>
      </p:sp>
    </p:spTree>
    <p:extLst>
      <p:ext uri="{BB962C8B-B14F-4D97-AF65-F5344CB8AC3E}">
        <p14:creationId xmlns:p14="http://schemas.microsoft.com/office/powerpoint/2010/main" val="18255286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079822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dirty="0"/>
              <a:t>Land Protection: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64383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5"/>
            </p:custDataLst>
          </p:nvPr>
        </p:nvCxnSpPr>
        <p:spPr bwMode="gray">
          <a:xfrm>
            <a:off x="571500" y="334636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269272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7"/>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South Afric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a:solidFill>
                  <a:srgbClr val="000000"/>
                </a:solidFill>
                <a:latin typeface="Calibri"/>
                <a:hlinkClick r:id="rId14"/>
              </a:rPr>
              <a:t>Environmental Affairs</a:t>
            </a:r>
            <a:r>
              <a:rPr lang="en-US">
                <a:solidFill>
                  <a:srgbClr val="000000"/>
                </a:solidFill>
                <a:latin typeface="Calibri"/>
              </a:rPr>
              <a:t>, </a:t>
            </a:r>
            <a:r>
              <a:rPr lang="en-US">
                <a:solidFill>
                  <a:srgbClr val="000000"/>
                </a:solidFill>
                <a:latin typeface="Calibri"/>
                <a:hlinkClick r:id="rId15"/>
              </a:rPr>
              <a:t>Engineeringnews</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Vietnam: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International Land Conservation Network</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udi Arab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CBD</a:t>
            </a:r>
            <a:r>
              <a:rPr lang="en-US">
                <a:solidFill>
                  <a:srgbClr val="000000"/>
                </a:solidFill>
                <a:latin typeface="Calibri"/>
              </a:rPr>
              <a:t>, </a:t>
            </a:r>
            <a:r>
              <a:rPr lang="en-US">
                <a:solidFill>
                  <a:srgbClr val="000000"/>
                </a:solidFill>
                <a:latin typeface="Calibri"/>
                <a:hlinkClick r:id="rId18"/>
              </a:rPr>
              <a:t>SPA</a:t>
            </a:r>
            <a:r>
              <a:rPr lang="en-US">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one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CBD</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r>
              <a:rPr lang="en-US" dirty="0">
                <a:solidFill>
                  <a:srgbClr val="000000"/>
                </a:solidFill>
                <a:latin typeface="Calibri"/>
              </a:rPr>
              <a:t> </a:t>
            </a:r>
            <a:r>
              <a:rPr lang="en-US" dirty="0">
                <a:solidFill>
                  <a:srgbClr val="000000"/>
                </a:solidFill>
                <a:latin typeface="Calibri"/>
                <a:hlinkClick r:id="rId19"/>
              </a:rPr>
              <a:t>Republic </a:t>
            </a:r>
            <a:r>
              <a:rPr kumimoji="0" lang="en-US" sz="800" b="0" i="0" u="none" strike="noStrike" kern="1200" cap="none" spc="0" normalizeH="0" baseline="0" noProof="0" dirty="0">
                <a:ln>
                  <a:noFill/>
                </a:ln>
                <a:solidFill>
                  <a:srgbClr val="000000"/>
                </a:solidFill>
                <a:effectLst/>
                <a:uLnTx/>
                <a:uFillTx/>
                <a:latin typeface="Calibri"/>
                <a:hlinkClick r:id="rId19"/>
              </a:rPr>
              <a:t>Indonesia</a:t>
            </a:r>
            <a:r>
              <a:rPr kumimoji="0" lang="en-US" sz="800" b="0" i="0" u="none" strike="noStrike" kern="1200" cap="none" spc="0" normalizeH="0" baseline="0" noProof="0" dirty="0">
                <a:ln>
                  <a:noFill/>
                </a:ln>
                <a:solidFill>
                  <a:srgbClr val="000000"/>
                </a:solidFill>
                <a:effectLst/>
                <a:uLnTx/>
                <a:uFillTx/>
                <a:latin typeface="Calibri"/>
              </a:rPr>
              <a:t>.</a:t>
            </a:r>
            <a:endPar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currently protects 9% of land: </a:t>
            </a:r>
            <a:r>
              <a:rPr lang="en-GB" sz="1200">
                <a:solidFill>
                  <a:srgbClr val="000000"/>
                </a:solidFill>
                <a:latin typeface="Calibri"/>
              </a:rPr>
              <a:t>South</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frica has committed to restore 3.6 million ha by 2030 through it’s Land Degradation Neutrality Targets. South Africa established the Protected Areas Act in 2003. South Africa’s National Environmental Management: Biodiversity Act (2004) and National Biodiversity Institute provide the basis for biodiversity conservation.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South Africa 2024, MTPA, Aspinall Foundation, and </a:t>
            </a:r>
            <a:r>
              <a:rPr kumimoji="0" lang="en-US" sz="1200" b="0"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WeWild</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frica launched a 25-year partnership to expand and enhance a Big Five game reserve.</a:t>
            </a:r>
            <a:endPar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78850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728725"/>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8% of l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y 2030, 9% of the land area and 3-5% of the marine and coastal areas of the country shall be protected, under Vietnam’s National Biodiversity Strategy and Action Plan.</a:t>
            </a:r>
            <a:r>
              <a:rPr lang="en-US" sz="1200" dirty="0">
                <a:solidFill>
                  <a:srgbClr val="000000"/>
                </a:solidFill>
                <a:latin typeface="Calibri"/>
              </a:rPr>
              <a:t>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Vietnam’s Vision to 2030 document states that by 2030, 25% of degraded ecosystems of international significance will be restored, and biodiversity will be conserved and used sustainably.</a:t>
            </a:r>
            <a:endParaRPr lang="en-US" sz="1200" dirty="0">
              <a:solidFill>
                <a:srgbClr val="000000"/>
              </a:solidFill>
              <a:latin typeface="Calibri"/>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44214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382366"/>
            <a:ext cx="9847754"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currently protects 18,53% of land: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nder the Saudi Green Initiative (SGI), Saudi Arabia has committed to protecting 30 percent of its terrestrial and marine area by 2030. Its targets include emissions reduction, afforestation, and land and sea protection, with 77 initiatives activated. To date, 66,000 sq. km of land and sea are currently protected, and over 1,200 animals have been rewilded.</a:t>
            </a:r>
          </a:p>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General Authority for Statistics (GASTAT) reported that in 2023, terrestrial protected areas in Saudi Arabia covered 361,000 square kilometers, which constitutes 18.1% of the Kingdom's total land area.</a:t>
            </a:r>
            <a:r>
              <a:rPr lang="en-GB" sz="1200">
                <a:solidFill>
                  <a:srgbClr val="000000"/>
                </a:solidFill>
                <a:latin typeface="Calibri"/>
              </a:rPr>
              <a:t>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 has announced plans to plant 450 million trees and rehabilitate 8 million hectares of degraded land by 2030.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Saudi Arabia 2024, NCVC launched a rainwater harvesting project to restore 620,000 hectares of degraded land across nine regions.</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73961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679838"/>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12% of land</a:t>
            </a:r>
            <a:r>
              <a:rPr lang="en-US" sz="1200" b="1" dirty="0">
                <a:solidFill>
                  <a:srgbClr val="000000"/>
                </a:solidFill>
                <a:latin typeface="Calibri"/>
              </a:rPr>
              <a:t>: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0, the national government of Indonesia announced its aim to rehabilitate 600,000 ha of mangrove between 2020 and 2024. The Government of Indonesia is currently formulating a new set of national protected area targets as part of its efforts to update its National Biodiversity Strategy and Action Plan 2015–2020 in response to the post-2020 GBF. The 2015-2020 strategy and action plan contained limited detail on plans for restoration or protection and many past restoration programs have not achieved their objectives.</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8"/>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sp>
        <p:nvSpPr>
          <p:cNvPr id="21" name="4. Footnote">
            <a:extLst>
              <a:ext uri="{FF2B5EF4-FFF2-40B4-BE49-F238E27FC236}">
                <a16:creationId xmlns:a16="http://schemas.microsoft.com/office/drawing/2014/main" id="{6A45F415-0687-C636-117B-CD4445C10872}"/>
              </a:ext>
            </a:extLst>
          </p:cNvPr>
          <p:cNvSpPr txBox="1"/>
          <p:nvPr>
            <p:custDataLst>
              <p:tags r:id="rId9"/>
            </p:custDataLst>
          </p:nvPr>
        </p:nvSpPr>
        <p:spPr>
          <a:xfrm>
            <a:off x="547972" y="6559615"/>
            <a:ext cx="10976747"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Based on IPR Quarterly Forecast Tracker Definitions. </a:t>
            </a:r>
            <a:r>
              <a:rPr kumimoji="0" lang="en-GB" sz="6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FPS gap - no policy announced; Deceleration - policy announced that matches the forecast but sets a target date that is later than forecasted in IPR2023; Supportive - policy announced that moves in the direction of forecast but does not definitively meet it (e.g., announcements of intent, without policy to support it); Confirmatory - policy announced that matches the forecast and is in line with what was forecasted in IPR 2023; Acceleration - policy announced that matches the forecast and sets a target date that is earlier than forecasted in IPR2023. </a:t>
            </a:r>
          </a:p>
        </p:txBody>
      </p:sp>
      <p:pic>
        <p:nvPicPr>
          <p:cNvPr id="24" name="Picture 23">
            <a:extLst>
              <a:ext uri="{FF2B5EF4-FFF2-40B4-BE49-F238E27FC236}">
                <a16:creationId xmlns:a16="http://schemas.microsoft.com/office/drawing/2014/main" id="{A246893B-DFBD-6F16-58F4-4214CD031C37}"/>
              </a:ext>
            </a:extLst>
          </p:cNvPr>
          <p:cNvPicPr>
            <a:picLocks noChangeAspect="1"/>
          </p:cNvPicPr>
          <p:nvPr/>
        </p:nvPicPr>
        <p:blipFill>
          <a:blip r:embed="rId20"/>
          <a:stretch>
            <a:fillRect/>
          </a:stretch>
        </p:blipFill>
        <p:spPr>
          <a:xfrm>
            <a:off x="554986" y="194654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73E5EBFD-87D5-A08C-C320-1B252F9A5EEE}"/>
              </a:ext>
            </a:extLst>
          </p:cNvPr>
          <p:cNvPicPr>
            <a:picLocks noChangeAspect="1"/>
          </p:cNvPicPr>
          <p:nvPr/>
        </p:nvPicPr>
        <p:blipFill>
          <a:blip r:embed="rId21"/>
          <a:stretch>
            <a:fillRect/>
          </a:stretch>
        </p:blipFill>
        <p:spPr>
          <a:xfrm>
            <a:off x="554986" y="3452272"/>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22A550D2-0D36-CEB4-9FF6-C1B4D4713248}"/>
              </a:ext>
            </a:extLst>
          </p:cNvPr>
          <p:cNvPicPr>
            <a:picLocks noChangeAspect="1"/>
          </p:cNvPicPr>
          <p:nvPr/>
        </p:nvPicPr>
        <p:blipFill>
          <a:blip r:embed="rId22"/>
          <a:stretch>
            <a:fillRect/>
          </a:stretch>
        </p:blipFill>
        <p:spPr>
          <a:xfrm>
            <a:off x="554986" y="2808976"/>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D8CB9779-D8B0-6AAD-57A5-4338A85E0D0D}"/>
              </a:ext>
            </a:extLst>
          </p:cNvPr>
          <p:cNvPicPr>
            <a:picLocks noChangeAspect="1"/>
          </p:cNvPicPr>
          <p:nvPr/>
        </p:nvPicPr>
        <p:blipFill>
          <a:blip r:embed="rId23"/>
          <a:stretch>
            <a:fillRect/>
          </a:stretch>
        </p:blipFill>
        <p:spPr>
          <a:xfrm>
            <a:off x="554986" y="4751866"/>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35338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499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5" imgH="405" progId="TCLayout.ActiveDocument.1">
                  <p:embed/>
                </p:oleObj>
              </mc:Choice>
              <mc:Fallback>
                <p:oleObj name="think-cell Slide" r:id="rId10"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dirty="0"/>
              <a:t>Land Protection: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4"/>
            </p:custDataLst>
          </p:nvPr>
        </p:nvCxnSpPr>
        <p:spPr bwMode="gray">
          <a:xfrm>
            <a:off x="571500" y="289177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5"/>
            </p:custDataLst>
          </p:nvPr>
        </p:nvCxnSpPr>
        <p:spPr bwMode="gray">
          <a:xfrm>
            <a:off x="571500" y="238655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6"/>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Niger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2"/>
              </a:rPr>
              <a:t>Federal Ministry of Environmen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Rus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IUCN</a:t>
            </a:r>
            <a:r>
              <a:rPr lang="en-US" dirty="0">
                <a:solidFill>
                  <a:srgbClr val="000000"/>
                </a:solidFill>
                <a:latin typeface="Calibri"/>
              </a:rPr>
              <a:t>, </a:t>
            </a:r>
            <a:r>
              <a:rPr lang="en-US" dirty="0">
                <a:solidFill>
                  <a:srgbClr val="000000"/>
                </a:solidFill>
                <a:latin typeface="Calibri"/>
                <a:hlinkClick r:id="rId14"/>
              </a:rPr>
              <a:t>Statista</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Republic of Turke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currently protects 14% of land: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1, Nigeria announced its commitment to protect at least 30% of the globe’s land and ocean by 2030.  Target in place to rehabilitate 10.5m ha of cropland showing early signs of declining land productivity by 2030.</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52297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42255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currently protects 12% of land: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17, Russia announced plans to enlarge its protected areas to 18% of state territory by 2025. </a:t>
            </a: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s of 2023, Russia has 70 national parks and 107 nature reserves protected at the state level.</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06883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927774"/>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BFD5"/>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y currently protects 7% of la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19, the government unveiled an 11-year action plan to fight against desertification and started working on projections and mapping areas most likely to be affected by drought and desertification, seeking to convert 1/3 of its total area by 2023. In 2020, the Ministry of Environment and Urbanization announced plans to increase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 protected areas from 2.5% to 17%, by declaring 86 new areas as preserved sites, while protected areas remain at 7% in 2023. </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7"/>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sp>
        <p:nvSpPr>
          <p:cNvPr id="24" name="4. Footnote">
            <a:extLst>
              <a:ext uri="{FF2B5EF4-FFF2-40B4-BE49-F238E27FC236}">
                <a16:creationId xmlns:a16="http://schemas.microsoft.com/office/drawing/2014/main" id="{7D963B9D-CE4D-C738-5F2A-1EC667EBE083}"/>
              </a:ext>
            </a:extLst>
          </p:cNvPr>
          <p:cNvSpPr txBox="1"/>
          <p:nvPr>
            <p:custDataLst>
              <p:tags r:id="rId8"/>
            </p:custDataLst>
          </p:nvPr>
        </p:nvSpPr>
        <p:spPr>
          <a:xfrm>
            <a:off x="547972" y="6559615"/>
            <a:ext cx="10976747"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6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Based on IPR Quarterly Forecast Tracker Definitions. </a:t>
            </a:r>
            <a:r>
              <a:rPr kumimoji="0" lang="en-GB" sz="600" b="0" i="0" u="none" strike="noStrike" kern="1200" cap="none" spc="0" normalizeH="0" baseline="0" noProof="0">
                <a:ln>
                  <a:noFill/>
                </a:ln>
                <a:solidFill>
                  <a:srgbClr val="000000"/>
                </a:solidFill>
                <a:effectLst/>
                <a:uLnTx/>
                <a:uFillTx/>
                <a:latin typeface="Calibri"/>
                <a:ea typeface="+mn-ea"/>
                <a:cs typeface="Calibri" panose="020F0502020204030204" pitchFamily="34" charset="0"/>
              </a:rPr>
              <a:t>FPS gap - no policy announced; Deceleration - policy announced that matches the forecast but sets a target date that is later than forecasted in IPR2023; Supportive - policy announced that moves in the direction of forecast but does not definitively meet it (e.g., announcements of intent, without policy to support it); Confirmatory - policy announced that matches the forecast and is in line with what was forecasted in IPR 2023; Acceleration - policy announced that matches the forecast and sets a target date that is earlier than forecasted in IPR2023. </a:t>
            </a:r>
          </a:p>
        </p:txBody>
      </p:sp>
      <p:pic>
        <p:nvPicPr>
          <p:cNvPr id="27" name="Picture 26">
            <a:extLst>
              <a:ext uri="{FF2B5EF4-FFF2-40B4-BE49-F238E27FC236}">
                <a16:creationId xmlns:a16="http://schemas.microsoft.com/office/drawing/2014/main" id="{A3118DA9-3045-E618-5A93-21A25EEC88F3}"/>
              </a:ext>
            </a:extLst>
          </p:cNvPr>
          <p:cNvPicPr>
            <a:picLocks noChangeAspect="1"/>
          </p:cNvPicPr>
          <p:nvPr/>
        </p:nvPicPr>
        <p:blipFill>
          <a:blip r:embed="rId16"/>
          <a:stretch>
            <a:fillRect/>
          </a:stretch>
        </p:blipFill>
        <p:spPr>
          <a:xfrm>
            <a:off x="554986" y="2535341"/>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0B7F74D5-63D0-0115-937E-27C85069C871}"/>
              </a:ext>
            </a:extLst>
          </p:cNvPr>
          <p:cNvPicPr>
            <a:picLocks noChangeAspect="1"/>
          </p:cNvPicPr>
          <p:nvPr/>
        </p:nvPicPr>
        <p:blipFill>
          <a:blip r:embed="rId17"/>
          <a:stretch>
            <a:fillRect/>
          </a:stretch>
        </p:blipFill>
        <p:spPr>
          <a:xfrm>
            <a:off x="554986" y="1946549"/>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15E79F9F-04BD-1E67-8D84-FEC9CA941B45}"/>
              </a:ext>
            </a:extLst>
          </p:cNvPr>
          <p:cNvPicPr>
            <a:picLocks noChangeAspect="1"/>
          </p:cNvPicPr>
          <p:nvPr/>
        </p:nvPicPr>
        <p:blipFill>
          <a:blip r:embed="rId18"/>
          <a:stretch>
            <a:fillRect/>
          </a:stretch>
        </p:blipFill>
        <p:spPr>
          <a:xfrm>
            <a:off x="554986" y="3085405"/>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689612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11941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5" imgH="405" progId="TCLayout.ActiveDocument.1">
                  <p:embed/>
                </p:oleObj>
              </mc:Choice>
              <mc:Fallback>
                <p:oleObj name="think-cell Slide" r:id="rId10"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ature incentiv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04522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5"/>
            </p:custDataLst>
          </p:nvPr>
        </p:nvCxnSpPr>
        <p:spPr bwMode="gray">
          <a:xfrm>
            <a:off x="571500" y="420177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289842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7"/>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dirty="0">
                <a:solidFill>
                  <a:srgbClr val="000000"/>
                </a:solidFill>
                <a:latin typeface="Calibri"/>
              </a:rPr>
              <a:t>Sources: Australia: </a:t>
            </a:r>
            <a:r>
              <a:rPr lang="en-US" dirty="0">
                <a:solidFill>
                  <a:srgbClr val="0000FF"/>
                </a:solidFill>
                <a:latin typeface="Calibri"/>
                <a:hlinkClick r:id="rId12">
                  <a:extLst>
                    <a:ext uri="{A12FA001-AC4F-418D-AE19-62706E023703}">
                      <ahyp:hlinkClr xmlns:ahyp="http://schemas.microsoft.com/office/drawing/2018/hyperlinkcolor" val="tx"/>
                    </a:ext>
                  </a:extLst>
                </a:hlinkClick>
              </a:rPr>
              <a:t>Australian Government</a:t>
            </a:r>
            <a:r>
              <a:rPr lang="en-US" dirty="0">
                <a:solidFill>
                  <a:srgbClr val="000000"/>
                </a:solidFill>
                <a:latin typeface="Calibri"/>
              </a:rPr>
              <a:t>; Argentina: </a:t>
            </a:r>
            <a:r>
              <a:rPr lang="en-US" dirty="0">
                <a:solidFill>
                  <a:srgbClr val="0000FF"/>
                </a:solidFill>
                <a:latin typeface="Calibri"/>
                <a:hlinkClick r:id="rId13">
                  <a:extLst>
                    <a:ext uri="{A12FA001-AC4F-418D-AE19-62706E023703}">
                      <ahyp:hlinkClr xmlns:ahyp="http://schemas.microsoft.com/office/drawing/2018/hyperlinkcolor" val="tx"/>
                    </a:ext>
                  </a:extLst>
                </a:hlinkClick>
              </a:rPr>
              <a:t>Research Gate</a:t>
            </a:r>
            <a:r>
              <a:rPr lang="en-US" dirty="0">
                <a:solidFill>
                  <a:srgbClr val="000000"/>
                </a:solidFill>
                <a:latin typeface="Calibri"/>
              </a:rPr>
              <a:t>; China: </a:t>
            </a:r>
            <a:r>
              <a:rPr lang="en-US" dirty="0">
                <a:solidFill>
                  <a:srgbClr val="0000FF"/>
                </a:solidFill>
                <a:latin typeface="Calibri"/>
                <a:hlinkClick r:id="rId14">
                  <a:extLst>
                    <a:ext uri="{A12FA001-AC4F-418D-AE19-62706E023703}">
                      <ahyp:hlinkClr xmlns:ahyp="http://schemas.microsoft.com/office/drawing/2018/hyperlinkcolor" val="tx"/>
                    </a:ext>
                  </a:extLst>
                </a:hlinkClick>
              </a:rPr>
              <a:t>Dialogue Earth</a:t>
            </a:r>
            <a:r>
              <a:rPr lang="en-US">
                <a:solidFill>
                  <a:srgbClr val="0000FF"/>
                </a:solidFill>
                <a:latin typeface="Calibri"/>
              </a:rPr>
              <a:t>,</a:t>
            </a:r>
            <a:r>
              <a:rPr lang="en-US">
                <a:solidFill>
                  <a:srgbClr val="000000"/>
                </a:solidFill>
                <a:latin typeface="Calibri"/>
              </a:rPr>
              <a:t> </a:t>
            </a:r>
            <a:r>
              <a:rPr lang="en-US">
                <a:solidFill>
                  <a:srgbClr val="000000"/>
                </a:solidFill>
                <a:latin typeface="Calibri"/>
                <a:hlinkClick r:id="rId15"/>
              </a:rPr>
              <a:t>SP Global</a:t>
            </a:r>
            <a:r>
              <a:rPr lang="en-US">
                <a:solidFill>
                  <a:srgbClr val="000000"/>
                </a:solidFill>
                <a:latin typeface="Calibri"/>
              </a:rPr>
              <a:t>;</a:t>
            </a:r>
            <a:r>
              <a:rPr lang="en-US" dirty="0">
                <a:solidFill>
                  <a:srgbClr val="000000"/>
                </a:solidFill>
                <a:latin typeface="Calibri"/>
              </a:rPr>
              <a:t> Canada: </a:t>
            </a:r>
            <a:r>
              <a:rPr lang="en-US" dirty="0">
                <a:solidFill>
                  <a:srgbClr val="0000FF"/>
                </a:solidFill>
                <a:latin typeface="Calibri"/>
                <a:hlinkClick r:id="rId16">
                  <a:extLst>
                    <a:ext uri="{A12FA001-AC4F-418D-AE19-62706E023703}">
                      <ahyp:hlinkClr xmlns:ahyp="http://schemas.microsoft.com/office/drawing/2018/hyperlinkcolor" val="tx"/>
                    </a:ext>
                  </a:extLst>
                </a:hlinkClick>
              </a:rPr>
              <a:t>Ecosystem Marketplace</a:t>
            </a:r>
            <a:r>
              <a:rPr lang="en-US" dirty="0">
                <a:solidFill>
                  <a:srgbClr val="000000"/>
                </a:solidFill>
                <a:latin typeface="Calibri"/>
              </a:rPr>
              <a:t>.</a:t>
            </a:r>
            <a:endParaRPr kumimoji="0" lang="en-US" sz="1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rgentina has legislated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ature-based compensation mechanism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at provides financial resources to landowners to sustainably manage their land.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ative Forest Law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ssed in 2007, allows the federal government to set general requirements for environmental protection and funds a national-level PES program that distributes funds to the provinces. The Forest Law stipulates financial compensation for each participating province based on the amount of land in each land-use category and to individual program participants who voluntarily enrol their land in the payment program. Between 2019 and 2021, three biodiversity conservation corridors were designed covering at least 4 million hectares.</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05516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934428"/>
            <a:ext cx="9847754"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Clean Energy Regulator is currently building capability and establishing systems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o launch in 2025</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ustralia has tabled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ature Repair Market Bill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3 in parliament that aims to establish a national voluntary framework for projects to enhance or protect biodiversity. This voluntary market is intended to encourage private sector investment in long-term nature repair. The main requirement under the Bill is for projects to be registered in compliance with an approved ‘methodology determination’ or method, which sets out the requirements for undertaking certain biodiversity projects. </a:t>
            </a:r>
          </a:p>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dditionally, In 2016 as part of the Biodiversity Conservation Ac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SW Biodiversity Offsets Scheme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as set up to ensure no net loss of biodiversity from developments. </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29755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237775"/>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BFD5"/>
              </a:buClr>
              <a:buNone/>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ince 2014, China has implement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co-compensation scheme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at primarily target water quality and flooding mitigation services, that support biodiversity conservation i.e. plants, animals and microorganisms. These schemes are part of the government’s policies and programs to protect and restore the environment</a:t>
            </a:r>
            <a:r>
              <a:rPr lang="en-US" sz="1200" dirty="0">
                <a:solidFill>
                  <a:srgbClr val="000000"/>
                </a:solidFill>
                <a:latin typeface="Calibri"/>
              </a:rPr>
              <a:t>.</a:t>
            </a:r>
            <a:r>
              <a:rPr lang="en-GB" sz="1200" dirty="0">
                <a:solidFill>
                  <a:srgbClr val="000000"/>
                </a:solidFill>
                <a:latin typeface="Calibri"/>
              </a:rPr>
              <a:t>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In 2024 </a:t>
            </a:r>
            <a:r>
              <a:rPr kumimoji="0" lang="en-US" sz="1200" b="0" i="0" u="none" strike="noStrike" kern="1200" cap="none" spc="0" normalizeH="0" baseline="0" noProof="0" dirty="0">
                <a:ln>
                  <a:noFill/>
                </a:ln>
                <a:effectLst/>
                <a:uLnTx/>
                <a:uFillTx/>
                <a:latin typeface="Calibri"/>
                <a:ea typeface="+mn-ea"/>
                <a:cs typeface="Arial" panose="020B0604020202020204" pitchFamily="34" charset="0"/>
              </a:rPr>
              <a:t>China's CCER market restarted in January 2024, allowing ETS firms to offset 5% of emissions.</a:t>
            </a:r>
            <a:endParaRPr kumimoji="0" lang="en-GB" sz="1200" b="0" i="0" u="none" strike="noStrike" kern="1200" cap="none" spc="0" normalizeH="0" baseline="0" noProof="0" dirty="0">
              <a:ln>
                <a:noFill/>
              </a:ln>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14100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115312"/>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nada’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mpensation programs are focused on fish habitat and wetland compens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programs are driven by a combination of compliance with federal and provincial policies, with varying levels of implementation. Six programs exist in Canada, with one in development. These programs cover five ecosystem/species types and protect around 180 ha per year. Regional investment totals $6-$145 million annually, and there are currently 17 active and sold-out banks.</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8"/>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A0D59B4D-3490-3742-82B5-EF4DABD49DF1}"/>
              </a:ext>
            </a:extLst>
          </p:cNvPr>
          <p:cNvPicPr>
            <a:picLocks noChangeAspect="1"/>
          </p:cNvPicPr>
          <p:nvPr/>
        </p:nvPicPr>
        <p:blipFill>
          <a:blip r:embed="rId17"/>
          <a:stretch>
            <a:fillRect/>
          </a:stretch>
        </p:blipFill>
        <p:spPr>
          <a:xfrm>
            <a:off x="554986" y="306854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4A9733D8-B991-C1D1-8985-C4ADD77ADF51}"/>
              </a:ext>
            </a:extLst>
          </p:cNvPr>
          <p:cNvPicPr>
            <a:picLocks noChangeAspect="1"/>
          </p:cNvPicPr>
          <p:nvPr/>
        </p:nvPicPr>
        <p:blipFill>
          <a:blip r:embed="rId18"/>
          <a:stretch>
            <a:fillRect/>
          </a:stretch>
        </p:blipFill>
        <p:spPr>
          <a:xfrm>
            <a:off x="554986" y="194654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6B06D12-CE08-5BAD-CBF2-A5DF80EC85BA}"/>
              </a:ext>
            </a:extLst>
          </p:cNvPr>
          <p:cNvPicPr>
            <a:picLocks noChangeAspect="1"/>
          </p:cNvPicPr>
          <p:nvPr/>
        </p:nvPicPr>
        <p:blipFill>
          <a:blip r:embed="rId19"/>
          <a:stretch>
            <a:fillRect/>
          </a:stretch>
        </p:blipFill>
        <p:spPr>
          <a:xfrm>
            <a:off x="554986" y="4310761"/>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8C05635F-EBEE-B8C7-CF82-2F24C25632B3}"/>
              </a:ext>
            </a:extLst>
          </p:cNvPr>
          <p:cNvPicPr>
            <a:picLocks noChangeAspect="1"/>
          </p:cNvPicPr>
          <p:nvPr/>
        </p:nvPicPr>
        <p:blipFill>
          <a:blip r:embed="rId20"/>
          <a:stretch>
            <a:fillRect/>
          </a:stretch>
        </p:blipFill>
        <p:spPr>
          <a:xfrm>
            <a:off x="554986" y="5154974"/>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75910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439082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et Zero Target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99087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49012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97955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42987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90670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49542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South Afric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European Commiss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South Africa Governmen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ürkiy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Climate Action Tracker</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Vietnam: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Vietnam New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Government of Vietnam</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Reuters</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one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The Jakarta Pos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US treasury</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us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Russi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Niger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Niger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th Africa announced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HG net zero target for 2050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February 2020</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September 2021, the South African government updated its NDC by setting an emissions cap of 350-420 Mt of </a:t>
            </a:r>
            <a:r>
              <a:rPr kumimoji="0" lang="en-US" sz="1200" b="0" i="0" u="none" strike="noStrike" kern="1200" cap="none" spc="0" normalizeH="0" baseline="0" noProof="0" dirty="0">
                <a:ln>
                  <a:noFill/>
                </a:ln>
                <a:solidFill>
                  <a:srgbClr val="000000"/>
                </a:solidFill>
                <a:effectLst/>
                <a:uLnTx/>
                <a:uFillTx/>
                <a:latin typeface="Calibri"/>
                <a:ea typeface="+mn-ea"/>
                <a:cs typeface="+mn-cs"/>
              </a:rPr>
              <a:t>CO</a:t>
            </a:r>
            <a:r>
              <a:rPr kumimoji="0" lang="en-US" sz="1200" b="0" i="0" u="none" strike="noStrike" kern="1200" cap="none" spc="0" normalizeH="0" baseline="-25000" noProof="0" dirty="0">
                <a:ln>
                  <a:noFill/>
                </a:ln>
                <a:solidFill>
                  <a:srgbClr val="000000"/>
                </a:solidFill>
                <a:effectLst/>
                <a:uLnTx/>
                <a:uFillTx/>
                <a:latin typeface="Calibri"/>
                <a:ea typeface="+mn-ea"/>
                <a:cs typeface="+mn-cs"/>
              </a:rPr>
              <a:t>2</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30 compared to its previous cap of 398-440 Mt of CO</a:t>
            </a:r>
            <a:r>
              <a:rPr kumimoji="0" lang="en-GB" sz="1200" b="0" i="0" u="none" strike="noStrike" kern="1200" cap="none" spc="0" normalizeH="0" baseline="-25000" noProof="0" dirty="0">
                <a:ln>
                  <a:noFill/>
                </a:ln>
                <a:solidFill>
                  <a:srgbClr val="000000"/>
                </a:solidFill>
                <a:effectLst/>
                <a:uLnTx/>
                <a:uFillTx/>
                <a:latin typeface="Calibri"/>
                <a:ea typeface="+mn-ea"/>
                <a:cs typeface="Arial" panose="020B0604020202020204" pitchFamily="34" charset="0"/>
              </a:rPr>
              <a:t>2</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4 South Africa passed it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limate change bill</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etting a framework for greenhouse gas mitigation, including a national emissions trajectory and sectoral emissions targets.</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62930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de-DE" sz="1200">
                <a:effectLst/>
              </a:rPr>
              <a:t>Türkiye</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53142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lang="de-DE" sz="1200" dirty="0">
                <a:effectLst/>
              </a:rPr>
              <a:t>Türkiye</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nder its 2023 NDC announced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arget of 41% emissions reduction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will aim for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t zero by 2053.</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10725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942702"/>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Vietnam announced a target to reach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t zero by 2050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during COP26 in 2021</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GB" sz="1200" dirty="0">
                <a:latin typeface="Calibri"/>
              </a:rPr>
              <a:t>In 2023, Vietnam released a National Energy Master Plan for 2021-2030 which states an aim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to cut GHG emissions by 17-26% by 2030 and 90% by 2050, both compared to “normal development scenarios”.</a:t>
            </a:r>
            <a:endParaRPr kumimoji="0" lang="en-US" sz="1200" b="0" i="0" u="none" strike="noStrike" kern="1200" cap="none" spc="0" normalizeH="0" baseline="0" noProof="0" dirty="0">
              <a:ln>
                <a:noFill/>
              </a:ln>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58915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465875"/>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October 2021, Russia announced that the country would aim for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t zero by 206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ussia's NDC (announced in November 2020) aims for a 30% reduction emissions below 1990 levels by 2030. However Russia’s policies and actions since this announcement are likely to fall short in achieving this goal. </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17692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015551"/>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1, Indonesia published a potential pathway to reach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t zero emissions by 2060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part of its updated Long-Term Strategy</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Indonesia updated its NDC to target 32% GHG emission reduction for its unconditional target and 43% reduction for its conditional target, both by 2030.</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66845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526124"/>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1, Nigeria legislated its target to reach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t zero emissions by 206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its latest NDC in 2021, Nigeria reiterated its unconditional target of 20% below BAU by 2030 (submitted in the 2017 NDC) and increased its conditional target from 45% to 47% below BAU by 2030.</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13110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026871"/>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1, Saudi Arabia pledged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duce 278 Mtpa </a:t>
            </a:r>
            <a:r>
              <a:rPr kumimoji="0" lang="en-US" sz="1200" b="1" i="0" u="none" strike="noStrike" kern="1200" cap="none" spc="0" normalizeH="0" baseline="0" noProof="0" dirty="0">
                <a:ln>
                  <a:noFill/>
                </a:ln>
                <a:solidFill>
                  <a:srgbClr val="000000"/>
                </a:solidFill>
                <a:effectLst/>
                <a:uLnTx/>
                <a:uFillTx/>
                <a:latin typeface="Calibri"/>
                <a:ea typeface="+mn-ea"/>
                <a:cs typeface="+mn-cs"/>
              </a:rPr>
              <a:t>CO</a:t>
            </a:r>
            <a:r>
              <a:rPr kumimoji="0" lang="en-US" sz="1200" b="1" i="0" u="none" strike="noStrike" kern="1200" cap="none" spc="0" normalizeH="0" baseline="-25000" noProof="0" dirty="0">
                <a:ln>
                  <a:noFill/>
                </a:ln>
                <a:solidFill>
                  <a:srgbClr val="000000"/>
                </a:solidFill>
                <a:effectLst/>
                <a:uLnTx/>
                <a:uFillTx/>
                <a:latin typeface="Calibri"/>
                <a:ea typeface="+mn-ea"/>
                <a:cs typeface="+mn-cs"/>
              </a:rPr>
              <a:t>2</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missions by 2030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lative to 2019 levels and reach</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net zero by 2060.</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18" name="Picture 17">
            <a:extLst>
              <a:ext uri="{FF2B5EF4-FFF2-40B4-BE49-F238E27FC236}">
                <a16:creationId xmlns:a16="http://schemas.microsoft.com/office/drawing/2014/main" id="{464E260B-9665-1D50-19BF-DC61884ACA04}"/>
              </a:ext>
            </a:extLst>
          </p:cNvPr>
          <p:cNvPicPr>
            <a:picLocks noChangeAspect="1"/>
          </p:cNvPicPr>
          <p:nvPr/>
        </p:nvPicPr>
        <p:blipFill>
          <a:blip r:embed="rId25"/>
          <a:stretch>
            <a:fillRect/>
          </a:stretch>
        </p:blipFill>
        <p:spPr>
          <a:xfrm>
            <a:off x="557115" y="1946549"/>
            <a:ext cx="233367" cy="155578"/>
          </a:xfrm>
          <a:prstGeom prst="rect">
            <a:avLst/>
          </a:prstGeom>
          <a:ln>
            <a:no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BCDD6320-3030-C1DD-05BB-34BBAA4C62B6}"/>
              </a:ext>
            </a:extLst>
          </p:cNvPr>
          <p:cNvPicPr>
            <a:picLocks noChangeAspect="1"/>
          </p:cNvPicPr>
          <p:nvPr/>
        </p:nvPicPr>
        <p:blipFill>
          <a:blip r:embed="rId26"/>
          <a:stretch>
            <a:fillRect/>
          </a:stretch>
        </p:blipFill>
        <p:spPr>
          <a:xfrm>
            <a:off x="557115" y="2645845"/>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86C50BF3-2854-DF87-075F-06FE60441472}"/>
              </a:ext>
            </a:extLst>
          </p:cNvPr>
          <p:cNvPicPr>
            <a:picLocks noChangeAspect="1"/>
          </p:cNvPicPr>
          <p:nvPr/>
        </p:nvPicPr>
        <p:blipFill>
          <a:blip r:embed="rId27"/>
          <a:stretch>
            <a:fillRect/>
          </a:stretch>
        </p:blipFill>
        <p:spPr>
          <a:xfrm>
            <a:off x="557115" y="3598535"/>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8F1A43CC-E236-7E9D-3705-E258596F8203}"/>
              </a:ext>
            </a:extLst>
          </p:cNvPr>
          <p:cNvPicPr>
            <a:picLocks noChangeAspect="1"/>
          </p:cNvPicPr>
          <p:nvPr/>
        </p:nvPicPr>
        <p:blipFill>
          <a:blip r:embed="rId28"/>
          <a:stretch>
            <a:fillRect/>
          </a:stretch>
        </p:blipFill>
        <p:spPr>
          <a:xfrm>
            <a:off x="557115" y="4673826"/>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7F69A124-3C6D-F1BD-111A-F5722BF7BE4F}"/>
              </a:ext>
            </a:extLst>
          </p:cNvPr>
          <p:cNvPicPr>
            <a:picLocks noChangeAspect="1"/>
          </p:cNvPicPr>
          <p:nvPr/>
        </p:nvPicPr>
        <p:blipFill>
          <a:blip r:embed="rId29"/>
          <a:stretch>
            <a:fillRect/>
          </a:stretch>
        </p:blipFill>
        <p:spPr>
          <a:xfrm>
            <a:off x="557115" y="5157182"/>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B8F58D75-066A-73F0-2713-CD62E641BA0A}"/>
              </a:ext>
            </a:extLst>
          </p:cNvPr>
          <p:cNvPicPr>
            <a:picLocks noChangeAspect="1"/>
          </p:cNvPicPr>
          <p:nvPr/>
        </p:nvPicPr>
        <p:blipFill>
          <a:blip r:embed="rId30"/>
          <a:stretch>
            <a:fillRect/>
          </a:stretch>
        </p:blipFill>
        <p:spPr>
          <a:xfrm>
            <a:off x="557115" y="3126428"/>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A5BEF462-DECF-1468-D175-AFF744AB0D6F}"/>
              </a:ext>
            </a:extLst>
          </p:cNvPr>
          <p:cNvPicPr>
            <a:picLocks noChangeAspect="1"/>
          </p:cNvPicPr>
          <p:nvPr/>
        </p:nvPicPr>
        <p:blipFill>
          <a:blip r:embed="rId31"/>
          <a:stretch>
            <a:fillRect/>
          </a:stretch>
        </p:blipFill>
        <p:spPr>
          <a:xfrm>
            <a:off x="557115" y="4194319"/>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892244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301037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5" imgH="405" progId="TCLayout.ActiveDocument.1">
                  <p:embed/>
                </p:oleObj>
              </mc:Choice>
              <mc:Fallback>
                <p:oleObj name="think-cell Slide" r:id="rId9"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ature incentiv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4"/>
            </p:custDataLst>
          </p:nvPr>
        </p:nvCxnSpPr>
        <p:spPr bwMode="gray">
          <a:xfrm>
            <a:off x="571500" y="420003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5"/>
            </p:custDataLst>
          </p:nvPr>
        </p:nvCxnSpPr>
        <p:spPr bwMode="gray">
          <a:xfrm>
            <a:off x="571500" y="349518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6"/>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Brazi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1"/>
              </a:rPr>
              <a:t>GCF Task Forc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2"/>
              </a:rPr>
              <a:t>Argu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3"/>
              </a:rPr>
              <a:t>Mongabay</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4"/>
              </a:rPr>
              <a:t>IADB</a:t>
            </a:r>
            <a:r>
              <a:rPr lang="en-US" dirty="0">
                <a:solidFill>
                  <a:srgbClr val="000000"/>
                </a:solidFill>
                <a:latin typeface="Calibri"/>
              </a:rPr>
              <a:t>; South Africa</a:t>
            </a:r>
            <a:r>
              <a:rPr lang="en-US" dirty="0">
                <a:solidFill>
                  <a:srgbClr val="000000"/>
                </a:solidFill>
                <a:latin typeface="Calibri"/>
                <a:hlinkClick r:id="rId15"/>
              </a:rPr>
              <a:t> Ecosystem Marketplace</a:t>
            </a:r>
            <a:r>
              <a:rPr lang="en-US" dirty="0">
                <a:solidFill>
                  <a:srgbClr val="000000"/>
                </a:solidFill>
                <a:latin typeface="Calibri"/>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K: </a:t>
            </a:r>
            <a:r>
              <a:rPr kumimoji="0" lang="en-US" sz="800" b="0" i="0" u="none" strike="noStrike" kern="1200" cap="none" spc="0" normalizeH="0" baseline="0" noProof="0" dirty="0">
                <a:ln>
                  <a:noFill/>
                </a:ln>
                <a:solidFill>
                  <a:srgbClr val="000000"/>
                </a:solidFill>
                <a:effectLst/>
                <a:uLnTx/>
                <a:uFillTx/>
                <a:latin typeface="Calibri"/>
                <a:hlinkClick r:id="rId16"/>
              </a:rPr>
              <a:t>Gov.</a:t>
            </a:r>
            <a:r>
              <a:rPr lang="en-US" dirty="0">
                <a:solidFill>
                  <a:srgbClr val="000000"/>
                </a:solidFill>
                <a:latin typeface="Calibri"/>
                <a:hlinkClick r:id="rId16"/>
              </a:rPr>
              <a:t>UK</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BNG</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55427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razil is set to submit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ew Carbon Credit Bill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y the end of June 2023 that seeks to create a regulated carbon market with Para state in the north of the country planning to hold an auction for forestry concessions in the second half of this year. The state plans initially to offer 4mn ha of public forest to the private sector. The state also plans to sell concessions for replanting and recovering up to 20,000ha of degraded land.</a:t>
            </a:r>
          </a:p>
          <a:p>
            <a:pPr marR="0" lvl="0" algn="l" defTabSz="914400" rtl="0" eaLnBrk="1" fontAlgn="auto" latinLnBrk="0" hangingPunct="1">
              <a:lnSpc>
                <a:spcPct val="100000"/>
              </a:lnSpc>
              <a:spcBef>
                <a:spcPts val="300"/>
              </a:spcBef>
              <a:spcAft>
                <a:spcPts val="300"/>
              </a:spcAft>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wo major financing mechanisms are being developed for 2025: Tropical Forest Finance Facility (TFFF): Aims to provide $4 per hectare annually for forest conservation</a:t>
            </a:r>
            <a:r>
              <a:rPr lang="en-US" sz="1200" dirty="0">
                <a:solidFill>
                  <a:srgbClr val="000000"/>
                </a:solidFill>
                <a:latin typeface="Calibri"/>
              </a:rPr>
              <a:t>;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ropical Forest Mechanism (TFM): A more ambitious program targeting $30 per hectare. </a:t>
            </a:r>
            <a:r>
              <a:rPr lang="en-US" sz="1200" dirty="0">
                <a:solidFill>
                  <a:srgbClr val="000000"/>
                </a:solidFill>
                <a:latin typeface="Calibri"/>
              </a:rPr>
              <a:t>On December 12, Law No. 15,042/2024 came into force in Brazil, establishing the </a:t>
            </a:r>
            <a:r>
              <a:rPr lang="en-US" sz="1200" b="1" dirty="0">
                <a:solidFill>
                  <a:srgbClr val="000000"/>
                </a:solidFill>
                <a:latin typeface="Calibri"/>
              </a:rPr>
              <a:t>Brazilian Greenhouse Gas Emissions Trading System (SBCE), </a:t>
            </a:r>
            <a:r>
              <a:rPr lang="en-US" sz="1200" dirty="0">
                <a:solidFill>
                  <a:srgbClr val="000000"/>
                </a:solidFill>
                <a:latin typeface="Calibri"/>
              </a:rPr>
              <a:t>a regulated carbon market in the largest country of South America</a:t>
            </a:r>
            <a:r>
              <a:rPr lang="en-US" sz="1200" b="1" dirty="0">
                <a:solidFill>
                  <a:srgbClr val="000000"/>
                </a:solidFill>
                <a:latin typeface="Calibri"/>
              </a:rPr>
              <a:t>. </a:t>
            </a:r>
            <a:r>
              <a:rPr lang="en-US" sz="1200" dirty="0">
                <a:solidFill>
                  <a:srgbClr val="000000"/>
                </a:solidFill>
                <a:latin typeface="Calibri"/>
              </a:rPr>
              <a:t>In 2024 IDB and Global Affairs Canada launched funding for Nature-based Solutions in four Latin American countries to support policy, private investment, and pilot projects.</a:t>
            </a:r>
            <a:endParaRPr lang="en-GB" sz="1200" dirty="0">
              <a:solidFill>
                <a:srgbClr val="000000"/>
              </a:solidFill>
              <a:latin typeface="Calibri"/>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59096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56526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th Africa is in the process of developing its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iodiversity offset program</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principles of biodiversity offsetting and the importance of avoiding negative impacts on biodiversity were initially included in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998 National Environmental Management Act</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dditionally, South Africa has a national payment for ecosystem services scheme to conserve the country’s water resources.</a:t>
            </a: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28899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236031"/>
            <a:ext cx="9847754" cy="18158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of February 12, 2024, the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iodiversity Net Gain (BNG)</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policy came into effect for large developments in England, with smaller projects to follow in April 2024</a:t>
            </a:r>
            <a:r>
              <a:rPr lang="en-GB" sz="1200" dirty="0">
                <a:solidFill>
                  <a:srgbClr val="000000"/>
                </a:solidFill>
                <a:latin typeface="Calibri"/>
              </a:rPr>
              <a: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UK is collaborating with France to create an international biodiversity market which is scheduled to be ready by COP16 in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4.</a:t>
            </a:r>
          </a:p>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vironment Act 2021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ets out that development subject to mandatory Biodiversity Net Gain (BNG) will be required to submit a biodiversity gain plan for planning authority approval and the planning authority is required to approve it prior to commencement. BNG calculations are made by assessing the size of habitat parcel, distinctiveness, condition and strategic significance. </a:t>
            </a:r>
          </a:p>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dditionally, the UK government has stated that an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icative credit price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ill be published 6 months in advance of BNG becoming mandatory. It is expected that most sites will come under the mandatory Biodiversity Net Gain requirements by November 2023, with sites that are small or under exemption delayed until April 2024. It is estimated that the market price for each biodiversity unit could be between £9,000 (US$11,400) and £15,000 (US$19,100) per unit and as much as £25,000 (US$31,800) in local planning authority areas where units are scarce.</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7"/>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ECC96863-41B1-A7BA-24B6-F74D328EB51C}"/>
              </a:ext>
            </a:extLst>
          </p:cNvPr>
          <p:cNvPicPr>
            <a:picLocks noChangeAspect="1"/>
          </p:cNvPicPr>
          <p:nvPr/>
        </p:nvPicPr>
        <p:blipFill>
          <a:blip r:embed="rId18"/>
          <a:stretch>
            <a:fillRect/>
          </a:stretch>
        </p:blipFill>
        <p:spPr>
          <a:xfrm>
            <a:off x="554986" y="194654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8573B586-5790-0CE8-314F-C18E521FA6C5}"/>
              </a:ext>
            </a:extLst>
          </p:cNvPr>
          <p:cNvPicPr>
            <a:picLocks noChangeAspect="1"/>
          </p:cNvPicPr>
          <p:nvPr/>
        </p:nvPicPr>
        <p:blipFill>
          <a:blip r:embed="rId19"/>
          <a:stretch>
            <a:fillRect/>
          </a:stretch>
        </p:blipFill>
        <p:spPr>
          <a:xfrm>
            <a:off x="554986" y="3610047"/>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A62F919-D855-627D-C30D-DFDB730F7C6A}"/>
              </a:ext>
            </a:extLst>
          </p:cNvPr>
          <p:cNvPicPr>
            <a:picLocks noChangeAspect="1"/>
          </p:cNvPicPr>
          <p:nvPr/>
        </p:nvPicPr>
        <p:blipFill>
          <a:blip r:embed="rId20"/>
          <a:stretch>
            <a:fillRect/>
          </a:stretch>
        </p:blipFill>
        <p:spPr>
          <a:xfrm>
            <a:off x="554986" y="4298674"/>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420784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52848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5" imgH="405" progId="TCLayout.ActiveDocument.1">
                  <p:embed/>
                </p:oleObj>
              </mc:Choice>
              <mc:Fallback>
                <p:oleObj name="think-cell Slide" r:id="rId9"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ature incentiv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4"/>
            </p:custDataLst>
          </p:nvPr>
        </p:nvCxnSpPr>
        <p:spPr bwMode="gray">
          <a:xfrm>
            <a:off x="571500" y="432753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5"/>
            </p:custDataLst>
          </p:nvPr>
        </p:nvCxnSpPr>
        <p:spPr bwMode="gray">
          <a:xfrm>
            <a:off x="571500" y="378234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6"/>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dirty="0">
                <a:solidFill>
                  <a:srgbClr val="000000"/>
                </a:solidFill>
                <a:latin typeface="Calibri"/>
              </a:rPr>
              <a:t>Sources: USA: </a:t>
            </a:r>
            <a:r>
              <a:rPr lang="en-US" dirty="0">
                <a:solidFill>
                  <a:srgbClr val="0000FF"/>
                </a:solidFill>
                <a:latin typeface="Calibri"/>
                <a:hlinkClick r:id="rId11">
                  <a:extLst>
                    <a:ext uri="{A12FA001-AC4F-418D-AE19-62706E023703}">
                      <ahyp:hlinkClr xmlns:ahyp="http://schemas.microsoft.com/office/drawing/2018/hyperlinkcolor" val="tx"/>
                    </a:ext>
                  </a:extLst>
                </a:hlinkClick>
              </a:rPr>
              <a:t>Ecosystem Marketplace</a:t>
            </a:r>
            <a:r>
              <a:rPr lang="en-US" dirty="0">
                <a:solidFill>
                  <a:srgbClr val="0000FF"/>
                </a:solidFill>
                <a:latin typeface="Calibri"/>
              </a:rPr>
              <a:t>, </a:t>
            </a:r>
            <a:r>
              <a:rPr lang="en-US" dirty="0">
                <a:solidFill>
                  <a:srgbClr val="0000FF"/>
                </a:solidFill>
                <a:latin typeface="Calibri"/>
                <a:hlinkClick r:id="rId12">
                  <a:extLst>
                    <a:ext uri="{A12FA001-AC4F-418D-AE19-62706E023703}">
                      <ahyp:hlinkClr xmlns:ahyp="http://schemas.microsoft.com/office/drawing/2018/hyperlinkcolor" val="tx"/>
                    </a:ext>
                  </a:extLst>
                </a:hlinkClick>
              </a:rPr>
              <a:t>U.S. Fish and Wildlife Service</a:t>
            </a:r>
            <a:r>
              <a:rPr lang="en-US" dirty="0">
                <a:solidFill>
                  <a:srgbClr val="0000FF"/>
                </a:solidFill>
                <a:latin typeface="Calibri"/>
              </a:rPr>
              <a:t>,  </a:t>
            </a:r>
            <a:r>
              <a:rPr lang="en-US" dirty="0">
                <a:solidFill>
                  <a:srgbClr val="0000FF"/>
                </a:solidFill>
                <a:latin typeface="Calibri"/>
                <a:hlinkClick r:id="rId13">
                  <a:extLst>
                    <a:ext uri="{A12FA001-AC4F-418D-AE19-62706E023703}">
                      <ahyp:hlinkClr xmlns:ahyp="http://schemas.microsoft.com/office/drawing/2018/hyperlinkcolor" val="tx"/>
                    </a:ext>
                  </a:extLst>
                </a:hlinkClick>
              </a:rPr>
              <a:t>Carbon Pulse</a:t>
            </a:r>
            <a:r>
              <a:rPr lang="en-US" dirty="0">
                <a:solidFill>
                  <a:srgbClr val="000000"/>
                </a:solidFill>
                <a:latin typeface="Calibri"/>
              </a:rPr>
              <a:t>; South Korea:  </a:t>
            </a:r>
            <a:r>
              <a:rPr lang="en-US" dirty="0">
                <a:solidFill>
                  <a:srgbClr val="0000FF"/>
                </a:solidFill>
                <a:latin typeface="Calibri"/>
                <a:hlinkClick r:id="rId14">
                  <a:extLst>
                    <a:ext uri="{A12FA001-AC4F-418D-AE19-62706E023703}">
                      <ahyp:hlinkClr xmlns:ahyp="http://schemas.microsoft.com/office/drawing/2018/hyperlinkcolor" val="tx"/>
                    </a:ext>
                  </a:extLst>
                </a:hlinkClick>
              </a:rPr>
              <a:t>Climate Scorecard</a:t>
            </a:r>
            <a:r>
              <a:rPr lang="en-US" dirty="0">
                <a:solidFill>
                  <a:srgbClr val="0000FF"/>
                </a:solidFill>
                <a:latin typeface="Calibri"/>
              </a:rPr>
              <a:t>, </a:t>
            </a:r>
            <a:r>
              <a:rPr lang="en-US" dirty="0">
                <a:solidFill>
                  <a:srgbClr val="0000FF"/>
                </a:solidFill>
                <a:latin typeface="Calibri"/>
                <a:hlinkClick r:id="rId15">
                  <a:extLst>
                    <a:ext uri="{A12FA001-AC4F-418D-AE19-62706E023703}">
                      <ahyp:hlinkClr xmlns:ahyp="http://schemas.microsoft.com/office/drawing/2018/hyperlinkcolor" val="tx"/>
                    </a:ext>
                  </a:extLst>
                </a:hlinkClick>
              </a:rPr>
              <a:t>Carbon Pulse</a:t>
            </a:r>
            <a:r>
              <a:rPr lang="en-US" dirty="0">
                <a:solidFill>
                  <a:srgbClr val="000000"/>
                </a:solidFill>
                <a:latin typeface="Calibri"/>
              </a:rPr>
              <a:t>; Nigeria: </a:t>
            </a:r>
            <a:r>
              <a:rPr lang="en-US" dirty="0">
                <a:solidFill>
                  <a:srgbClr val="0000FF"/>
                </a:solidFill>
                <a:latin typeface="Calibri"/>
                <a:hlinkClick r:id="rId16">
                  <a:extLst>
                    <a:ext uri="{A12FA001-AC4F-418D-AE19-62706E023703}">
                      <ahyp:hlinkClr xmlns:ahyp="http://schemas.microsoft.com/office/drawing/2018/hyperlinkcolor" val="tx"/>
                    </a:ext>
                  </a:extLst>
                </a:hlinkClick>
              </a:rPr>
              <a:t>FAO</a:t>
            </a:r>
            <a:r>
              <a:rPr lang="en-US" dirty="0">
                <a:solidFill>
                  <a:srgbClr val="0000FF"/>
                </a:solidFill>
                <a:latin typeface="Calibri"/>
              </a:rPr>
              <a:t>, </a:t>
            </a:r>
            <a:r>
              <a:rPr lang="en-US" dirty="0">
                <a:solidFill>
                  <a:srgbClr val="0000FF"/>
                </a:solidFill>
                <a:latin typeface="Calibri"/>
                <a:hlinkClick r:id="rId17">
                  <a:extLst>
                    <a:ext uri="{A12FA001-AC4F-418D-AE19-62706E023703}">
                      <ahyp:hlinkClr xmlns:ahyp="http://schemas.microsoft.com/office/drawing/2018/hyperlinkcolor" val="tx"/>
                    </a:ext>
                  </a:extLst>
                </a:hlinkClick>
              </a:rPr>
              <a:t>Federal Republic of Nigeria</a:t>
            </a:r>
            <a:r>
              <a:rPr lang="en-US" dirty="0">
                <a:solidFill>
                  <a:srgbClr val="000000"/>
                </a:solidFill>
                <a:latin typeface="Calibri"/>
              </a:rPr>
              <a:t>.</a:t>
            </a:r>
            <a:endParaRPr kumimoji="0" lang="en-US" sz="1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81588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oth federal-level announcements and a few state regulations have been introduced to promote voluntary compensation schemes for biodiversity offsetting.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U.S. Fish and Wildlife Service's FY 2025 budget proposes $126.4 million for the recovery of endangered species, a $15.9 million increase from FY 2024. This funding supports recovery plans, species reviews, and delisting/downlisting rules</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US has seven active programs and three in development. The two national statutes that allow for offsetting are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lean Water Ac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WA) and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angered Species Act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A), both requiring compensatory mitigation, as well as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ederal EIA guideline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hich set up the wetland and stream ecosystems and endangered species national offset programs. Annual payments from the schemes total US$1.5-$2.4 bn. Around 700,000 cumulative acres (283,280 ha) have been restored or protected through US programs.</a:t>
            </a:r>
          </a:p>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dditionally, the two larges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ffsetting programs</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wetland and species mitigation, offer three mechanisms for achieving compensation: do it yourself, pay into a fund, or buy a third-party credit.</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87812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85243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th Korea's 5th National Biodiversity Strategy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4-2028) aims to align with the Global Biodiversity Framework. Key goals include: Expanding protected areas to cover 30% of national land by 2030; Restoring 30% of damaged ecosystems; Reducing the inflow and settlement of alien species</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44645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399530"/>
            <a:ext cx="9847754"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igeria is a signatory of COP15 adopt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Kunming-Montreal Global Biodiversity Framework</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BF) that aims to protect 30% of Earth’s lands, oceans, coastal areas, inland waters and reduce by $500 billion annual harmful government subsidies.</a:t>
            </a:r>
          </a:p>
          <a:p>
            <a:pPr marR="0" lvl="0" algn="l" defTabSz="914400" rtl="0" eaLnBrk="1" fontAlgn="auto" latinLnBrk="0" hangingPunct="1">
              <a:lnSpc>
                <a:spcPct val="100000"/>
              </a:lnSpc>
              <a:spcBef>
                <a:spcPts val="0"/>
              </a:spcBef>
              <a:spcAft>
                <a:spcPts val="0"/>
              </a:spcAft>
              <a:buNone/>
              <a:tabLst/>
              <a:defRPr/>
            </a:pPr>
            <a:r>
              <a:rPr lang="en-US" sz="1200" dirty="0"/>
              <a:t>The </a:t>
            </a:r>
            <a:r>
              <a:rPr lang="en-US" sz="1200" b="1" dirty="0"/>
              <a:t>National Biodiversity Strategy and Action Plan </a:t>
            </a:r>
            <a:r>
              <a:rPr lang="en-US" sz="1200" dirty="0"/>
              <a:t>is an instrument with a multi-sectoral approach whose long-term vision is a Nigeria with healthy living environment where people live in harmony with nature and sustain the gains and benefits of biodiversity, integrating biodiversity into national program aimed at reducing poverty and developing a secure future in line with the principle of ecological sustainability and social equity. </a:t>
            </a:r>
            <a:endParaRPr lang="en-GB" sz="1200" dirty="0"/>
          </a:p>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7"/>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11F34753-9485-A3AC-0362-5F50F860521F}"/>
              </a:ext>
            </a:extLst>
          </p:cNvPr>
          <p:cNvPicPr>
            <a:picLocks noChangeAspect="1"/>
          </p:cNvPicPr>
          <p:nvPr/>
        </p:nvPicPr>
        <p:blipFill>
          <a:blip r:embed="rId18"/>
          <a:stretch>
            <a:fillRect/>
          </a:stretch>
        </p:blipFill>
        <p:spPr>
          <a:xfrm>
            <a:off x="554986" y="194654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A8A73F55-C727-2FF4-8B71-37C7D6C7888C}"/>
              </a:ext>
            </a:extLst>
          </p:cNvPr>
          <p:cNvPicPr>
            <a:picLocks noChangeAspect="1"/>
          </p:cNvPicPr>
          <p:nvPr/>
        </p:nvPicPr>
        <p:blipFill>
          <a:blip r:embed="rId19"/>
          <a:stretch>
            <a:fillRect/>
          </a:stretch>
        </p:blipFill>
        <p:spPr>
          <a:xfrm>
            <a:off x="554986" y="4455885"/>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64E7822B-7159-68CC-F4C3-4A960817E31B}"/>
              </a:ext>
            </a:extLst>
          </p:cNvPr>
          <p:cNvPicPr>
            <a:picLocks noChangeAspect="1"/>
          </p:cNvPicPr>
          <p:nvPr/>
        </p:nvPicPr>
        <p:blipFill>
          <a:blip r:embed="rId20"/>
          <a:stretch>
            <a:fillRect/>
          </a:stretch>
        </p:blipFill>
        <p:spPr>
          <a:xfrm>
            <a:off x="554986" y="3897269"/>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767980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57708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05" imgH="405" progId="TCLayout.ActiveDocument.1">
                  <p:embed/>
                </p:oleObj>
              </mc:Choice>
              <mc:Fallback>
                <p:oleObj name="think-cell Slide" r:id="rId10"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ature incentiv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90815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5"/>
            </p:custDataLst>
          </p:nvPr>
        </p:nvCxnSpPr>
        <p:spPr bwMode="gray">
          <a:xfrm>
            <a:off x="571500" y="384834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6"/>
            </p:custDataLst>
          </p:nvPr>
        </p:nvCxnSpPr>
        <p:spPr bwMode="gray">
          <a:xfrm>
            <a:off x="571500" y="298754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7"/>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dirty="0">
                <a:solidFill>
                  <a:srgbClr val="000000"/>
                </a:solidFill>
                <a:latin typeface="Calibri"/>
              </a:rPr>
              <a:t>Sources: Vietnam: </a:t>
            </a:r>
            <a:r>
              <a:rPr lang="en-US" dirty="0">
                <a:solidFill>
                  <a:srgbClr val="0000FF"/>
                </a:solidFill>
                <a:latin typeface="Calibri"/>
                <a:hlinkClick r:id="rId12">
                  <a:extLst>
                    <a:ext uri="{A12FA001-AC4F-418D-AE19-62706E023703}">
                      <ahyp:hlinkClr xmlns:ahyp="http://schemas.microsoft.com/office/drawing/2018/hyperlinkcolor" val="tx"/>
                    </a:ext>
                  </a:extLst>
                </a:hlinkClick>
              </a:rPr>
              <a:t>Ecosystem Marketplace</a:t>
            </a:r>
            <a:r>
              <a:rPr lang="en-US" dirty="0">
                <a:solidFill>
                  <a:srgbClr val="0000FF"/>
                </a:solidFill>
                <a:latin typeface="Calibri"/>
              </a:rPr>
              <a:t>, </a:t>
            </a:r>
            <a:r>
              <a:rPr lang="en-US" dirty="0">
                <a:solidFill>
                  <a:srgbClr val="0000FF"/>
                </a:solidFill>
                <a:latin typeface="Calibri"/>
                <a:hlinkClick r:id="rId13">
                  <a:extLst>
                    <a:ext uri="{A12FA001-AC4F-418D-AE19-62706E023703}">
                      <ahyp:hlinkClr xmlns:ahyp="http://schemas.microsoft.com/office/drawing/2018/hyperlinkcolor" val="tx"/>
                    </a:ext>
                  </a:extLst>
                </a:hlinkClick>
              </a:rPr>
              <a:t>UNDP</a:t>
            </a:r>
            <a:r>
              <a:rPr lang="en-US" dirty="0">
                <a:solidFill>
                  <a:srgbClr val="000000"/>
                </a:solidFill>
                <a:latin typeface="Calibri"/>
              </a:rPr>
              <a:t>; Mexico: </a:t>
            </a:r>
            <a:r>
              <a:rPr lang="en-US" dirty="0" err="1">
                <a:solidFill>
                  <a:srgbClr val="0000FF"/>
                </a:solidFill>
                <a:latin typeface="Calibri"/>
                <a:hlinkClick r:id="rId14">
                  <a:extLst>
                    <a:ext uri="{A12FA001-AC4F-418D-AE19-62706E023703}">
                      <ahyp:hlinkClr xmlns:ahyp="http://schemas.microsoft.com/office/drawing/2018/hyperlinkcolor" val="tx"/>
                    </a:ext>
                  </a:extLst>
                </a:hlinkClick>
              </a:rPr>
              <a:t>ProFor</a:t>
            </a:r>
            <a:r>
              <a:rPr lang="en-US">
                <a:solidFill>
                  <a:srgbClr val="000000"/>
                </a:solidFill>
                <a:latin typeface="Calibri"/>
              </a:rPr>
              <a:t>, </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hlinkClick r:id="rId15"/>
              </a:rPr>
              <a:t>IADB</a:t>
            </a:r>
            <a:r>
              <a:rPr kumimoji="0" lang="en-US" sz="8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r>
              <a:rPr lang="en-US" dirty="0">
                <a:solidFill>
                  <a:srgbClr val="000000"/>
                </a:solidFill>
                <a:latin typeface="Calibri"/>
              </a:rPr>
              <a:t> Türkiye: </a:t>
            </a:r>
            <a:r>
              <a:rPr lang="en-US" dirty="0">
                <a:solidFill>
                  <a:srgbClr val="0000FF"/>
                </a:solidFill>
                <a:latin typeface="Calibri"/>
                <a:hlinkClick r:id="rId16">
                  <a:extLst>
                    <a:ext uri="{A12FA001-AC4F-418D-AE19-62706E023703}">
                      <ahyp:hlinkClr xmlns:ahyp="http://schemas.microsoft.com/office/drawing/2018/hyperlinkcolor" val="tx"/>
                    </a:ext>
                  </a:extLst>
                </a:hlinkClick>
              </a:rPr>
              <a:t>European Parliament</a:t>
            </a:r>
            <a:r>
              <a:rPr lang="en-US" dirty="0">
                <a:solidFill>
                  <a:srgbClr val="000000"/>
                </a:solidFill>
                <a:latin typeface="Calibri"/>
              </a:rPr>
              <a:t>; India: </a:t>
            </a:r>
            <a:r>
              <a:rPr lang="en-US" dirty="0">
                <a:solidFill>
                  <a:srgbClr val="0000FF"/>
                </a:solidFill>
                <a:latin typeface="Calibri"/>
                <a:hlinkClick r:id="rId17">
                  <a:extLst>
                    <a:ext uri="{A12FA001-AC4F-418D-AE19-62706E023703}">
                      <ahyp:hlinkClr xmlns:ahyp="http://schemas.microsoft.com/office/drawing/2018/hyperlinkcolor" val="tx"/>
                    </a:ext>
                  </a:extLst>
                </a:hlinkClick>
              </a:rPr>
              <a:t>Mongabay</a:t>
            </a:r>
            <a:r>
              <a:rPr lang="en-US" dirty="0">
                <a:solidFill>
                  <a:srgbClr val="0000FF"/>
                </a:solidFill>
                <a:latin typeface="Calibri"/>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Vietnam, a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yment for Ecosystem Services (PE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as initiated in 2009, generating a total revenue of USD$4 million in its first year. Under this scheme, households are contracted to manage approximately 20 hectares of forest, with a participation of 3,400 households in the program. Currently, the program operates on a voluntary basis, but the government is contemplating the possibility of making "payment for forest ecosystem services" mandatory in the future.</a:t>
            </a:r>
          </a:p>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its 10+ years of implementation, PES has generated revenues of over VND 16,476 billion (approximately US$ 720.6 million). This revenue has been used to protect over 6.5 million hectares of forests while providing incomes to over 250,000 households.</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07175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046055"/>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03, Mexico’s National Forestry Commission (CONAFOR) launched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yment for Hydrological Services Program</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or PSA, for its Spanish acronym). The PSA provides communities with economic incentives to conserve and manage forests. The PSA grants to communities on average roughly USD $24 per hectare of land enrolled, with a cap of 3,000 hectares. </a:t>
            </a:r>
            <a:r>
              <a:rPr lang="en-US" sz="1200" dirty="0">
                <a:solidFill>
                  <a:srgbClr val="000000"/>
                </a:solidFill>
                <a:latin typeface="Calibri"/>
              </a:rPr>
              <a:t>In 2024 IDB and Global Affairs Canada launched funding for Nature-based Solutions in four Latin American countries to support policy, private investment, and pilot projects.</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04829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959332"/>
            <a:ext cx="9847754"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ia is a signatory of COP15 adopt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Kunming-Montreal Global Biodiversity Framework</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BF) that aims to protect 30% of Earth’s lands, oceans, coastal areas, inland waters and reduce by US$500 billion annual harmful government subsidies.</a:t>
            </a:r>
          </a:p>
          <a:p>
            <a:pPr marR="0" lvl="0" algn="l" defTabSz="914400" rtl="0" eaLnBrk="1" fontAlgn="auto" latinLnBrk="0" hangingPunct="1">
              <a:lnSpc>
                <a:spcPct val="100000"/>
              </a:lnSpc>
              <a:spcBef>
                <a:spcPts val="300"/>
              </a:spcBef>
              <a:spcAft>
                <a:spcPts val="300"/>
              </a:spcAft>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ational Biodiversity Strategy and Action Plan</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ia presented its updated plan in October 2024, aligning with global biodiversity goals for 2030 and 2050. The plan is projected to cost Rs. 816 billion (approximately $10 billion) per year between 2024-2025 and 2029-2030.</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06180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ürkiye</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03610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ürkiye</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s a signatory of COP15 adopt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Kunming-Montreal Global Biodiversity Framework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BF) that aims to protect 30% of Earth’s lands, oceans, coastal areas, inland waters and reduce by US$500 billion annual harmful government subsidies.</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8"/>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5D254DBD-88EF-C314-C337-FA2D48A30CA8}"/>
              </a:ext>
            </a:extLst>
          </p:cNvPr>
          <p:cNvPicPr>
            <a:picLocks noChangeAspect="1"/>
          </p:cNvPicPr>
          <p:nvPr/>
        </p:nvPicPr>
        <p:blipFill>
          <a:blip r:embed="rId18"/>
          <a:stretch>
            <a:fillRect/>
          </a:stretch>
        </p:blipFill>
        <p:spPr>
          <a:xfrm>
            <a:off x="554986" y="194654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3F66654C-2B31-E2CA-570E-BF3983EF8A6E}"/>
              </a:ext>
            </a:extLst>
          </p:cNvPr>
          <p:cNvPicPr>
            <a:picLocks noChangeAspect="1"/>
          </p:cNvPicPr>
          <p:nvPr/>
        </p:nvPicPr>
        <p:blipFill>
          <a:blip r:embed="rId19"/>
          <a:stretch>
            <a:fillRect/>
          </a:stretch>
        </p:blipFill>
        <p:spPr>
          <a:xfrm>
            <a:off x="554986" y="4063901"/>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57F85A4C-AC0D-05BE-DB65-DA74DCAD2AAC}"/>
              </a:ext>
            </a:extLst>
          </p:cNvPr>
          <p:cNvPicPr>
            <a:picLocks noChangeAspect="1"/>
          </p:cNvPicPr>
          <p:nvPr/>
        </p:nvPicPr>
        <p:blipFill>
          <a:blip r:embed="rId20"/>
          <a:stretch>
            <a:fillRect/>
          </a:stretch>
        </p:blipFill>
        <p:spPr>
          <a:xfrm>
            <a:off x="554986" y="3085674"/>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7F937C16-15B9-86AC-62F0-F9FFBC3D94D7}"/>
              </a:ext>
            </a:extLst>
          </p:cNvPr>
          <p:cNvPicPr>
            <a:picLocks noChangeAspect="1"/>
          </p:cNvPicPr>
          <p:nvPr/>
        </p:nvPicPr>
        <p:blipFill>
          <a:blip r:embed="rId21"/>
          <a:stretch>
            <a:fillRect/>
          </a:stretch>
        </p:blipFill>
        <p:spPr>
          <a:xfrm>
            <a:off x="554986" y="5086607"/>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048334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896997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Nature incentives: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96953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56463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91399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299852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8"/>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EU: </a:t>
            </a:r>
            <a:r>
              <a:rPr lang="en-US" dirty="0">
                <a:solidFill>
                  <a:srgbClr val="000000"/>
                </a:solidFill>
                <a:latin typeface="Calibri"/>
                <a:hlinkClick r:id="rId13"/>
              </a:rPr>
              <a:t>European Commiss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err="1">
                <a:solidFill>
                  <a:srgbClr val="000000"/>
                </a:solidFill>
                <a:latin typeface="Calibri"/>
                <a:hlinkClick r:id="rId14"/>
              </a:rPr>
              <a:t>Europarc</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Science Direc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BMZ</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DGB Grou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a:solidFill>
                  <a:srgbClr val="000000"/>
                </a:solidFill>
                <a:latin typeface="Calibri"/>
                <a:hlinkClick r:id="rId18"/>
              </a:rPr>
              <a:t>EIB</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Carbon Puls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en-US" dirty="0">
                <a:solidFill>
                  <a:srgbClr val="000000"/>
                </a:solidFill>
                <a:latin typeface="Calibri"/>
                <a:hlinkClick r:id="rId20"/>
              </a:rPr>
              <a:t>Ambassade de France au </a:t>
            </a:r>
            <a:r>
              <a:rPr lang="en-US" dirty="0" err="1">
                <a:solidFill>
                  <a:srgbClr val="000000"/>
                </a:solidFill>
                <a:latin typeface="Calibri"/>
                <a:hlinkClick r:id="rId20"/>
              </a:rPr>
              <a:t>royaume</a:t>
            </a:r>
            <a:r>
              <a:rPr lang="en-US" dirty="0">
                <a:solidFill>
                  <a:srgbClr val="000000"/>
                </a:solidFill>
                <a:latin typeface="Calibri"/>
                <a:hlinkClick r:id="rId20"/>
              </a:rPr>
              <a:t>-Uni; </a:t>
            </a:r>
            <a:r>
              <a:rPr lang="en-US" dirty="0">
                <a:solidFill>
                  <a:srgbClr val="000000"/>
                </a:solidFill>
                <a:latin typeface="Calibri"/>
              </a:rPr>
              <a:t>Indonesia: </a:t>
            </a:r>
            <a:r>
              <a:rPr lang="en-US" dirty="0">
                <a:solidFill>
                  <a:srgbClr val="000000"/>
                </a:solidFill>
                <a:latin typeface="Calibri"/>
                <a:hlinkClick r:id="rId21"/>
              </a:rPr>
              <a:t>ICI</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Japan: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International Partnership for the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22"/>
              </a:rPr>
              <a:t>Satoyam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 Initiativ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IUC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 </a:t>
            </a:r>
            <a:endPar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U</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iodiversity</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inancing</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mp;</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licies</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EU, through the NCFF and EIB, has committed €60m to biodiversity and climate adaptation projects. By 2026-2027, 10% of the EU budget will go to biodiversity, with a dedicated conservation fund proposed for 2025.</a:t>
            </a:r>
          </a:p>
          <a:p>
            <a:pPr marR="0" lvl="0" algn="l" defTabSz="914400" rtl="0" eaLnBrk="1" fontAlgn="auto" latinLnBrk="0" hangingPunct="1">
              <a:lnSpc>
                <a:spcPct val="100000"/>
              </a:lnSpc>
              <a:spcBef>
                <a:spcPts val="300"/>
              </a:spcBef>
              <a:spcAft>
                <a:spcPts val="300"/>
              </a:spcAft>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ational Policies: Germany:</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No national offset program, but IMR ensures “no net loss” through restoration and compensation; €1.5 billion pledged annually for biodiversity by 2025;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taly</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3Bee will launch standardized biodiversity credits by 2025 to support conservation efforts;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rance</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nforces compensatory reforestation and pledged €5 million to the GBFF; developing an international biodiversity market with the UK by COP16 (2024).</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22833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5878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09430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061151"/>
            <a:ext cx="9847754" cy="815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Japan is a signatory of COP15 adopt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Kunming-Montreal Global Biodiversity Framework</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BF) that aims to protect 30% of Earth’s lands, oceans, coastal areas, inland waters and reduce by $500 billion annual harmful government subsidies.</a:t>
            </a:r>
          </a:p>
          <a:p>
            <a:pPr marR="0" lvl="0" algn="l" defTabSz="914400" rtl="0" eaLnBrk="1" fontAlgn="auto" latinLnBrk="0" hangingPunct="1">
              <a:lnSpc>
                <a:spcPct val="100000"/>
              </a:lnSpc>
              <a:spcBef>
                <a:spcPts val="300"/>
              </a:spcBef>
              <a:spcAft>
                <a:spcPts val="300"/>
              </a:spcAft>
              <a:buClr>
                <a:srgbClr val="00BFD5"/>
              </a:buClr>
              <a:buSzPct val="100000"/>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a:t>
            </a:r>
            <a:r>
              <a:rPr kumimoji="0" lang="en-US" sz="12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Satoyama</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itiative International Workshop was convened by the Ministry of the Environment of Japan with the participation of representatives from governments, international organizations, academia, NGOs and a wide range of other stakeholders.</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00976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985991"/>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onesia is a signatory of COP15 adopted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Kunming-Montreal Global Biodiversity Framework</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BF) that aims to protect 30% of Earth’s lands, oceans, coastal areas, inland waters and reduce by $500 billion annual harmful government subsidies. </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country launched the Indonesian Biodiversity Strategy &amp; Action Plan (IBSAP) 2025-2045 on August 8, 2024, which serves as a strategic roadmap for biodiversity management</a:t>
            </a:r>
            <a:r>
              <a:rPr lang="en-US" sz="1200" dirty="0">
                <a:solidFill>
                  <a:srgbClr val="000000"/>
                </a:solidFill>
                <a:latin typeface="Calibri"/>
              </a:rPr>
              <a:t>.</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66041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647932"/>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 does not have market incentives in place related to biodiversity</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06531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03961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 does not have market incentives in place related to biodiversity</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9"/>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0AF6439E-6B86-209F-9F7B-C59EDCA30437}"/>
              </a:ext>
            </a:extLst>
          </p:cNvPr>
          <p:cNvPicPr>
            <a:picLocks noChangeAspect="1"/>
          </p:cNvPicPr>
          <p:nvPr/>
        </p:nvPicPr>
        <p:blipFill>
          <a:blip r:embed="rId24"/>
          <a:stretch>
            <a:fillRect/>
          </a:stretch>
        </p:blipFill>
        <p:spPr>
          <a:xfrm>
            <a:off x="554986" y="2600510"/>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D22C75D7-84E3-2335-D3D0-830D87A75972}"/>
              </a:ext>
            </a:extLst>
          </p:cNvPr>
          <p:cNvPicPr>
            <a:picLocks noChangeAspect="1"/>
          </p:cNvPicPr>
          <p:nvPr/>
        </p:nvPicPr>
        <p:blipFill>
          <a:blip r:embed="rId25"/>
          <a:stretch>
            <a:fillRect/>
          </a:stretch>
        </p:blipFill>
        <p:spPr>
          <a:xfrm>
            <a:off x="554986" y="1946549"/>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E30BE4DB-5457-5A9E-92AC-76C57DF19132}"/>
              </a:ext>
            </a:extLst>
          </p:cNvPr>
          <p:cNvPicPr>
            <a:picLocks noChangeAspect="1"/>
          </p:cNvPicPr>
          <p:nvPr/>
        </p:nvPicPr>
        <p:blipFill>
          <a:blip r:embed="rId26"/>
          <a:stretch>
            <a:fillRect/>
          </a:stretch>
        </p:blipFill>
        <p:spPr>
          <a:xfrm>
            <a:off x="554986" y="2249689"/>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4B018E2A-E924-7FC8-2025-56B671F316F5}"/>
              </a:ext>
            </a:extLst>
          </p:cNvPr>
          <p:cNvPicPr>
            <a:picLocks noChangeAspect="1"/>
          </p:cNvPicPr>
          <p:nvPr/>
        </p:nvPicPr>
        <p:blipFill>
          <a:blip r:embed="rId27"/>
          <a:stretch>
            <a:fillRect/>
          </a:stretch>
        </p:blipFill>
        <p:spPr>
          <a:xfrm>
            <a:off x="554986" y="4671055"/>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06909CD4-D698-75FC-9CF9-81FAE107AAEF}"/>
              </a:ext>
            </a:extLst>
          </p:cNvPr>
          <p:cNvPicPr>
            <a:picLocks noChangeAspect="1"/>
          </p:cNvPicPr>
          <p:nvPr/>
        </p:nvPicPr>
        <p:blipFill>
          <a:blip r:embed="rId28"/>
          <a:stretch>
            <a:fillRect/>
          </a:stretch>
        </p:blipFill>
        <p:spPr>
          <a:xfrm>
            <a:off x="554986" y="5078486"/>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C8DD5F73-E819-1DE3-BEA4-07EF29B4C431}"/>
              </a:ext>
            </a:extLst>
          </p:cNvPr>
          <p:cNvPicPr>
            <a:picLocks noChangeAspect="1"/>
          </p:cNvPicPr>
          <p:nvPr/>
        </p:nvPicPr>
        <p:blipFill>
          <a:blip r:embed="rId29"/>
          <a:stretch>
            <a:fillRect/>
          </a:stretch>
        </p:blipFill>
        <p:spPr>
          <a:xfrm>
            <a:off x="554986" y="4026261"/>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0032F9B0-A7A5-32F1-BE1F-A77A8FEC6F1F}"/>
              </a:ext>
            </a:extLst>
          </p:cNvPr>
          <p:cNvPicPr>
            <a:picLocks noChangeAspect="1"/>
          </p:cNvPicPr>
          <p:nvPr/>
        </p:nvPicPr>
        <p:blipFill>
          <a:blip r:embed="rId30"/>
          <a:stretch>
            <a:fillRect/>
          </a:stretch>
        </p:blipFill>
        <p:spPr>
          <a:xfrm>
            <a:off x="554986" y="3107467"/>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914485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DA2D1C7-4E0E-FCB5-B29E-262D84339A4E}"/>
              </a:ext>
            </a:extLst>
          </p:cNvPr>
          <p:cNvGraphicFramePr>
            <a:graphicFrameLocks noChangeAspect="1"/>
          </p:cNvGraphicFramePr>
          <p:nvPr>
            <p:custDataLst>
              <p:tags r:id="rId1"/>
            </p:custDataLst>
            <p:extLst>
              <p:ext uri="{D42A27DB-BD31-4B8C-83A1-F6EECF244321}">
                <p14:modId xmlns:p14="http://schemas.microsoft.com/office/powerpoint/2010/main" val="1769696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6" name="think-cell data - do not delete" hidden="1">
                        <a:extLst>
                          <a:ext uri="{FF2B5EF4-FFF2-40B4-BE49-F238E27FC236}">
                            <a16:creationId xmlns:a16="http://schemas.microsoft.com/office/drawing/2014/main" id="{4DA2D1C7-4E0E-FCB5-B29E-262D84339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2A14DF-7B33-AAE1-8F65-948AAF47A457}"/>
              </a:ext>
            </a:extLst>
          </p:cNvPr>
          <p:cNvSpPr>
            <a:spLocks noGrp="1"/>
          </p:cNvSpPr>
          <p:nvPr>
            <p:ph type="title"/>
          </p:nvPr>
        </p:nvSpPr>
        <p:spPr/>
        <p:txBody>
          <a:bodyPr vert="horz"/>
          <a:lstStyle/>
          <a:p>
            <a:r>
              <a:rPr lang="en-US" cap="none">
                <a:solidFill>
                  <a:srgbClr val="000000"/>
                </a:solidFill>
                <a:latin typeface="+mn-lt"/>
                <a:ea typeface="+mn-ea"/>
                <a:cs typeface="+mn-cs"/>
              </a:rPr>
              <a:t>Disclaimer</a:t>
            </a:r>
            <a:endParaRPr lang="en-US"/>
          </a:p>
        </p:txBody>
      </p:sp>
      <p:sp>
        <p:nvSpPr>
          <p:cNvPr id="4" name="TextBox 3">
            <a:extLst>
              <a:ext uri="{FF2B5EF4-FFF2-40B4-BE49-F238E27FC236}">
                <a16:creationId xmlns:a16="http://schemas.microsoft.com/office/drawing/2014/main" id="{23D6836F-B077-E462-43BB-C2BE60F49FE8}"/>
              </a:ext>
            </a:extLst>
          </p:cNvPr>
          <p:cNvSpPr txBox="1"/>
          <p:nvPr/>
        </p:nvSpPr>
        <p:spPr>
          <a:xfrm>
            <a:off x="515936" y="1566844"/>
            <a:ext cx="5980113" cy="489364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Calibri Light"/>
                <a:ea typeface="+mn-ea"/>
                <a:cs typeface="+mn-cs"/>
              </a:rPr>
              <a:t>This report has been created by Energy Transition Advisers and Theia Finance Labs (The Inevitable Policy Response Consortium).</a:t>
            </a:r>
            <a:r>
              <a:rPr lang="en-GB" sz="1200" dirty="0">
                <a:solidFill>
                  <a:srgbClr val="000000"/>
                </a:solidFill>
                <a:latin typeface="Calibri Light"/>
              </a:rPr>
              <a:t> </a:t>
            </a:r>
            <a:r>
              <a:rPr kumimoji="0" lang="en-GB" sz="1200" b="0" i="0" u="none" strike="noStrike" kern="1200" cap="none" spc="0" normalizeH="0" baseline="0" noProof="0" dirty="0">
                <a:ln>
                  <a:noFill/>
                </a:ln>
                <a:solidFill>
                  <a:srgbClr val="000000"/>
                </a:solidFill>
                <a:effectLst/>
                <a:uLnTx/>
                <a:uFillTx/>
                <a:latin typeface="Calibri Light"/>
                <a:ea typeface="+mn-ea"/>
                <a:cs typeface="+mn-cs"/>
              </a:rPr>
              <a:t>This report represents the Inevitable Policy Response’s own selection of applicable data. The Inevitable Policy Response is solely responsible for, and this report represents, such scenario selection, all assumptions underlying such selection, and all resulting findings, and conclusions and deci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Calibri Light"/>
                <a:ea typeface="+mn-ea"/>
                <a:cs typeface="+mn-cs"/>
              </a:rPr>
              <a:t>The information contained in this report is meant for the purposes of information only and is not intended to be investment, legal, tax or other advice, nor is it intended to be relied upon in making an investment or other decision. This report is provided with the understanding that the authors and publishers are not providing advice on legal, economic, investment or other professional issues and services. Unless expressly stated otherwise, the opinions, recommendations, findings, interpretations and conclusions expressed in this report are those of the various contributors to the report and do not necessarily represent the views of PRI Association or the signatories to the Principles for Responsible Investment. The inclusion of company examples does not in any way constitute an endorsement of these organisations by PRI Association or the signatories to the Principles for Responsible Investment. While we have endeavoured to ensure that the information contained in this report has been obtained from reliable and </a:t>
            </a:r>
            <a:r>
              <a:rPr kumimoji="0" lang="en-GB" sz="1200" b="0" i="0" u="none" strike="noStrike" kern="1200" cap="none" spc="0" normalizeH="0" baseline="0" noProof="0">
                <a:ln>
                  <a:noFill/>
                </a:ln>
                <a:solidFill>
                  <a:srgbClr val="000000"/>
                </a:solidFill>
                <a:effectLst/>
                <a:uLnTx/>
                <a:uFillTx/>
                <a:latin typeface="Calibri Light"/>
                <a:ea typeface="+mn-ea"/>
                <a:cs typeface="+mn-cs"/>
              </a:rPr>
              <a:t>up-to-date sources</a:t>
            </a:r>
            <a:r>
              <a:rPr kumimoji="0" lang="en-GB" sz="1200" b="0" i="0" u="none" strike="noStrike" kern="1200" cap="none" spc="0" normalizeH="0" baseline="0" noProof="0" dirty="0">
                <a:ln>
                  <a:noFill/>
                </a:ln>
                <a:solidFill>
                  <a:srgbClr val="000000"/>
                </a:solidFill>
                <a:effectLst/>
                <a:uLnTx/>
                <a:uFillTx/>
                <a:latin typeface="Calibri Light"/>
                <a:ea typeface="+mn-ea"/>
                <a:cs typeface="+mn-cs"/>
              </a:rPr>
              <a:t>, the changing nature of statistics, laws, rules and regulations may result in delays, omissions or inaccuracies in information contained in this report. PRI Association is not responsible for any errors or omissions, or for any decision made or action taken based on information contained in this report or for any loss or damage arising from or caused by such decision or action. All information in this report is provided “as-is”, with no guarantee of completeness, accuracy, timeliness or of the results obtained from the use of this information, and without warranty of any kind, expressed or implied. The IPR consortium are not investment advisers and makes no representation regarding the advisability of investing in any particular company, investment fund or other vehicle. </a:t>
            </a:r>
            <a:endParaRPr kumimoji="0" lang="en-US" sz="12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5" name="TextBox 4">
            <a:extLst>
              <a:ext uri="{FF2B5EF4-FFF2-40B4-BE49-F238E27FC236}">
                <a16:creationId xmlns:a16="http://schemas.microsoft.com/office/drawing/2014/main" id="{AB427F37-3E08-1682-5E9C-BD0AA90C4A32}"/>
              </a:ext>
            </a:extLst>
          </p:cNvPr>
          <p:cNvSpPr txBox="1"/>
          <p:nvPr/>
        </p:nvSpPr>
        <p:spPr>
          <a:xfrm>
            <a:off x="6877049" y="1566844"/>
            <a:ext cx="4626267" cy="34163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Calibri Light"/>
                <a:ea typeface="+mn-ea"/>
                <a:cs typeface="+mn-cs"/>
              </a:rPr>
              <a:t>The information contained in this research report does not constitute an offer to sell securities or the solicitation of an offer to buy, or recommendation for investment in, any securities within the United States or any other jurisdiction. This research report provides general information only. The information is not intended as financial advice, and decisions to invest should not be made in reliance on any of the statements set forth in this document. The IPR consortium shall not be liable for any claims or losses of any nature in connection with information contained in this document, including but not limited to, lost profits or punitive or consequential damages. The information and opinions in this report constitute a judgement as at the date indicated and are subject to change without notice. The information may therefore not be accurate or current. The information and opinions contained in this report have been compiled or arrived at </a:t>
            </a:r>
            <a:r>
              <a:rPr kumimoji="0" lang="en-GB" sz="1200" b="0" i="0" u="none" strike="noStrike" kern="1200" cap="none" spc="0" normalizeH="0" baseline="0" noProof="0">
                <a:ln>
                  <a:noFill/>
                </a:ln>
                <a:solidFill>
                  <a:srgbClr val="000000"/>
                </a:solidFill>
                <a:effectLst/>
                <a:uLnTx/>
                <a:uFillTx/>
                <a:latin typeface="Calibri Light"/>
                <a:ea typeface="+mn-ea"/>
                <a:cs typeface="+mn-cs"/>
              </a:rPr>
              <a:t>from sources </a:t>
            </a:r>
            <a:r>
              <a:rPr kumimoji="0" lang="en-GB" sz="1200" b="0" i="0" u="none" strike="noStrike" kern="1200" cap="none" spc="0" normalizeH="0" baseline="0" noProof="0" dirty="0">
                <a:ln>
                  <a:noFill/>
                </a:ln>
                <a:solidFill>
                  <a:srgbClr val="000000"/>
                </a:solidFill>
                <a:effectLst/>
                <a:uLnTx/>
                <a:uFillTx/>
                <a:latin typeface="Calibri Light"/>
                <a:ea typeface="+mn-ea"/>
                <a:cs typeface="+mn-cs"/>
              </a:rPr>
              <a:t>believed to be reliable in good faith, but no representation or warranty, express or implied, is made by the IPR consortium as to their accuracy, completeness or correctness and the IPR consortium do also not warrant that the information is up to date.</a:t>
            </a:r>
            <a:endParaRPr kumimoji="0" lang="en-US" sz="1200" b="0" i="0" u="none" strike="noStrike" kern="1200" cap="none" spc="0" normalizeH="0" baseline="0" noProof="0" dirty="0">
              <a:ln>
                <a:noFill/>
              </a:ln>
              <a:solidFill>
                <a:srgbClr val="000000"/>
              </a:solidFill>
              <a:effectLst/>
              <a:uLnTx/>
              <a:uFillTx/>
              <a:latin typeface="Calibri Light"/>
              <a:ea typeface="+mn-ea"/>
              <a:cs typeface="+mn-cs"/>
            </a:endParaRPr>
          </a:p>
        </p:txBody>
      </p:sp>
    </p:spTree>
    <p:extLst>
      <p:ext uri="{BB962C8B-B14F-4D97-AF65-F5344CB8AC3E}">
        <p14:creationId xmlns:p14="http://schemas.microsoft.com/office/powerpoint/2010/main" val="12958789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25793B-CD1B-9931-5BD1-92837C6BFC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DE25793B-CD1B-9931-5BD1-92837C6BFC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3D37AD-5571-D1CB-6B1F-C58FD8B21AE7}"/>
              </a:ext>
            </a:extLst>
          </p:cNvPr>
          <p:cNvSpPr>
            <a:spLocks noGrp="1"/>
          </p:cNvSpPr>
          <p:nvPr>
            <p:ph type="title"/>
          </p:nvPr>
        </p:nvSpPr>
        <p:spPr/>
        <p:txBody>
          <a:bodyPr vert="horz"/>
          <a:lstStyle/>
          <a:p>
            <a:r>
              <a:rPr lang="en-US"/>
              <a:t>IPR Contacts</a:t>
            </a:r>
          </a:p>
        </p:txBody>
      </p:sp>
      <p:sp>
        <p:nvSpPr>
          <p:cNvPr id="4" name="Title 1">
            <a:extLst>
              <a:ext uri="{FF2B5EF4-FFF2-40B4-BE49-F238E27FC236}">
                <a16:creationId xmlns:a16="http://schemas.microsoft.com/office/drawing/2014/main" id="{327DB0B6-C428-92B6-6D02-ADB90EC438D9}"/>
              </a:ext>
            </a:extLst>
          </p:cNvPr>
          <p:cNvSpPr txBox="1">
            <a:spLocks/>
          </p:cNvSpPr>
          <p:nvPr/>
        </p:nvSpPr>
        <p:spPr>
          <a:xfrm>
            <a:off x="489555" y="2362134"/>
            <a:ext cx="10482943" cy="2133731"/>
          </a:xfrm>
          <a:prstGeom prst="rect">
            <a:avLst/>
          </a:prstGeom>
          <a:noFill/>
        </p:spPr>
        <p:txBody>
          <a:bodyPr anchor="ctr"/>
          <a:lstStyle>
            <a:lvl1pPr algn="l" defTabSz="914400" rtl="0" eaLnBrk="1" latinLnBrk="0" hangingPunct="1">
              <a:lnSpc>
                <a:spcPct val="90000"/>
              </a:lnSpc>
              <a:spcBef>
                <a:spcPct val="0"/>
              </a:spcBef>
              <a:buNone/>
              <a:defRPr sz="4000" kern="1200">
                <a:solidFill>
                  <a:srgbClr val="00AFF0"/>
                </a:solidFill>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Calibri"/>
                <a:ea typeface="+mj-ea"/>
                <a:cs typeface="+mj-cs"/>
              </a:rPr>
              <a:t>Technical Enquirie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dirty="0" err="1">
                <a:ln>
                  <a:noFill/>
                </a:ln>
                <a:solidFill>
                  <a:srgbClr val="000000"/>
                </a:solidFill>
                <a:effectLst/>
                <a:uLnTx/>
                <a:uFillTx/>
                <a:latin typeface="Calibri"/>
                <a:ea typeface="+mj-ea"/>
                <a:cs typeface="+mj-cs"/>
              </a:rPr>
              <a:t>Dr.</a:t>
            </a:r>
            <a:r>
              <a:rPr kumimoji="0" lang="en-GB" sz="2000" b="0" i="0" u="none" strike="noStrike" kern="1200" cap="none" spc="0" normalizeH="0" baseline="0" noProof="0" dirty="0">
                <a:ln>
                  <a:noFill/>
                </a:ln>
                <a:solidFill>
                  <a:srgbClr val="000000"/>
                </a:solidFill>
                <a:effectLst/>
                <a:uLnTx/>
                <a:uFillTx/>
                <a:latin typeface="Calibri"/>
                <a:ea typeface="+mj-ea"/>
                <a:cs typeface="+mj-cs"/>
              </a:rPr>
              <a:t> Jakob Thomä, Research Director</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Calibri"/>
                <a:ea typeface="+mj-ea"/>
                <a:cs typeface="+mj-cs"/>
                <a:hlinkClick r:id="rId5"/>
              </a:rPr>
              <a:t>Jakob@theiafinance.org</a:t>
            </a:r>
            <a:r>
              <a:rPr kumimoji="0" lang="en-GB" sz="2000" b="0" i="0" u="none" strike="noStrike" kern="1200" cap="none" spc="0" normalizeH="0" baseline="0" noProof="0" dirty="0">
                <a:ln>
                  <a:noFill/>
                </a:ln>
                <a:solidFill>
                  <a:srgbClr val="000000"/>
                </a:solidFill>
                <a:effectLst/>
                <a:uLnTx/>
                <a:uFillTx/>
                <a:latin typeface="Calibri"/>
                <a:ea typeface="+mj-ea"/>
                <a:cs typeface="+mj-cs"/>
              </a:rPr>
              <a:t>.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Calibri"/>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Calibri"/>
                <a:ea typeface="+mj-ea"/>
                <a:cs typeface="+mj-cs"/>
              </a:rPr>
              <a:t>Media Enquirie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Calibri"/>
                <a:ea typeface="+mj-ea"/>
                <a:cs typeface="+mj-cs"/>
              </a:rPr>
              <a:t>Andrew Whiley, Communications Manager</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Calibri"/>
                <a:ea typeface="+mj-ea"/>
                <a:cs typeface="+mj-cs"/>
                <a:hlinkClick r:id="rId6"/>
              </a:rPr>
              <a:t>Andrew.Whiley@inevitablepolicyresponse.org</a:t>
            </a:r>
            <a:endParaRPr kumimoji="0" lang="en-GB" sz="2000" b="0" i="0" u="none" strike="noStrike" kern="1200" cap="none" spc="0" normalizeH="0" baseline="0" noProof="0" dirty="0">
              <a:ln>
                <a:noFill/>
              </a:ln>
              <a:solidFill>
                <a:srgbClr val="000000"/>
              </a:solidFill>
              <a:effectLst/>
              <a:uLnTx/>
              <a:uFillTx/>
              <a:latin typeface="Calibri"/>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Calibri"/>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Calibri"/>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GB" sz="2000" b="0" i="0" u="none" strike="noStrike" kern="1200" cap="none" spc="0" normalizeH="0" baseline="0" noProof="0" dirty="0">
                <a:ln>
                  <a:noFill/>
                </a:ln>
                <a:solidFill>
                  <a:srgbClr val="000000"/>
                </a:solidFill>
                <a:effectLst/>
                <a:uLnTx/>
                <a:uFillTx/>
                <a:latin typeface="Calibri"/>
                <a:ea typeface="+mj-ea"/>
                <a:cs typeface="+mj-cs"/>
              </a:rPr>
            </a:br>
            <a:endParaRPr kumimoji="0" lang="en-GB" sz="2000" b="0" i="0" u="none" strike="noStrike" kern="1200" cap="none" spc="0" normalizeH="0" baseline="0" noProof="0" dirty="0">
              <a:ln>
                <a:noFill/>
              </a:ln>
              <a:solidFill>
                <a:srgbClr val="000000"/>
              </a:solidFill>
              <a:effectLst/>
              <a:uLnTx/>
              <a:uFillTx/>
              <a:latin typeface="Calibri"/>
              <a:ea typeface="+mj-ea"/>
              <a:cs typeface="+mj-cs"/>
            </a:endParaRPr>
          </a:p>
        </p:txBody>
      </p:sp>
      <p:sp>
        <p:nvSpPr>
          <p:cNvPr id="5" name="Subtitle 2">
            <a:extLst>
              <a:ext uri="{FF2B5EF4-FFF2-40B4-BE49-F238E27FC236}">
                <a16:creationId xmlns:a16="http://schemas.microsoft.com/office/drawing/2014/main" id="{B466C0AC-8944-8AAA-8859-9A81AB0DA7FB}"/>
              </a:ext>
            </a:extLst>
          </p:cNvPr>
          <p:cNvSpPr txBox="1">
            <a:spLocks/>
          </p:cNvSpPr>
          <p:nvPr/>
        </p:nvSpPr>
        <p:spPr>
          <a:xfrm>
            <a:off x="489554" y="4003808"/>
            <a:ext cx="10482943" cy="236231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500" kern="1200">
                <a:solidFill>
                  <a:srgbClr val="0050A0"/>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ocial Media: F</a:t>
            </a:r>
            <a:r>
              <a:rPr kumimoji="0" lang="en-US" sz="2000" b="1" i="0" u="none" strike="noStrike" kern="1200" cap="none" spc="0" normalizeH="0" baseline="0" noProof="0" err="1">
                <a:ln>
                  <a:noFill/>
                </a:ln>
                <a:solidFill>
                  <a:srgbClr val="000000"/>
                </a:solidFill>
                <a:effectLst/>
                <a:uLnTx/>
                <a:uFillTx/>
                <a:latin typeface="Calibri"/>
                <a:ea typeface="+mn-ea"/>
                <a:cs typeface="Arial" panose="020B0604020202020204" pitchFamily="34" charset="0"/>
              </a:rPr>
              <a:t>ollow</a:t>
            </a:r>
            <a:r>
              <a:rPr kumimoji="0" lang="en-US" sz="20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 us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PR LinkedIn </a:t>
            </a:r>
            <a:r>
              <a:rPr kumimoji="0" lang="en-US" sz="2000" b="0" i="0" u="none" strike="noStrike" kern="1200" cap="none" spc="0" normalizeH="0" baseline="0" noProof="0">
                <a:ln>
                  <a:noFill/>
                </a:ln>
                <a:solidFill>
                  <a:srgbClr val="0050A0"/>
                </a:solidFill>
                <a:effectLst/>
                <a:uLnTx/>
                <a:uFillTx/>
                <a:latin typeface="Calibri"/>
                <a:ea typeface="+mn-ea"/>
                <a:cs typeface="Arial" panose="020B0604020202020204" pitchFamily="34" charset="0"/>
                <a:hlinkClick r:id="rId7"/>
              </a:rPr>
              <a:t>Inevitable Policy Response</a:t>
            </a:r>
            <a:r>
              <a:rPr kumimoji="0" lang="en-US" sz="2000" b="0" i="0" u="none" strike="noStrike" kern="1200" cap="none" spc="0" normalizeH="0" baseline="0" noProof="0">
                <a:ln>
                  <a:noFill/>
                </a:ln>
                <a:solidFill>
                  <a:srgbClr val="0050A0"/>
                </a:solidFill>
                <a:effectLst/>
                <a:uLnTx/>
                <a:uFillTx/>
                <a:latin typeface="Calibri"/>
                <a:ea typeface="+mn-ea"/>
                <a:cs typeface="Arial" panose="020B0604020202020204" pitchFamily="34" charset="0"/>
              </a:rPr>
              <a:t> </a:t>
            </a:r>
            <a:r>
              <a:rPr kumimoji="0" lang="en-US" sz="2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earch</a:t>
            </a:r>
            <a:r>
              <a:rPr kumimoji="0" lang="en-US" sz="2000" b="0" i="0" u="none" strike="noStrike" kern="1200" cap="none" spc="0" normalizeH="0" baseline="0" noProof="0">
                <a:ln>
                  <a:noFill/>
                </a:ln>
                <a:solidFill>
                  <a:srgbClr val="0050A0"/>
                </a:solidFill>
                <a:effectLst/>
                <a:uLnTx/>
                <a:uFillTx/>
                <a:latin typeface="Calibri"/>
                <a:ea typeface="+mn-ea"/>
                <a:cs typeface="Arial" panose="020B0604020202020204" pitchFamily="34" charset="0"/>
              </a:rPr>
              <a:t> </a:t>
            </a:r>
            <a:r>
              <a:rPr kumimoji="0" lang="en-US" sz="20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prforecasts</a:t>
            </a:r>
          </a:p>
        </p:txBody>
      </p:sp>
    </p:spTree>
    <p:extLst>
      <p:ext uri="{BB962C8B-B14F-4D97-AF65-F5344CB8AC3E}">
        <p14:creationId xmlns:p14="http://schemas.microsoft.com/office/powerpoint/2010/main" val="27621516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1" hidden="1">
            <a:extLst>
              <a:ext uri="{FF2B5EF4-FFF2-40B4-BE49-F238E27FC236}">
                <a16:creationId xmlns:a16="http://schemas.microsoft.com/office/drawing/2014/main" id="{97CF960C-D177-4433-B006-2BB31EE4CD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5" name="Object 1" hidden="1">
                        <a:extLst>
                          <a:ext uri="{FF2B5EF4-FFF2-40B4-BE49-F238E27FC236}">
                            <a16:creationId xmlns:a16="http://schemas.microsoft.com/office/drawing/2014/main" id="{97CF960C-D177-4433-B006-2BB31EE4CD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697522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1723121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Carbon pricing: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406582"/>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94363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95777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41762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89652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36052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Government of Canad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Government of Canad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U: </a:t>
            </a:r>
            <a:r>
              <a:rPr lang="en-US" dirty="0">
                <a:solidFill>
                  <a:srgbClr val="000000"/>
                </a:solidFill>
                <a:latin typeface="Calibri"/>
                <a:hlinkClick r:id="rId17"/>
              </a:rPr>
              <a:t>European Council</a:t>
            </a:r>
            <a:r>
              <a:rPr lang="en-US" dirty="0">
                <a:solidFill>
                  <a:srgbClr val="000000"/>
                </a:solidFill>
                <a:latin typeface="Calibri"/>
              </a:rPr>
              <a:t>, </a:t>
            </a:r>
            <a:r>
              <a:rPr lang="en-US" dirty="0">
                <a:solidFill>
                  <a:srgbClr val="000000"/>
                </a:solidFill>
                <a:latin typeface="Calibri"/>
                <a:hlinkClick r:id="rId18"/>
              </a:rPr>
              <a:t>Umwelt </a:t>
            </a:r>
            <a:r>
              <a:rPr lang="en-US" dirty="0" err="1">
                <a:solidFill>
                  <a:srgbClr val="000000"/>
                </a:solidFill>
                <a:latin typeface="Calibri"/>
                <a:hlinkClick r:id="rId19"/>
              </a:rPr>
              <a:t>Bundesam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K: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Gov.UK</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Climate Action</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HM Treasur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S: </a:t>
            </a:r>
            <a:r>
              <a:rPr lang="en-US" dirty="0">
                <a:solidFill>
                  <a:srgbClr val="000000"/>
                </a:solidFill>
                <a:latin typeface="Calibri"/>
                <a:hlinkClick r:id="rId23"/>
              </a:rPr>
              <a:t>C2E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RGGI</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ustral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5"/>
              </a:rPr>
              <a:t>Parliament of Australi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6"/>
              </a:rPr>
              <a:t>Argu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7"/>
              </a:rPr>
              <a:t>Australian Government</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s federal government has established a national minimum price on carbon emissions, which will increase each year from 2023-2030 to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each CAD$170 (US$ 131) in 2030</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Canada's federal government has launched a consultation to introduce a cap on emissions from the oil and gas sector.</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45629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396521"/>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U ETS carbon pri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overs sectors including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wer, industry, and aviation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with an expansion to shipping planned from 2024 until 2026 and to buildings until 2027. The overall ambition of emission reduction through the EU ETS has increased to 62% from 55% by 2030 compared to 2005 levels. </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99230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932523"/>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U ETS carbon pri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overs sectors including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wer, industry, and aviation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with an expansion to shipping planned from 2024 until 2026 and to buildings until 2027. The overall ambition of emission reduction through the EU ETS has increased to 62% from 55% by 2030 compared to 2005 levels. </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58007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453624"/>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EU ETS carbon price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overs sectors including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wer, industry, and aviation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with an expansion to shipping planned from 2024 until 2026 and to buildings until 2027. The overall ambition of emission reduction through the EU ETS has increased to 62% from 55% by 2030 compared to 2005 levels. </a:t>
            </a:r>
            <a:endPar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16785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993775"/>
            <a:ext cx="9847754"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UK introduced the UK ETS in 2021</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replacing the country’s participation in the EU ETS. The UK ETS applies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ergy intensive industries, the power generation sector, and aviation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ith a</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planned expansion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f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hipping sector until 2026</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UK ETS will have a 5% reduction in the emissions cap that would have been set under the EU ETS.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Beginning in 2024, the cap on emissions will be reduced over time such that covered sectors will be required to reduce emissions in line with </a:t>
            </a:r>
            <a:r>
              <a:rPr lang="en-GB" sz="1200" dirty="0">
                <a:latin typeface="Calibri"/>
              </a:rPr>
              <a:t>the </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UK’s net zero goals. In 2024 the UK also announced to introduce CBAM as of 2027, covering high-carbon industries like cement and steel.</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506798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979631"/>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US has no federal carbon pricing</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cheme. However,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ultiple states have introduced carbon pricing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itiatives, including California’s </a:t>
            </a:r>
            <a:r>
              <a:rPr kumimoji="0" lang="en-GB" sz="12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CaT</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nd the Regional Greenhouse Gas Initiative (RGGI) in several north-eastern states</a:t>
            </a:r>
            <a:r>
              <a:rPr lang="en-GB" sz="1200" dirty="0">
                <a:solidFill>
                  <a:srgbClr val="000000"/>
                </a:solidFill>
                <a:latin typeface="Calibri"/>
              </a:rPr>
              <a:t> including</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New York.</a:t>
            </a:r>
            <a:endPar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55951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442582"/>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March 2023, Australia passed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feguard Mechanism Amendment Bill</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which places an emissions limit on the country's largest polluting facilities between 2021 and 2030 with requirements to reduce emissions. Australia also operates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missions Reduction Fund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hich is a national voluntary carbon crediting scheme. </a:t>
            </a:r>
            <a:r>
              <a:rPr lang="en-GB" sz="1200" dirty="0">
                <a:latin typeface="Calibri"/>
              </a:rPr>
              <a:t>Also in</a:t>
            </a:r>
            <a:r>
              <a:rPr kumimoji="0" lang="en-GB" sz="1200" b="0" i="0" u="none" strike="noStrike" kern="1200" cap="none" spc="0" normalizeH="0" baseline="0" noProof="0" dirty="0">
                <a:ln>
                  <a:noFill/>
                </a:ln>
                <a:effectLst/>
                <a:uLnTx/>
                <a:uFillTx/>
                <a:latin typeface="Calibri"/>
                <a:ea typeface="+mn-ea"/>
                <a:cs typeface="Arial" panose="020B0604020202020204" pitchFamily="34" charset="0"/>
              </a:rPr>
              <a:t> 2023, Australia’s federal government announced that it is examining a new import tariff on GHG intensive materials such as steel, aluminium, and cement.</a:t>
            </a:r>
            <a:endParaRPr kumimoji="0" lang="en-US" sz="1200" b="0" i="0" u="none" strike="noStrike" kern="1200" cap="none" spc="0" normalizeH="0" baseline="0" noProof="0" dirty="0">
              <a:ln>
                <a:noFill/>
              </a:ln>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18" name="Picture 17">
            <a:extLst>
              <a:ext uri="{FF2B5EF4-FFF2-40B4-BE49-F238E27FC236}">
                <a16:creationId xmlns:a16="http://schemas.microsoft.com/office/drawing/2014/main" id="{3D172221-C589-DE0D-6CC0-FF9024D1826C}"/>
              </a:ext>
            </a:extLst>
          </p:cNvPr>
          <p:cNvPicPr>
            <a:picLocks noChangeAspect="1"/>
          </p:cNvPicPr>
          <p:nvPr/>
        </p:nvPicPr>
        <p:blipFill>
          <a:blip r:embed="rId28"/>
          <a:stretch>
            <a:fillRect/>
          </a:stretch>
        </p:blipFill>
        <p:spPr>
          <a:xfrm>
            <a:off x="557115" y="2480179"/>
            <a:ext cx="233367" cy="155578"/>
          </a:xfrm>
          <a:prstGeom prst="rect">
            <a:avLst/>
          </a:prstGeom>
          <a:ln>
            <a:no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1DB472EF-84E0-D63C-FB44-65C635317037}"/>
              </a:ext>
            </a:extLst>
          </p:cNvPr>
          <p:cNvPicPr>
            <a:picLocks noChangeAspect="1"/>
          </p:cNvPicPr>
          <p:nvPr/>
        </p:nvPicPr>
        <p:blipFill>
          <a:blip r:embed="rId29"/>
          <a:stretch>
            <a:fillRect/>
          </a:stretch>
        </p:blipFill>
        <p:spPr>
          <a:xfrm>
            <a:off x="557115" y="194781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09E5EC7D-96AF-749A-B531-B29CAC247777}"/>
              </a:ext>
            </a:extLst>
          </p:cNvPr>
          <p:cNvPicPr>
            <a:picLocks noChangeAspect="1"/>
          </p:cNvPicPr>
          <p:nvPr/>
        </p:nvPicPr>
        <p:blipFill>
          <a:blip r:embed="rId30"/>
          <a:stretch>
            <a:fillRect/>
          </a:stretch>
        </p:blipFill>
        <p:spPr>
          <a:xfrm>
            <a:off x="557115" y="4187595"/>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203391D0-8D4E-5AC8-CD34-786CECC14D64}"/>
              </a:ext>
            </a:extLst>
          </p:cNvPr>
          <p:cNvPicPr>
            <a:picLocks noChangeAspect="1"/>
          </p:cNvPicPr>
          <p:nvPr/>
        </p:nvPicPr>
        <p:blipFill>
          <a:blip r:embed="rId31"/>
          <a:stretch>
            <a:fillRect/>
          </a:stretch>
        </p:blipFill>
        <p:spPr>
          <a:xfrm>
            <a:off x="557115" y="5078120"/>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B1787D1E-A41F-2012-E83E-41E2C7F59017}"/>
              </a:ext>
            </a:extLst>
          </p:cNvPr>
          <p:cNvPicPr>
            <a:picLocks noChangeAspect="1"/>
          </p:cNvPicPr>
          <p:nvPr/>
        </p:nvPicPr>
        <p:blipFill>
          <a:blip r:embed="rId32"/>
          <a:stretch>
            <a:fillRect/>
          </a:stretch>
        </p:blipFill>
        <p:spPr>
          <a:xfrm>
            <a:off x="557115" y="5577914"/>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128765E9-0DE2-72C5-189B-0B508D72DB5D}"/>
              </a:ext>
            </a:extLst>
          </p:cNvPr>
          <p:cNvPicPr>
            <a:picLocks noChangeAspect="1"/>
          </p:cNvPicPr>
          <p:nvPr/>
        </p:nvPicPr>
        <p:blipFill>
          <a:blip r:embed="rId33"/>
          <a:stretch>
            <a:fillRect/>
          </a:stretch>
        </p:blipFill>
        <p:spPr>
          <a:xfrm>
            <a:off x="557115" y="3009101"/>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7B4B1B23-9DA2-890F-6695-52A82DEB0152}"/>
              </a:ext>
            </a:extLst>
          </p:cNvPr>
          <p:cNvPicPr>
            <a:picLocks noChangeAspect="1"/>
          </p:cNvPicPr>
          <p:nvPr/>
        </p:nvPicPr>
        <p:blipFill>
          <a:blip r:embed="rId34"/>
          <a:stretch>
            <a:fillRect/>
          </a:stretch>
        </p:blipFill>
        <p:spPr>
          <a:xfrm>
            <a:off x="557115" y="3601523"/>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756747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212748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Carbon pricing: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55122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67770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185774"/>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50274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82924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35099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Ch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S&amp;P Global</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Japan: </a:t>
            </a:r>
            <a:r>
              <a:rPr kumimoji="0" lang="en-US" sz="8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16"/>
              </a:rPr>
              <a:t>Env.go</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International Carbon Action Partnershi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Kore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International Carbon Action Partnershi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Ministry of Power</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Mexico: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International Carbon Action Partnershi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Afric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South African Governmen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Republic of South Afric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de-DE" sz="800" dirty="0">
                <a:effectLst/>
              </a:rPr>
              <a:t>Türkiy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International Carbon Action Partnershi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hina introduced an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TS for power generation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1. In 2024 China announced to eventually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xpand its ETS to other sectors</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eyond power, including iron and steel, construction materials, petroleum, chemical and non-ferrous metals</a:t>
            </a:r>
            <a:r>
              <a:rPr lang="en-GB" sz="1200" dirty="0">
                <a:solidFill>
                  <a:srgbClr val="000000"/>
                </a:solidFill>
                <a:latin typeface="Calibri"/>
              </a:rPr>
              <a:t> until end of 2025. </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46582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38699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ince 2021,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 has had a carbon tax on upstream distributors of fossil fuels</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In addition, In April 2023 Japan launched the trial phase of its new ETS, the GX League, which will begin as a voluntary market with plans to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transition to a compliance market in 2026</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925024"/>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865247"/>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s ETS has been active since 2015.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The ETS covers 684 of the country’s largest emitters, which account for ~70% of national GHG emissions. The carbon price covers the maritime, waste, domestic aviation, transport, buildings, industry, and power sectors. The traded price of carbon was KRW 28,000 (US$21.7) in August 2022.</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65567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538748"/>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 does not currently have any form of carbon pricing.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December 2022, India passed the Energy Conservation Amendment Bill with guidelines for establishing a carbon market. The system is expected to operate as a compliance market for some sectors (e.g., energy) with a voluntary mechanism open to other sectors.</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31965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221774"/>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0,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xico introduced an ETS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vering direct </a:t>
            </a:r>
            <a:r>
              <a:rPr kumimoji="0" lang="en-US" sz="1200" b="0" i="0" u="none" strike="noStrike" kern="1200" cap="none" spc="0" normalizeH="0" baseline="0" noProof="0" dirty="0">
                <a:ln>
                  <a:noFill/>
                </a:ln>
                <a:solidFill>
                  <a:srgbClr val="000000"/>
                </a:solidFill>
                <a:effectLst/>
                <a:uLnTx/>
                <a:uFillTx/>
                <a:latin typeface="Calibri"/>
                <a:ea typeface="+mn-ea"/>
                <a:cs typeface="+mn-cs"/>
              </a:rPr>
              <a:t>CO</a:t>
            </a:r>
            <a:r>
              <a:rPr kumimoji="0" lang="en-US" sz="1200" b="0" i="0" u="none" strike="noStrike" kern="1200" cap="none" spc="0" normalizeH="0" baseline="-25000" noProof="0" dirty="0">
                <a:ln>
                  <a:noFill/>
                </a:ln>
                <a:solidFill>
                  <a:srgbClr val="000000"/>
                </a:solidFill>
                <a:effectLst/>
                <a:uLnTx/>
                <a:uFillTx/>
                <a:latin typeface="Calibri"/>
                <a:ea typeface="+mn-ea"/>
                <a:cs typeface="+mn-cs"/>
              </a:rPr>
              <a:t>2</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missions from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ixed sources in the energy and industry sectors</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emitting at least 100,000 t</a:t>
            </a:r>
            <a:r>
              <a:rPr kumimoji="0" lang="en-US" sz="1200" b="0" i="0" u="none" strike="noStrike" kern="1200" cap="none" spc="0" normalizeH="0" baseline="0" noProof="0" dirty="0">
                <a:ln>
                  <a:noFill/>
                </a:ln>
                <a:solidFill>
                  <a:srgbClr val="000000"/>
                </a:solidFill>
                <a:effectLst/>
                <a:uLnTx/>
                <a:uFillTx/>
                <a:latin typeface="Calibri"/>
                <a:ea typeface="+mn-ea"/>
                <a:cs typeface="+mn-cs"/>
              </a:rPr>
              <a:t>CO</a:t>
            </a:r>
            <a:r>
              <a:rPr kumimoji="0" lang="en-US" sz="1200" b="0" i="0" u="none" strike="noStrike" kern="1200" cap="none" spc="0" normalizeH="0" baseline="-25000" noProof="0" dirty="0">
                <a:ln>
                  <a:noFill/>
                </a:ln>
                <a:solidFill>
                  <a:srgbClr val="000000"/>
                </a:solidFill>
                <a:effectLst/>
                <a:uLnTx/>
                <a:uFillTx/>
                <a:latin typeface="Calibri"/>
                <a:ea typeface="+mn-ea"/>
                <a:cs typeface="+mn-cs"/>
              </a:rPr>
              <a:t>2</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per year. Roughly 40% of total emissions are covered by this scheme.</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84967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Afric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713700"/>
            <a:ext cx="9847754"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South African Governmen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mplemented a carbon tax in 2019 which covers roughly 80%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f GHG emissions. The scheme covers emissions across industry, power, buildings and transport. The carbon price will continue to rise from US$9/tCO</a:t>
            </a:r>
            <a:r>
              <a:rPr kumimoji="0" lang="en-GB" sz="1200" b="0" i="0" u="none" strike="noStrike" kern="1200" cap="none" spc="0" normalizeH="0" baseline="-25000" noProof="0" dirty="0">
                <a:ln>
                  <a:noFill/>
                </a:ln>
                <a:solidFill>
                  <a:srgbClr val="000000"/>
                </a:solidFill>
                <a:effectLst/>
                <a:uLnTx/>
                <a:uFillTx/>
                <a:latin typeface="Calibri"/>
                <a:ea typeface="+mn-ea"/>
                <a:cs typeface="Arial" panose="020B0604020202020204" pitchFamily="34" charset="0"/>
              </a:rPr>
              <a:t>2</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 in 2022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o US$20 by 2026, US$30 by 2030 and US$120 by 2050.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y 2034, South African companies could face up to a 60% increase in electricity costs due to these new carbon taxes, with rates expected to jump from R190 to R462 per ton by 2030.</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64700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de-DE" sz="1200">
                <a:effectLst/>
              </a:rPr>
              <a:t>Türkiye</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58722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de-DE" sz="1200" b="1" dirty="0">
                <a:effectLst/>
              </a:rPr>
              <a:t>Türkiye</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does not currently have any form of carbon pricing</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owever</a:t>
            </a:r>
            <a:r>
              <a:rPr kumimoji="0" lang="en-GB" sz="1200" b="0" i="0" u="none" strike="noStrike" kern="1200" cap="none" spc="0" normalizeH="0" baseline="0" noProof="0" dirty="0">
                <a:ln>
                  <a:noFill/>
                </a:ln>
                <a:solidFill>
                  <a:srgbClr val="000000"/>
                </a:solidFill>
                <a:effectLst/>
                <a:uLnTx/>
                <a:uFillTx/>
                <a:ea typeface="+mn-ea"/>
                <a:cs typeface="Arial" panose="020B0604020202020204" pitchFamily="34" charset="0"/>
              </a:rPr>
              <a:t>, </a:t>
            </a:r>
            <a:r>
              <a:rPr lang="en-GB" sz="1200" dirty="0"/>
              <a:t>the Turkish Emission Trading System (TR ETS) will launch in early 2025 and is expected to cover sectors with emissions &gt;500,000 tCO2 per year.</a:t>
            </a:r>
            <a:endParaRPr kumimoji="0" lang="en-US" sz="12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051BB6D4-B495-7281-9C7A-FF85A02D8046}"/>
              </a:ext>
            </a:extLst>
          </p:cNvPr>
          <p:cNvPicPr>
            <a:picLocks noChangeAspect="1"/>
          </p:cNvPicPr>
          <p:nvPr/>
        </p:nvPicPr>
        <p:blipFill>
          <a:blip r:embed="rId24"/>
          <a:stretch>
            <a:fillRect/>
          </a:stretch>
        </p:blipFill>
        <p:spPr>
          <a:xfrm>
            <a:off x="557115" y="2479918"/>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EAA4E76C-6F6D-0E12-26A9-936468DA43F8}"/>
              </a:ext>
            </a:extLst>
          </p:cNvPr>
          <p:cNvPicPr>
            <a:picLocks noChangeAspect="1"/>
          </p:cNvPicPr>
          <p:nvPr/>
        </p:nvPicPr>
        <p:blipFill>
          <a:blip r:embed="rId25"/>
          <a:stretch>
            <a:fillRect/>
          </a:stretch>
        </p:blipFill>
        <p:spPr>
          <a:xfrm>
            <a:off x="557115" y="3675793"/>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C644D09E-809D-9053-8104-5A3066C1BB06}"/>
              </a:ext>
            </a:extLst>
          </p:cNvPr>
          <p:cNvPicPr>
            <a:picLocks noChangeAspect="1"/>
          </p:cNvPicPr>
          <p:nvPr/>
        </p:nvPicPr>
        <p:blipFill>
          <a:blip r:embed="rId26"/>
          <a:stretch>
            <a:fillRect/>
          </a:stretch>
        </p:blipFill>
        <p:spPr>
          <a:xfrm>
            <a:off x="557115" y="2942202"/>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D42A25DA-2121-FBC5-6C9D-0887EED4AEEB}"/>
              </a:ext>
            </a:extLst>
          </p:cNvPr>
          <p:cNvPicPr>
            <a:picLocks noChangeAspect="1"/>
          </p:cNvPicPr>
          <p:nvPr/>
        </p:nvPicPr>
        <p:blipFill>
          <a:blip r:embed="rId27"/>
          <a:stretch>
            <a:fillRect/>
          </a:stretch>
        </p:blipFill>
        <p:spPr>
          <a:xfrm>
            <a:off x="557115" y="1947878"/>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24C1966F-D529-1195-88F5-CE7DAA4B3392}"/>
              </a:ext>
            </a:extLst>
          </p:cNvPr>
          <p:cNvPicPr>
            <a:picLocks noChangeAspect="1"/>
          </p:cNvPicPr>
          <p:nvPr/>
        </p:nvPicPr>
        <p:blipFill>
          <a:blip r:embed="rId28"/>
          <a:stretch>
            <a:fillRect/>
          </a:stretch>
        </p:blipFill>
        <p:spPr>
          <a:xfrm>
            <a:off x="557115" y="4335397"/>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C2A12DB8-F403-2688-8623-17BC30C3DDC3}"/>
              </a:ext>
            </a:extLst>
          </p:cNvPr>
          <p:cNvPicPr>
            <a:picLocks noChangeAspect="1"/>
          </p:cNvPicPr>
          <p:nvPr/>
        </p:nvPicPr>
        <p:blipFill>
          <a:blip r:embed="rId29"/>
          <a:stretch>
            <a:fillRect/>
          </a:stretch>
        </p:blipFill>
        <p:spPr>
          <a:xfrm>
            <a:off x="557115" y="4866891"/>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406AC780-8F63-4F34-7ED1-0DB26527261A}"/>
              </a:ext>
            </a:extLst>
          </p:cNvPr>
          <p:cNvPicPr>
            <a:picLocks noChangeAspect="1"/>
          </p:cNvPicPr>
          <p:nvPr/>
        </p:nvPicPr>
        <p:blipFill>
          <a:blip r:embed="rId30"/>
          <a:stretch>
            <a:fillRect/>
          </a:stretch>
        </p:blipFill>
        <p:spPr>
          <a:xfrm>
            <a:off x="557115" y="5664619"/>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616819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96233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Carbon pricing: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5062267"/>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71361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4002900"/>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46274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98054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31169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1055921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rgent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World Bank Grou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razi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International Carbon Action Partnershi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ones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International Carbon Action Partnership</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Niger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International Carbon Action Partnership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Business Da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audi Arab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S&amp;P Global</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Vietnam: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Vietnam Briefing</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18, Argentina launched a carbon price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n petrol and petroleum coke which covers roughly 17.2% of the country’s emissions. The price in 2024 was approximately US$1/tCO</a:t>
            </a:r>
            <a:r>
              <a:rPr kumimoji="0" lang="en-GB" sz="1200" b="0" i="0" u="none" strike="noStrike" kern="1200" cap="none" spc="0" normalizeH="0" baseline="-25000" noProof="0" dirty="0">
                <a:ln>
                  <a:noFill/>
                </a:ln>
                <a:solidFill>
                  <a:srgbClr val="000000"/>
                </a:solidFill>
                <a:effectLst/>
                <a:uLnTx/>
                <a:uFillTx/>
                <a:latin typeface="Calibri"/>
                <a:ea typeface="+mn-ea"/>
                <a:cs typeface="Arial" panose="020B0604020202020204" pitchFamily="34" charset="0"/>
              </a:rPr>
              <a:t>2</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40747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347696"/>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 does not currently have any form of carbon pricing</a:t>
            </a:r>
            <a:r>
              <a:rPr kumimoji="0" lang="en-GB" sz="1200" b="1" i="0" u="none" strike="noStrike" kern="1200" cap="none" spc="0" normalizeH="0" baseline="0" noProof="0">
                <a:ln>
                  <a:noFill/>
                </a:ln>
                <a:effectLst/>
                <a:uLnTx/>
                <a:uFillTx/>
                <a:latin typeface="Calibri"/>
                <a:ea typeface="+mn-ea"/>
                <a:cs typeface="Arial" panose="020B0604020202020204" pitchFamily="34" charset="0"/>
              </a:rPr>
              <a:t>.</a:t>
            </a:r>
            <a:r>
              <a:rPr kumimoji="0" lang="en-GB" sz="1200" b="1" i="0" u="none" strike="noStrike" kern="1200" cap="none" spc="0" normalizeH="0" baseline="0" noProof="0">
                <a:ln>
                  <a:noFill/>
                </a:ln>
                <a:solidFill>
                  <a:srgbClr val="FF0000"/>
                </a:solidFill>
                <a:effectLst/>
                <a:uLnTx/>
                <a:uFillTx/>
                <a:latin typeface="Calibri"/>
                <a:ea typeface="+mn-ea"/>
                <a:cs typeface="Arial" panose="020B0604020202020204" pitchFamily="34" charset="0"/>
              </a:rPr>
              <a:t> </a:t>
            </a:r>
            <a:r>
              <a:rPr kumimoji="0" lang="en-GB" sz="1200" b="0" i="0" u="none" strike="noStrike" kern="1200" cap="none" spc="0" normalizeH="0" baseline="0" noProof="0">
                <a:ln>
                  <a:noFill/>
                </a:ln>
                <a:effectLst/>
                <a:uLnTx/>
                <a:uFillTx/>
                <a:latin typeface="Calibri"/>
                <a:ea typeface="+mn-ea"/>
                <a:cs typeface="Arial" panose="020B0604020202020204" pitchFamily="34" charset="0"/>
              </a:rPr>
              <a:t>The Brazilian government has proposed the establishment of a regulated carbon market for major emitters based on a cap-and-trade scheme. The proposal states the following: caps would be placed on companies emitting more than 25,000 tons of </a:t>
            </a:r>
            <a:r>
              <a:rPr kumimoji="0" lang="en-US" sz="1200" b="0" i="0" u="none" strike="noStrike" kern="1200" cap="none" spc="0" normalizeH="0" baseline="0" noProof="0">
                <a:ln>
                  <a:noFill/>
                </a:ln>
                <a:solidFill>
                  <a:srgbClr val="000000"/>
                </a:solidFill>
                <a:effectLst/>
                <a:uLnTx/>
                <a:uFillTx/>
                <a:latin typeface="Calibri"/>
                <a:ea typeface="+mn-ea"/>
                <a:cs typeface="+mn-cs"/>
              </a:rPr>
              <a:t>CO</a:t>
            </a:r>
            <a:r>
              <a:rPr kumimoji="0" lang="en-US" sz="1200" b="0" i="0" u="none" strike="noStrike" kern="1200" cap="none" spc="0" normalizeH="0" baseline="-25000" noProof="0">
                <a:ln>
                  <a:noFill/>
                </a:ln>
                <a:solidFill>
                  <a:srgbClr val="000000"/>
                </a:solidFill>
                <a:effectLst/>
                <a:uLnTx/>
                <a:uFillTx/>
                <a:latin typeface="Calibri"/>
                <a:ea typeface="+mn-ea"/>
                <a:cs typeface="+mn-cs"/>
              </a:rPr>
              <a:t>2</a:t>
            </a:r>
            <a:r>
              <a:rPr kumimoji="0" lang="en-GB" sz="1200" b="0" i="0" u="none" strike="noStrike" kern="1200" cap="none" spc="0" normalizeH="0" baseline="0" noProof="0">
                <a:ln>
                  <a:noFill/>
                </a:ln>
                <a:effectLst/>
                <a:uLnTx/>
                <a:uFillTx/>
                <a:latin typeface="Calibri"/>
                <a:ea typeface="+mn-ea"/>
                <a:cs typeface="Arial" panose="020B0604020202020204" pitchFamily="34" charset="0"/>
              </a:rPr>
              <a:t> annually; and the sectors included would be oil and gas, meatpackers, steel, cement, and aluminium.</a:t>
            </a: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310490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onesia</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3016548"/>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 2023, the Indonesian government launched a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arbon trading scheme covering coal facilitie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with a capacity of more than 100MW. The government plans to expand the current carbon pricing scheme to cover </a:t>
            </a: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oil and gas-fired power stations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nd the remaining coal-fired power plants between 2025 and 2030. </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61567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498749"/>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Vietnam does not currently have any form of carbon pricing</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 However, Vietnam's government has been evaluating options for implementing a carbon credit market in Vietnam, stating that a carbon credit pilot could begin in 2025 with full trading potentially beginning in 2028.</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420345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Niger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4038900"/>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Nigeria does not currently have any form of carbon pricing</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owever, in 2022, the Nigerian Minister of the Environment announced that the country had begun activities to develop a national ETS. In 2024 Nigeria launched a carbon market plan aiming to unlock $2.5 billion for reducing GHG emissions through the operation of a carbon market.</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84009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749619"/>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Russia does not currently have any form of carbon pricing</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t>
            </a:r>
            <a:endPar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158047"/>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audi Arabi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5098267"/>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a:solidFill>
                  <a:srgbClr val="000000"/>
                </a:solidFill>
                <a:latin typeface="Calibri"/>
              </a:rPr>
              <a:t>Saudi Arabia unveiled their Regional Voluntary Carbon </a:t>
            </a:r>
            <a:r>
              <a:rPr lang="en-GB" sz="1200" b="1"/>
              <a:t>Market</a:t>
            </a:r>
            <a:r>
              <a:rPr lang="en-GB" sz="1200"/>
              <a:t> at COP29, aiming to accelerate emission reduction efforts and enhance the Kingdom’s position in the carbon credit market by 2030.</a:t>
            </a: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EAB08951-EFA5-CB03-F0E8-0CB1B6197046}"/>
              </a:ext>
            </a:extLst>
          </p:cNvPr>
          <p:cNvPicPr>
            <a:picLocks noChangeAspect="1"/>
          </p:cNvPicPr>
          <p:nvPr/>
        </p:nvPicPr>
        <p:blipFill>
          <a:blip r:embed="rId23"/>
          <a:stretch>
            <a:fillRect/>
          </a:stretch>
        </p:blipFill>
        <p:spPr>
          <a:xfrm>
            <a:off x="555091" y="4222833"/>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52C8FA03-07B8-9C10-CB1C-CC6695BDA7C1}"/>
              </a:ext>
            </a:extLst>
          </p:cNvPr>
          <p:cNvPicPr>
            <a:picLocks noChangeAspect="1"/>
          </p:cNvPicPr>
          <p:nvPr/>
        </p:nvPicPr>
        <p:blipFill>
          <a:blip r:embed="rId24"/>
          <a:stretch>
            <a:fillRect/>
          </a:stretch>
        </p:blipFill>
        <p:spPr>
          <a:xfrm>
            <a:off x="555091" y="3640625"/>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CFA1142D-6DB8-D678-5062-622882ADA186}"/>
              </a:ext>
            </a:extLst>
          </p:cNvPr>
          <p:cNvPicPr>
            <a:picLocks noChangeAspect="1"/>
          </p:cNvPicPr>
          <p:nvPr/>
        </p:nvPicPr>
        <p:blipFill>
          <a:blip r:embed="rId25"/>
          <a:stretch>
            <a:fillRect/>
          </a:stretch>
        </p:blipFill>
        <p:spPr>
          <a:xfrm>
            <a:off x="555091" y="3125895"/>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71EBB8EB-99FC-5088-FAA1-2834674432CC}"/>
              </a:ext>
            </a:extLst>
          </p:cNvPr>
          <p:cNvPicPr>
            <a:picLocks noChangeAspect="1"/>
          </p:cNvPicPr>
          <p:nvPr/>
        </p:nvPicPr>
        <p:blipFill>
          <a:blip r:embed="rId26"/>
          <a:stretch>
            <a:fillRect/>
          </a:stretch>
        </p:blipFill>
        <p:spPr>
          <a:xfrm>
            <a:off x="555091" y="1952581"/>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B7D51BBB-5554-04DD-8F56-6864F5AE80D4}"/>
              </a:ext>
            </a:extLst>
          </p:cNvPr>
          <p:cNvPicPr>
            <a:picLocks noChangeAspect="1"/>
          </p:cNvPicPr>
          <p:nvPr/>
        </p:nvPicPr>
        <p:blipFill>
          <a:blip r:embed="rId27"/>
          <a:stretch>
            <a:fillRect/>
          </a:stretch>
        </p:blipFill>
        <p:spPr>
          <a:xfrm>
            <a:off x="555091" y="4840096"/>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56F9460E-81B5-31EC-C09D-277B2983A161}"/>
              </a:ext>
            </a:extLst>
          </p:cNvPr>
          <p:cNvPicPr>
            <a:picLocks noChangeAspect="1"/>
          </p:cNvPicPr>
          <p:nvPr/>
        </p:nvPicPr>
        <p:blipFill>
          <a:blip r:embed="rId28"/>
          <a:stretch>
            <a:fillRect/>
          </a:stretch>
        </p:blipFill>
        <p:spPr>
          <a:xfrm>
            <a:off x="555091" y="5186173"/>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4329513C-BC10-DD21-352D-31A95124420D}"/>
              </a:ext>
            </a:extLst>
          </p:cNvPr>
          <p:cNvPicPr>
            <a:picLocks noChangeAspect="1"/>
          </p:cNvPicPr>
          <p:nvPr/>
        </p:nvPicPr>
        <p:blipFill>
          <a:blip r:embed="rId29"/>
          <a:stretch>
            <a:fillRect/>
          </a:stretch>
        </p:blipFill>
        <p:spPr>
          <a:xfrm>
            <a:off x="555091" y="2427504"/>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47943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3294081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All coal phase-out: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962291"/>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4302445"/>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84801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20477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77069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33124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ustral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UNSW Sydne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anad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Government of Canad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rance: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IE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Germany: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S&amp;P Globa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Reuter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di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Climate Energy Finance</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Reuters</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taly: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Government of Italy</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4"/>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outh Kore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5"/>
              </a:rPr>
              <a:t>Korea Pro</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ustralia</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ustralia</a:t>
            </a:r>
            <a:r>
              <a:rPr lang="en-US" sz="1200" dirty="0">
                <a:solidFill>
                  <a:srgbClr val="000000"/>
                </a:solidFill>
                <a:latin typeface="Calibri"/>
              </a:rPr>
              <a:t> announced to </a:t>
            </a:r>
            <a:r>
              <a:rPr lang="en-US" sz="1200" b="1" dirty="0">
                <a:solidFill>
                  <a:srgbClr val="000000"/>
                </a:solidFill>
                <a:latin typeface="Calibri"/>
              </a:rPr>
              <a:t>close all</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oal power stations in 2038</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 five years earlier than previously expected – and variable renewable energy capacity will need to triple by 2030 and increase sevenfold by 2050.</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455598"/>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anad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367246"/>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nada has committed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hasing out unabated coal by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mendments to the 2012 regulations on Reductions of Carbon Dioxide Emissions from Coal-fired Generation of Electricity will expedite the closure of conventional coal-fired electricity units by December 31, 2029. </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86647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France</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806698"/>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rance has phased-out of all unabated coal.</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32912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Germany</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240773"/>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Coal Exit law in 2020 commits to th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hase out of coal-fired electricity generation by 2038 latest</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2 the German government announced an ambition to bring forward the phase out of all coal generation to 2030 but it remains unclear what the plan to achieve this is. In 2024 Germany secured  European Commission's clearance to compensate power company LEAG with up to 1.75 billion euros for exiting coal by 2038.</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943796"/>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ndi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884019"/>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buNone/>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dia has not set a target and does not have policies in place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o phase out unabated coal-fired electricity generation. In 2024 India planed to accelerate coal-fired power capacity by ordering equipment worth $33 billion this year, aiming to add 31 GW over the next 5-6 years.</a:t>
            </a: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4398222"/>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Italy</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4338445"/>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Italian government has set a target to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hase out all coal by 2025 as a part of its National Energy Strategy 2017, however this is non-binding</a:t>
            </a:r>
            <a:r>
              <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is is reaffirmed by Italy’s National Energy and Climate Plan 2020 that sets a target for renewables to provide 55% of its electricity generation by 2030. In 2024 Italy vowed to </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nding coal-based electricity generation nationwide by 2025, with the exception of Sardinia.</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5058071"/>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South Korea</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998291"/>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th Koreas trade ministry has </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has announced a plan to </a:t>
            </a: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hase out over 75% of the country's coal-fired power plants by 2039</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n ambitious effort to align the country with global decarbonization trends and reduce greenhouse gas emissions</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1" name="Picture 20">
            <a:extLst>
              <a:ext uri="{FF2B5EF4-FFF2-40B4-BE49-F238E27FC236}">
                <a16:creationId xmlns:a16="http://schemas.microsoft.com/office/drawing/2014/main" id="{CDA36DCB-37A2-3158-B861-CC6CAB61BD3B}"/>
              </a:ext>
            </a:extLst>
          </p:cNvPr>
          <p:cNvPicPr>
            <a:picLocks noChangeAspect="1"/>
          </p:cNvPicPr>
          <p:nvPr/>
        </p:nvPicPr>
        <p:blipFill>
          <a:blip r:embed="rId26"/>
          <a:stretch>
            <a:fillRect/>
          </a:stretch>
        </p:blipFill>
        <p:spPr>
          <a:xfrm>
            <a:off x="556462" y="1952889"/>
            <a:ext cx="233367" cy="155578"/>
          </a:xfrm>
          <a:prstGeom prst="rect">
            <a:avLst/>
          </a:prstGeom>
          <a:ln>
            <a:no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8CC0CE99-879B-3FA8-C857-558E942A0E8A}"/>
              </a:ext>
            </a:extLst>
          </p:cNvPr>
          <p:cNvPicPr>
            <a:picLocks noChangeAspect="1"/>
          </p:cNvPicPr>
          <p:nvPr/>
        </p:nvPicPr>
        <p:blipFill>
          <a:blip r:embed="rId27"/>
          <a:stretch>
            <a:fillRect/>
          </a:stretch>
        </p:blipFill>
        <p:spPr>
          <a:xfrm>
            <a:off x="556462" y="2470446"/>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7A99164C-2DA4-939B-D261-C0F745E5A77C}"/>
              </a:ext>
            </a:extLst>
          </p:cNvPr>
          <p:cNvPicPr>
            <a:picLocks noChangeAspect="1"/>
          </p:cNvPicPr>
          <p:nvPr/>
        </p:nvPicPr>
        <p:blipFill>
          <a:blip r:embed="rId28"/>
          <a:stretch>
            <a:fillRect/>
          </a:stretch>
        </p:blipFill>
        <p:spPr>
          <a:xfrm>
            <a:off x="556462" y="3348533"/>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8DAA64BB-4167-3E8B-6C42-E28BD1D4CCB7}"/>
              </a:ext>
            </a:extLst>
          </p:cNvPr>
          <p:cNvPicPr>
            <a:picLocks noChangeAspect="1"/>
          </p:cNvPicPr>
          <p:nvPr/>
        </p:nvPicPr>
        <p:blipFill>
          <a:blip r:embed="rId29"/>
          <a:stretch>
            <a:fillRect/>
          </a:stretch>
        </p:blipFill>
        <p:spPr>
          <a:xfrm>
            <a:off x="556462" y="4408516"/>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97BB805A-080B-AFA8-FA7C-09933EB69D6D}"/>
              </a:ext>
            </a:extLst>
          </p:cNvPr>
          <p:cNvPicPr>
            <a:picLocks noChangeAspect="1"/>
          </p:cNvPicPr>
          <p:nvPr/>
        </p:nvPicPr>
        <p:blipFill>
          <a:blip r:embed="rId30"/>
          <a:stretch>
            <a:fillRect/>
          </a:stretch>
        </p:blipFill>
        <p:spPr>
          <a:xfrm>
            <a:off x="556462" y="5073472"/>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136EF2D5-68DE-B119-6C53-14D0B9CC5B1E}"/>
              </a:ext>
            </a:extLst>
          </p:cNvPr>
          <p:cNvPicPr>
            <a:picLocks noChangeAspect="1"/>
          </p:cNvPicPr>
          <p:nvPr/>
        </p:nvPicPr>
        <p:blipFill>
          <a:blip r:embed="rId31"/>
          <a:stretch>
            <a:fillRect/>
          </a:stretch>
        </p:blipFill>
        <p:spPr>
          <a:xfrm>
            <a:off x="556462" y="2883718"/>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2DDB1742-D623-AB45-7818-9E2BC8B9D14C}"/>
              </a:ext>
            </a:extLst>
          </p:cNvPr>
          <p:cNvPicPr>
            <a:picLocks noChangeAspect="1"/>
          </p:cNvPicPr>
          <p:nvPr/>
        </p:nvPicPr>
        <p:blipFill>
          <a:blip r:embed="rId32"/>
          <a:stretch>
            <a:fillRect/>
          </a:stretch>
        </p:blipFill>
        <p:spPr>
          <a:xfrm>
            <a:off x="556462" y="3961450"/>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941491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7C828D-2E2C-DD0E-5063-4C014F29512E}"/>
              </a:ext>
            </a:extLst>
          </p:cNvPr>
          <p:cNvGraphicFramePr>
            <a:graphicFrameLocks noChangeAspect="1"/>
          </p:cNvGraphicFramePr>
          <p:nvPr>
            <p:custDataLst>
              <p:tags r:id="rId1"/>
            </p:custDataLst>
            <p:extLst>
              <p:ext uri="{D42A27DB-BD31-4B8C-83A1-F6EECF244321}">
                <p14:modId xmlns:p14="http://schemas.microsoft.com/office/powerpoint/2010/main" val="3168840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05" imgH="405" progId="TCLayout.ActiveDocument.1">
                  <p:embed/>
                </p:oleObj>
              </mc:Choice>
              <mc:Fallback>
                <p:oleObj name="think-cell Slide" r:id="rId13" imgW="405" imgH="405" progId="TCLayout.ActiveDocument.1">
                  <p:embed/>
                  <p:pic>
                    <p:nvPicPr>
                      <p:cNvPr id="5" name="think-cell data - do not delete" hidden="1">
                        <a:extLst>
                          <a:ext uri="{FF2B5EF4-FFF2-40B4-BE49-F238E27FC236}">
                            <a16:creationId xmlns:a16="http://schemas.microsoft.com/office/drawing/2014/main" id="{CC7C828D-2E2C-DD0E-5063-4C014F29512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04AFC5-325C-FC2A-4456-04C3058B3F5D}"/>
              </a:ext>
            </a:extLst>
          </p:cNvPr>
          <p:cNvSpPr>
            <a:spLocks noGrp="1"/>
          </p:cNvSpPr>
          <p:nvPr>
            <p:ph type="title"/>
          </p:nvPr>
        </p:nvSpPr>
        <p:spPr/>
        <p:txBody>
          <a:bodyPr vert="horz"/>
          <a:lstStyle/>
          <a:p>
            <a:r>
              <a:rPr lang="en-US"/>
              <a:t>All coal phase-out: Policy evidence base</a:t>
            </a:r>
          </a:p>
        </p:txBody>
      </p:sp>
      <p:sp>
        <p:nvSpPr>
          <p:cNvPr id="7" name="TextBox 6">
            <a:extLst>
              <a:ext uri="{FF2B5EF4-FFF2-40B4-BE49-F238E27FC236}">
                <a16:creationId xmlns:a16="http://schemas.microsoft.com/office/drawing/2014/main" id="{319EBF3A-EA43-A675-6623-DDE98B2F6D0C}"/>
              </a:ext>
            </a:extLst>
          </p:cNvPr>
          <p:cNvSpPr txBox="1">
            <a:spLocks/>
          </p:cNvSpPr>
          <p:nvPr>
            <p:custDataLst>
              <p:tags r:id="rId2"/>
            </p:custDataLst>
          </p:nvPr>
        </p:nvSpPr>
        <p:spPr>
          <a:xfrm>
            <a:off x="565988" y="1641651"/>
            <a:ext cx="1044580"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Country</a:t>
            </a:r>
          </a:p>
        </p:txBody>
      </p:sp>
      <p:cxnSp>
        <p:nvCxnSpPr>
          <p:cNvPr id="8" name="Straight Connector 7">
            <a:extLst>
              <a:ext uri="{FF2B5EF4-FFF2-40B4-BE49-F238E27FC236}">
                <a16:creationId xmlns:a16="http://schemas.microsoft.com/office/drawing/2014/main" id="{E3ED8252-2C46-78EC-8AED-2E8C86A1EBC8}"/>
              </a:ext>
            </a:extLst>
          </p:cNvPr>
          <p:cNvCxnSpPr>
            <a:cxnSpLocks/>
          </p:cNvCxnSpPr>
          <p:nvPr>
            <p:custDataLst>
              <p:tags r:id="rId3"/>
            </p:custDataLst>
          </p:nvPr>
        </p:nvCxnSpPr>
        <p:spPr>
          <a:xfrm>
            <a:off x="571500" y="1871436"/>
            <a:ext cx="11083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LineSeparatorDefault 463">
            <a:extLst>
              <a:ext uri="{FF2B5EF4-FFF2-40B4-BE49-F238E27FC236}">
                <a16:creationId xmlns:a16="http://schemas.microsoft.com/office/drawing/2014/main" id="{2F1AD679-3446-0A79-C228-D2E3A9893797}"/>
              </a:ext>
            </a:extLst>
          </p:cNvPr>
          <p:cNvCxnSpPr>
            <a:cxnSpLocks/>
          </p:cNvCxnSpPr>
          <p:nvPr>
            <p:custDataLst>
              <p:tags r:id="rId4"/>
            </p:custDataLst>
          </p:nvPr>
        </p:nvCxnSpPr>
        <p:spPr bwMode="gray">
          <a:xfrm>
            <a:off x="571500" y="4328899"/>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LineSeparatorDefault 463">
            <a:extLst>
              <a:ext uri="{FF2B5EF4-FFF2-40B4-BE49-F238E27FC236}">
                <a16:creationId xmlns:a16="http://schemas.microsoft.com/office/drawing/2014/main" id="{369B7892-BCCA-04CD-FCF9-9E945B809B7E}"/>
              </a:ext>
            </a:extLst>
          </p:cNvPr>
          <p:cNvCxnSpPr>
            <a:cxnSpLocks/>
          </p:cNvCxnSpPr>
          <p:nvPr>
            <p:custDataLst>
              <p:tags r:id="rId5"/>
            </p:custDataLst>
          </p:nvPr>
        </p:nvCxnSpPr>
        <p:spPr bwMode="gray">
          <a:xfrm>
            <a:off x="571500" y="385662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LineSeparatorDefault 463">
            <a:extLst>
              <a:ext uri="{FF2B5EF4-FFF2-40B4-BE49-F238E27FC236}">
                <a16:creationId xmlns:a16="http://schemas.microsoft.com/office/drawing/2014/main" id="{93A8B580-DBC6-BAFE-DCA8-825C65ED17A5}"/>
              </a:ext>
            </a:extLst>
          </p:cNvPr>
          <p:cNvCxnSpPr>
            <a:cxnSpLocks/>
          </p:cNvCxnSpPr>
          <p:nvPr>
            <p:custDataLst>
              <p:tags r:id="rId6"/>
            </p:custDataLst>
          </p:nvPr>
        </p:nvCxnSpPr>
        <p:spPr bwMode="gray">
          <a:xfrm>
            <a:off x="571500" y="3372073"/>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LineSeparatorDefault 463">
            <a:extLst>
              <a:ext uri="{FF2B5EF4-FFF2-40B4-BE49-F238E27FC236}">
                <a16:creationId xmlns:a16="http://schemas.microsoft.com/office/drawing/2014/main" id="{7C29100F-61B6-D099-8FB7-9534A7BF27A0}"/>
              </a:ext>
            </a:extLst>
          </p:cNvPr>
          <p:cNvCxnSpPr>
            <a:cxnSpLocks/>
          </p:cNvCxnSpPr>
          <p:nvPr>
            <p:custDataLst>
              <p:tags r:id="rId7"/>
            </p:custDataLst>
          </p:nvPr>
        </p:nvCxnSpPr>
        <p:spPr bwMode="gray">
          <a:xfrm>
            <a:off x="571500" y="301877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LineSeparatorDefault 463">
            <a:extLst>
              <a:ext uri="{FF2B5EF4-FFF2-40B4-BE49-F238E27FC236}">
                <a16:creationId xmlns:a16="http://schemas.microsoft.com/office/drawing/2014/main" id="{2231C7CB-87EE-41DB-915C-B913F7C77FB1}"/>
              </a:ext>
            </a:extLst>
          </p:cNvPr>
          <p:cNvCxnSpPr>
            <a:cxnSpLocks/>
          </p:cNvCxnSpPr>
          <p:nvPr>
            <p:custDataLst>
              <p:tags r:id="rId8"/>
            </p:custDataLst>
          </p:nvPr>
        </p:nvCxnSpPr>
        <p:spPr bwMode="gray">
          <a:xfrm>
            <a:off x="571500" y="2639348"/>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LineSeparatorDefault 463">
            <a:extLst>
              <a:ext uri="{FF2B5EF4-FFF2-40B4-BE49-F238E27FC236}">
                <a16:creationId xmlns:a16="http://schemas.microsoft.com/office/drawing/2014/main" id="{C4E7A8FD-6175-8F3E-BA29-58924B33BE67}"/>
              </a:ext>
            </a:extLst>
          </p:cNvPr>
          <p:cNvCxnSpPr>
            <a:cxnSpLocks/>
          </p:cNvCxnSpPr>
          <p:nvPr>
            <p:custDataLst>
              <p:tags r:id="rId9"/>
            </p:custDataLst>
          </p:nvPr>
        </p:nvCxnSpPr>
        <p:spPr bwMode="gray">
          <a:xfrm>
            <a:off x="571500" y="2236696"/>
            <a:ext cx="11083925"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5. Source">
            <a:extLst>
              <a:ext uri="{FF2B5EF4-FFF2-40B4-BE49-F238E27FC236}">
                <a16:creationId xmlns:a16="http://schemas.microsoft.com/office/drawing/2014/main" id="{71A9303A-95BB-D9FE-B177-D109E8E0F339}"/>
              </a:ext>
            </a:extLst>
          </p:cNvPr>
          <p:cNvSpPr txBox="1"/>
          <p:nvPr>
            <p:custDataLst>
              <p:tags r:id="rId10"/>
            </p:custDataLst>
          </p:nvPr>
        </p:nvSpPr>
        <p:spPr>
          <a:xfrm>
            <a:off x="565987" y="6419163"/>
            <a:ext cx="948288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s: Argent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5"/>
              </a:rPr>
              <a:t>IE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razil: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6"/>
              </a:rPr>
              <a:t>IE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K: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7"/>
              </a:rPr>
              <a:t>IEA</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US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8"/>
              </a:rPr>
              <a:t>EPA</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19"/>
              </a:rPr>
              <a:t>The Guardian</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China: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0"/>
              </a:rPr>
              <a:t>Bloomberg</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1"/>
              </a:rPr>
              <a:t>WRI</a:t>
            </a:r>
            <a:r>
              <a:rPr lang="en-US" dirty="0">
                <a:solidFill>
                  <a:srgbClr val="000000"/>
                </a:solidFill>
                <a:latin typeface="Calibri"/>
              </a:rPr>
              <a:t>;</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Japan: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2"/>
              </a:rPr>
              <a:t>Reuters</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23"/>
              </a:rPr>
              <a:t>World Economic Forum</a:t>
            </a: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p:txBody>
      </p:sp>
      <p:sp>
        <p:nvSpPr>
          <p:cNvPr id="17" name="TextBox 16">
            <a:extLst>
              <a:ext uri="{FF2B5EF4-FFF2-40B4-BE49-F238E27FC236}">
                <a16:creationId xmlns:a16="http://schemas.microsoft.com/office/drawing/2014/main" id="{9673649B-A6A1-1C92-B29C-E249004C5B2A}"/>
              </a:ext>
            </a:extLst>
          </p:cNvPr>
          <p:cNvSpPr txBox="1"/>
          <p:nvPr/>
        </p:nvSpPr>
        <p:spPr>
          <a:xfrm>
            <a:off x="881849" y="19320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a:t>
            </a:r>
          </a:p>
        </p:txBody>
      </p:sp>
      <p:sp>
        <p:nvSpPr>
          <p:cNvPr id="19" name="TextBox 18">
            <a:extLst>
              <a:ext uri="{FF2B5EF4-FFF2-40B4-BE49-F238E27FC236}">
                <a16:creationId xmlns:a16="http://schemas.microsoft.com/office/drawing/2014/main" id="{D8CE7914-CBBC-5E99-3C4E-C5765617CC71}"/>
              </a:ext>
            </a:extLst>
          </p:cNvPr>
          <p:cNvSpPr txBox="1">
            <a:spLocks/>
          </p:cNvSpPr>
          <p:nvPr/>
        </p:nvSpPr>
        <p:spPr>
          <a:xfrm>
            <a:off x="1807671" y="1906310"/>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Mexico has not set a target and does not have policies in place to phase out </a:t>
            </a:r>
            <a:r>
              <a:rPr kumimoji="0" lang="en-GB"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nabated coal-fired electricity generation.</a:t>
            </a:r>
          </a:p>
        </p:txBody>
      </p:sp>
      <p:sp>
        <p:nvSpPr>
          <p:cNvPr id="20" name="TextBox 19">
            <a:extLst>
              <a:ext uri="{FF2B5EF4-FFF2-40B4-BE49-F238E27FC236}">
                <a16:creationId xmlns:a16="http://schemas.microsoft.com/office/drawing/2014/main" id="{B0D5819D-69F1-A952-719B-C21EBA2347B1}"/>
              </a:ext>
            </a:extLst>
          </p:cNvPr>
          <p:cNvSpPr txBox="1"/>
          <p:nvPr/>
        </p:nvSpPr>
        <p:spPr>
          <a:xfrm>
            <a:off x="881849" y="2332473"/>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Argentina</a:t>
            </a:r>
          </a:p>
        </p:txBody>
      </p:sp>
      <p:sp>
        <p:nvSpPr>
          <p:cNvPr id="22" name="TextBox 21">
            <a:extLst>
              <a:ext uri="{FF2B5EF4-FFF2-40B4-BE49-F238E27FC236}">
                <a16:creationId xmlns:a16="http://schemas.microsoft.com/office/drawing/2014/main" id="{24A8C74C-491F-3135-9168-31168889F6C2}"/>
              </a:ext>
            </a:extLst>
          </p:cNvPr>
          <p:cNvSpPr txBox="1">
            <a:spLocks/>
          </p:cNvSpPr>
          <p:nvPr/>
        </p:nvSpPr>
        <p:spPr>
          <a:xfrm>
            <a:off x="1807671" y="2272696"/>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rgentina has phased-out of all unabated coal.</a:t>
            </a:r>
            <a:endPar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Box 22">
            <a:extLst>
              <a:ext uri="{FF2B5EF4-FFF2-40B4-BE49-F238E27FC236}">
                <a16:creationId xmlns:a16="http://schemas.microsoft.com/office/drawing/2014/main" id="{3195ABAB-67CE-F714-1604-528A4C8CEAA4}"/>
              </a:ext>
            </a:extLst>
          </p:cNvPr>
          <p:cNvSpPr txBox="1"/>
          <p:nvPr/>
        </p:nvSpPr>
        <p:spPr>
          <a:xfrm>
            <a:off x="881849" y="273512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Brazil</a:t>
            </a:r>
          </a:p>
        </p:txBody>
      </p:sp>
      <p:sp>
        <p:nvSpPr>
          <p:cNvPr id="25" name="TextBox 24">
            <a:extLst>
              <a:ext uri="{FF2B5EF4-FFF2-40B4-BE49-F238E27FC236}">
                <a16:creationId xmlns:a16="http://schemas.microsoft.com/office/drawing/2014/main" id="{3AF7F11E-CC97-D96C-595A-28C6B90225CE}"/>
              </a:ext>
            </a:extLst>
          </p:cNvPr>
          <p:cNvSpPr txBox="1">
            <a:spLocks/>
          </p:cNvSpPr>
          <p:nvPr/>
        </p:nvSpPr>
        <p:spPr>
          <a:xfrm>
            <a:off x="1807671" y="2675348"/>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razil</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has phased-out of all unabated coal.</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Box 25">
            <a:extLst>
              <a:ext uri="{FF2B5EF4-FFF2-40B4-BE49-F238E27FC236}">
                <a16:creationId xmlns:a16="http://schemas.microsoft.com/office/drawing/2014/main" id="{6A581ED3-601C-A044-A72C-7EED9696B2DB}"/>
              </a:ext>
            </a:extLst>
          </p:cNvPr>
          <p:cNvSpPr txBox="1"/>
          <p:nvPr/>
        </p:nvSpPr>
        <p:spPr>
          <a:xfrm>
            <a:off x="881849" y="3133605"/>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K</a:t>
            </a:r>
          </a:p>
        </p:txBody>
      </p:sp>
      <p:sp>
        <p:nvSpPr>
          <p:cNvPr id="28" name="TextBox 27">
            <a:extLst>
              <a:ext uri="{FF2B5EF4-FFF2-40B4-BE49-F238E27FC236}">
                <a16:creationId xmlns:a16="http://schemas.microsoft.com/office/drawing/2014/main" id="{AADF7B53-9E4C-8056-7221-86277A45CD44}"/>
              </a:ext>
            </a:extLst>
          </p:cNvPr>
          <p:cNvSpPr txBox="1">
            <a:spLocks/>
          </p:cNvSpPr>
          <p:nvPr/>
        </p:nvSpPr>
        <p:spPr>
          <a:xfrm>
            <a:off x="1807671" y="3054778"/>
            <a:ext cx="9847754"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e UK</a:t>
            </a:r>
            <a:r>
              <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has phased-out of all unabated coal.</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Box 28">
            <a:extLst>
              <a:ext uri="{FF2B5EF4-FFF2-40B4-BE49-F238E27FC236}">
                <a16:creationId xmlns:a16="http://schemas.microsoft.com/office/drawing/2014/main" id="{FFCD6AA0-DC23-0E27-AE73-415D18660094}"/>
              </a:ext>
            </a:extLst>
          </p:cNvPr>
          <p:cNvSpPr txBox="1">
            <a:spLocks/>
          </p:cNvSpPr>
          <p:nvPr/>
        </p:nvSpPr>
        <p:spPr>
          <a:xfrm>
            <a:off x="881849" y="348690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USA</a:t>
            </a:r>
          </a:p>
        </p:txBody>
      </p:sp>
      <p:sp>
        <p:nvSpPr>
          <p:cNvPr id="31" name="TextBox 30">
            <a:extLst>
              <a:ext uri="{FF2B5EF4-FFF2-40B4-BE49-F238E27FC236}">
                <a16:creationId xmlns:a16="http://schemas.microsoft.com/office/drawing/2014/main" id="{223E6373-1FD2-8938-AFF2-CBED861BB861}"/>
              </a:ext>
            </a:extLst>
          </p:cNvPr>
          <p:cNvSpPr txBox="1">
            <a:spLocks/>
          </p:cNvSpPr>
          <p:nvPr/>
        </p:nvSpPr>
        <p:spPr>
          <a:xfrm>
            <a:off x="1807671" y="3408073"/>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4 EPA’s </a:t>
            </a:r>
            <a:r>
              <a:rPr lang="en-GB" sz="1200" dirty="0">
                <a:solidFill>
                  <a:srgbClr val="000000"/>
                </a:solidFill>
                <a:latin typeface="Calibri"/>
              </a:rPr>
              <a:t>legislated a new rule,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quiring significant carbon dioxide capture from coal-fired power plants by 2032 </a:t>
            </a: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s part of broader efforts to tackle climate change, aiming to prevent 1.38 billion metric tons of carbon emissions by 2047.</a:t>
            </a:r>
            <a:endParaRPr kumimoji="0" lang="en-US"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2" name="TextBox 31">
            <a:extLst>
              <a:ext uri="{FF2B5EF4-FFF2-40B4-BE49-F238E27FC236}">
                <a16:creationId xmlns:a16="http://schemas.microsoft.com/office/drawing/2014/main" id="{9828C3F1-4E39-BBB9-603A-D4A23446A554}"/>
              </a:ext>
            </a:extLst>
          </p:cNvPr>
          <p:cNvSpPr txBox="1"/>
          <p:nvPr/>
        </p:nvSpPr>
        <p:spPr>
          <a:xfrm>
            <a:off x="881849" y="3952400"/>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a:t>
            </a:r>
          </a:p>
        </p:txBody>
      </p:sp>
      <p:sp>
        <p:nvSpPr>
          <p:cNvPr id="34" name="TextBox 33">
            <a:extLst>
              <a:ext uri="{FF2B5EF4-FFF2-40B4-BE49-F238E27FC236}">
                <a16:creationId xmlns:a16="http://schemas.microsoft.com/office/drawing/2014/main" id="{D4588552-0F6F-D87D-A7FD-8FDCAEBA242F}"/>
              </a:ext>
            </a:extLst>
          </p:cNvPr>
          <p:cNvSpPr txBox="1">
            <a:spLocks/>
          </p:cNvSpPr>
          <p:nvPr/>
        </p:nvSpPr>
        <p:spPr>
          <a:xfrm>
            <a:off x="1807670" y="3892623"/>
            <a:ext cx="9847754"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China is predicted to reach peak coal in 2025 and </a:t>
            </a:r>
            <a:r>
              <a:rPr kumimoji="0" lang="en-US" sz="12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its government has pledged to reduce coal over the 2026-2030 period</a:t>
            </a:r>
            <a:r>
              <a:rPr kumimoji="0" lang="en-US" sz="1200" i="0" u="none" strike="noStrike" kern="1200" cap="none" spc="0" normalizeH="0" baseline="0" noProof="0">
                <a:ln>
                  <a:noFill/>
                </a:ln>
                <a:solidFill>
                  <a:srgbClr val="000000"/>
                </a:solidFill>
                <a:effectLst/>
                <a:uLnTx/>
                <a:uFillTx/>
                <a:latin typeface="Calibri"/>
                <a:ea typeface="+mn-ea"/>
                <a:cs typeface="Arial" panose="020B0604020202020204" pitchFamily="34" charset="0"/>
              </a:rPr>
              <a:t>, but it has not yet committed to a full phase-out.</a:t>
            </a:r>
          </a:p>
        </p:txBody>
      </p:sp>
      <p:sp>
        <p:nvSpPr>
          <p:cNvPr id="35" name="TextBox 34">
            <a:extLst>
              <a:ext uri="{FF2B5EF4-FFF2-40B4-BE49-F238E27FC236}">
                <a16:creationId xmlns:a16="http://schemas.microsoft.com/office/drawing/2014/main" id="{2E057132-9E88-C186-8B26-2DDE5A5CE540}"/>
              </a:ext>
            </a:extLst>
          </p:cNvPr>
          <p:cNvSpPr txBox="1"/>
          <p:nvPr/>
        </p:nvSpPr>
        <p:spPr>
          <a:xfrm>
            <a:off x="881849" y="4424679"/>
            <a:ext cx="77787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a:ln>
                  <a:noFill/>
                </a:ln>
                <a:solidFill>
                  <a:srgbClr val="000000"/>
                </a:solidFill>
                <a:effectLst/>
                <a:uLnTx/>
                <a:uFillTx/>
                <a:latin typeface="Calibri"/>
                <a:ea typeface="+mn-ea"/>
                <a:cs typeface="Arial" panose="020B0604020202020204" pitchFamily="34" charset="0"/>
              </a:rPr>
              <a:t>Japan</a:t>
            </a:r>
          </a:p>
        </p:txBody>
      </p:sp>
      <p:sp>
        <p:nvSpPr>
          <p:cNvPr id="37" name="TextBox 36">
            <a:extLst>
              <a:ext uri="{FF2B5EF4-FFF2-40B4-BE49-F238E27FC236}">
                <a16:creationId xmlns:a16="http://schemas.microsoft.com/office/drawing/2014/main" id="{D3581E4D-BB4A-7910-DCB5-51234CCD2082}"/>
              </a:ext>
            </a:extLst>
          </p:cNvPr>
          <p:cNvSpPr txBox="1">
            <a:spLocks/>
          </p:cNvSpPr>
          <p:nvPr/>
        </p:nvSpPr>
        <p:spPr>
          <a:xfrm>
            <a:off x="1807671" y="4364899"/>
            <a:ext cx="984775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GB" sz="12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 2022 Japan’s Environment Minister indicated intentions to reduce reliance on coal-fired generation</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with plans to phase out inefficient plants by 2030. The Japanese government has announced an aim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duce the share of coal from 32% in 2019 to 19% in 2030</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In 2024 Japan pledged along with the G7 to </a:t>
            </a:r>
            <a:r>
              <a:rPr kumimoji="0" lang="en-GB" sz="12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hase out unabated coal power</a:t>
            </a:r>
            <a:r>
              <a:rPr kumimoji="0" lang="en-GB"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signalling an acceleration.</a:t>
            </a:r>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 name="TextBox 2">
            <a:extLst>
              <a:ext uri="{FF2B5EF4-FFF2-40B4-BE49-F238E27FC236}">
                <a16:creationId xmlns:a16="http://schemas.microsoft.com/office/drawing/2014/main" id="{912FE922-57A7-62F5-D34D-EC17ABB0795D}"/>
              </a:ext>
            </a:extLst>
          </p:cNvPr>
          <p:cNvSpPr txBox="1">
            <a:spLocks/>
          </p:cNvSpPr>
          <p:nvPr>
            <p:custDataLst>
              <p:tags r:id="rId11"/>
            </p:custDataLst>
          </p:nvPr>
        </p:nvSpPr>
        <p:spPr>
          <a:xfrm>
            <a:off x="1834674" y="1632445"/>
            <a:ext cx="9735534"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Calibri"/>
                <a:ea typeface="+mn-ea"/>
                <a:cs typeface="Arial" panose="020B0604020202020204" pitchFamily="34" charset="0"/>
              </a:rPr>
              <a:t>Policy Evidence</a:t>
            </a:r>
          </a:p>
        </p:txBody>
      </p:sp>
      <p:pic>
        <p:nvPicPr>
          <p:cNvPr id="24" name="Picture 23">
            <a:extLst>
              <a:ext uri="{FF2B5EF4-FFF2-40B4-BE49-F238E27FC236}">
                <a16:creationId xmlns:a16="http://schemas.microsoft.com/office/drawing/2014/main" id="{347BC0E4-679A-8EA7-AABC-26F7DD6B76FB}"/>
              </a:ext>
            </a:extLst>
          </p:cNvPr>
          <p:cNvPicPr>
            <a:picLocks noChangeAspect="1"/>
          </p:cNvPicPr>
          <p:nvPr/>
        </p:nvPicPr>
        <p:blipFill>
          <a:blip r:embed="rId24"/>
          <a:stretch>
            <a:fillRect/>
          </a:stretch>
        </p:blipFill>
        <p:spPr>
          <a:xfrm>
            <a:off x="557115" y="1946285"/>
            <a:ext cx="233367" cy="155578"/>
          </a:xfrm>
          <a:prstGeom prst="rect">
            <a:avLst/>
          </a:prstGeom>
          <a:ln>
            <a:no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01BE4331-D1DB-CA81-33A8-242D4047BABA}"/>
              </a:ext>
            </a:extLst>
          </p:cNvPr>
          <p:cNvPicPr>
            <a:picLocks noChangeAspect="1"/>
          </p:cNvPicPr>
          <p:nvPr/>
        </p:nvPicPr>
        <p:blipFill>
          <a:blip r:embed="rId25"/>
          <a:stretch>
            <a:fillRect/>
          </a:stretch>
        </p:blipFill>
        <p:spPr>
          <a:xfrm>
            <a:off x="557115" y="2346655"/>
            <a:ext cx="233367" cy="155578"/>
          </a:xfrm>
          <a:prstGeom prst="rect">
            <a:avLst/>
          </a:prstGeom>
          <a:ln>
            <a:no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7A940E93-4106-F1F8-6BCF-B11DCE5E2329}"/>
              </a:ext>
            </a:extLst>
          </p:cNvPr>
          <p:cNvPicPr>
            <a:picLocks noChangeAspect="1"/>
          </p:cNvPicPr>
          <p:nvPr/>
        </p:nvPicPr>
        <p:blipFill>
          <a:blip r:embed="rId26"/>
          <a:stretch>
            <a:fillRect/>
          </a:stretch>
        </p:blipFill>
        <p:spPr>
          <a:xfrm>
            <a:off x="557115" y="2753816"/>
            <a:ext cx="233367" cy="155578"/>
          </a:xfrm>
          <a:prstGeom prst="rect">
            <a:avLst/>
          </a:prstGeom>
          <a:ln>
            <a:no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1CE3459C-3860-DD7B-9719-E86E14253DC2}"/>
              </a:ext>
            </a:extLst>
          </p:cNvPr>
          <p:cNvPicPr>
            <a:picLocks noChangeAspect="1"/>
          </p:cNvPicPr>
          <p:nvPr/>
        </p:nvPicPr>
        <p:blipFill>
          <a:blip r:embed="rId27"/>
          <a:stretch>
            <a:fillRect/>
          </a:stretch>
        </p:blipFill>
        <p:spPr>
          <a:xfrm>
            <a:off x="557115" y="3161166"/>
            <a:ext cx="233367" cy="155578"/>
          </a:xfrm>
          <a:prstGeom prst="rect">
            <a:avLst/>
          </a:prstGeom>
          <a:ln>
            <a:no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7297E7B3-7FBE-4DD7-44A4-324EB8DB945A}"/>
              </a:ext>
            </a:extLst>
          </p:cNvPr>
          <p:cNvPicPr>
            <a:picLocks noChangeAspect="1"/>
          </p:cNvPicPr>
          <p:nvPr/>
        </p:nvPicPr>
        <p:blipFill>
          <a:blip r:embed="rId28"/>
          <a:stretch>
            <a:fillRect/>
          </a:stretch>
        </p:blipFill>
        <p:spPr>
          <a:xfrm>
            <a:off x="557115" y="4449521"/>
            <a:ext cx="233367" cy="155578"/>
          </a:xfrm>
          <a:prstGeom prst="rect">
            <a:avLst/>
          </a:prstGeom>
          <a:ln>
            <a:noFill/>
          </a:ln>
          <a:effectLst>
            <a:outerShdw blurRad="50800" dist="38100" dir="2700000" algn="tl" rotWithShape="0">
              <a:prstClr val="black">
                <a:alpha val="40000"/>
              </a:prstClr>
            </a:outerShdw>
          </a:effectLst>
        </p:spPr>
      </p:pic>
      <p:pic>
        <p:nvPicPr>
          <p:cNvPr id="38" name="Picture 37">
            <a:extLst>
              <a:ext uri="{FF2B5EF4-FFF2-40B4-BE49-F238E27FC236}">
                <a16:creationId xmlns:a16="http://schemas.microsoft.com/office/drawing/2014/main" id="{A8954D36-E486-9413-E883-4F4C27016BE2}"/>
              </a:ext>
            </a:extLst>
          </p:cNvPr>
          <p:cNvPicPr>
            <a:picLocks noChangeAspect="1"/>
          </p:cNvPicPr>
          <p:nvPr/>
        </p:nvPicPr>
        <p:blipFill>
          <a:blip r:embed="rId29"/>
          <a:stretch>
            <a:fillRect/>
          </a:stretch>
        </p:blipFill>
        <p:spPr>
          <a:xfrm>
            <a:off x="557115" y="3499514"/>
            <a:ext cx="233367" cy="155578"/>
          </a:xfrm>
          <a:prstGeom prst="rect">
            <a:avLst/>
          </a:prstGeom>
          <a:ln>
            <a:noFill/>
          </a:ln>
          <a:effectLst>
            <a:outerShdw blurRad="50800" dist="38100" dir="2700000" algn="tl" rotWithShape="0">
              <a:prstClr val="black">
                <a:alpha val="40000"/>
              </a:prstClr>
            </a:outerShdw>
          </a:effectLst>
        </p:spPr>
      </p:pic>
      <p:pic>
        <p:nvPicPr>
          <p:cNvPr id="39" name="Picture 38">
            <a:extLst>
              <a:ext uri="{FF2B5EF4-FFF2-40B4-BE49-F238E27FC236}">
                <a16:creationId xmlns:a16="http://schemas.microsoft.com/office/drawing/2014/main" id="{1DC091D3-A6A7-DE3E-5657-233324F21FA7}"/>
              </a:ext>
            </a:extLst>
          </p:cNvPr>
          <p:cNvPicPr>
            <a:picLocks noChangeAspect="1"/>
          </p:cNvPicPr>
          <p:nvPr/>
        </p:nvPicPr>
        <p:blipFill>
          <a:blip r:embed="rId30"/>
          <a:stretch>
            <a:fillRect/>
          </a:stretch>
        </p:blipFill>
        <p:spPr>
          <a:xfrm>
            <a:off x="557115" y="3977906"/>
            <a:ext cx="233367" cy="15557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626872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6.12579511000000032084E+00&quot;&gt;&lt;m_msothmcolidx val=&quot;0&quot;/&gt;&lt;m_rgb r=&quot;37&quot; g=&quot;9E&quot; b=&quot;93&quot;/&gt;&lt;/elem&gt;&lt;elem m_fUsage=&quot;7.36098929100000076708E-01&quot;&gt;&lt;m_msothmcolidx val=&quot;0&quot;/&gt;&lt;m_rgb r=&quot;51&quot; g=&quot;AE&quot; b=&quot;38&quot;/&gt;&lt;/elem&gt;&lt;elem m_fUsage=&quot;5.10848409190768681931E-01&quot;&gt;&lt;m_msothmcolidx val=&quot;0&quot;/&gt;&lt;m_rgb r=&quot;8B&quot; g=&quot;DF&quot; b=&quot;FF&quot;/&gt;&lt;/elem&gt;&lt;elem m_fUsage=&quot;3.13810596090000171188E-01&quot;&gt;&lt;m_msothmcolidx val=&quot;0&quot;/&gt;&lt;m_rgb r=&quot;92&quot; g=&quot;D0&quot; b=&quot;50&quot;/&gt;&lt;/elem&gt;&lt;elem m_fUsage=&quot;2.82429536481000165171E-01&quot;&gt;&lt;m_msothmcolidx val=&quot;0&quot;/&gt;&lt;m_rgb r=&quot;F0&quot; g=&quot;BC&quot; b=&quot;3A&quot;/&gt;&lt;/elem&gt;&lt;elem m_fUsage=&quot;2.28767924549610118801E-01&quot;&gt;&lt;m_msothmcolidx val=&quot;0&quot;/&gt;&lt;m_rgb r=&quot;6D&quot; g=&quot;D9&quot; b=&quot;56&quot;/&gt;&lt;/elem&gt;&lt;elem m_fUsage=&quot;2.05891132094649098594E-01&quot;&gt;&lt;m_msothmcolidx val=&quot;0&quot;/&gt;&lt;m_rgb r=&quot;8B&quot; g=&quot;E4&quot; b=&quot;72&quot;/&gt;&lt;/elem&gt;&lt;elem m_fUsage=&quot;1.85302018885184188735E-01&quot;&gt;&lt;m_msothmcolidx val=&quot;0&quot;/&gt;&lt;m_rgb r=&quot;A7&quot; g=&quot;EA&quot; b=&quot;94&quot;/&gt;&lt;/elem&gt;&lt;elem m_fUsage=&quot;1.66771816996665767086E-01&quot;&gt;&lt;m_msothmcolidx val=&quot;0&quot;/&gt;&lt;m_rgb r=&quot;2B&quot; g=&quot;6D&quot; b=&quot;33&quot;/&gt;&lt;/elem&gt;&lt;elem m_fUsage=&quot;1.57949802508278142055E-01&quot;&gt;&lt;m_msothmcolidx val=&quot;0&quot;/&gt;&lt;m_rgb r=&quot;11&quot; g=&quot;58&quot; b=&quot;10&quot;/&gt;&lt;/elem&gt;&lt;elem m_fUsage=&quot;1.51556241846057815348E-01&quot;&gt;&lt;m_msothmcolidx val=&quot;0&quot;/&gt;&lt;m_rgb r=&quot;CB&quot; g=&quot;E7&quot; b=&quot;E4&quot;/&gt;&lt;/elem&gt;&lt;elem m_fUsage=&quot;1.10484500305776153772E-01&quot;&gt;&lt;m_msothmcolidx val=&quot;0&quot;/&gt;&lt;m_rgb r=&quot;BC&quot; g=&quot;EB&quot; b=&quot;FF&quot;/&gt;&lt;/elem&gt;&lt;elem m_fUsage=&quot;1.09418989131512434110E-01&quot;&gt;&lt;m_msothmcolidx val=&quot;0&quot;/&gt;&lt;m_rgb r=&quot;A0&quot; g=&quot;D5&quot; b=&quot;CE&quot;/&gt;&lt;/elem&gt;&lt;elem m_fUsage=&quot;9.84770902183611934744E-02&quot;&gt;&lt;m_msothmcolidx val=&quot;0&quot;/&gt;&lt;m_rgb r=&quot;8E&quot; g=&quot;CE&quot; b=&quot;C6&quot;/&gt;&lt;/elem&gt;&lt;elem m_fUsage=&quot;8.86293811965250810658E-02&quot;&gt;&lt;m_msothmcolidx val=&quot;0&quot;/&gt;&lt;m_rgb r=&quot;A9&quot; g=&quot;D8&quot; b=&quot;D3&quot;/&gt;&lt;/elem&gt;&lt;elem m_fUsage=&quot;6.46108188922667886489E-02&quot;&gt;&lt;m_msothmcolidx val=&quot;0&quot;/&gt;&lt;m_rgb r=&quot;A7&quot; g=&quot;E6&quot; b=&quot;FF&quot;/&gt;&lt;/elem&gt;&lt;elem m_fUsage=&quot;4.71012869724624916312E-02&quot;&gt;&lt;m_msothmcolidx val=&quot;0&quot;/&gt;&lt;m_rgb r=&quot;7F&quot; g=&quot;DF&quot; b=&quot;EA&quot;/&gt;&lt;/elem&gt;&lt;elem m_fUsage=&quot;4.23911582752162438559E-02&quot;&gt;&lt;m_msothmcolidx val=&quot;0&quot;/&gt;&lt;m_rgb r=&quot;7F&quot; g=&quot;CF&quot; b=&quot;F1&quot;/&gt;&lt;/elem&gt;&lt;elem m_fUsage=&quot;3.81520424476946215520E-02&quot;&gt;&lt;m_msothmcolidx val=&quot;0&quot;/&gt;&lt;m_rgb r=&quot;A8&quot; g=&quot;D6&quot; b=&quot;98&quot;/&gt;&lt;/elem&gt;&lt;elem m_fUsage=&quot;3.43368382029251573151E-02&quot;&gt;&lt;m_msothmcolidx val=&quot;0&quot;/&gt;&lt;m_rgb r=&quot;7F&quot; g=&quot;BD&quot; b=&quot;D7&quot;/&gt;&lt;/elem&gt;&lt;elem m_fUsage=&quot;3.12040862096952635596E-02&quot;&gt;&lt;m_msothmcolidx val=&quot;0&quot;/&gt;&lt;m_rgb r=&quot;7D&quot; g=&quot;EF&quot; b=&quot;60&quot;/&gt;&lt;/elem&gt;&lt;elem m_fUsage=&quot;3.09031543826326429714E-02&quot;&gt;&lt;m_msothmcolidx val=&quot;0&quot;/&gt;&lt;m_rgb r=&quot;E2&quot; g=&quot;E2&quot; b=&quot;E2&quot;/&gt;&lt;/elem&gt;&lt;elem m_fUsage=&quot;2.78128389443693807559E-02&quot;&gt;&lt;m_msothmcolidx val=&quot;0&quot;/&gt;&lt;m_rgb r=&quot;E6&quot; g=&quot;A3&quot; b=&quot;A3&quot;/&gt;&lt;/elem&gt;&lt;elem m_fUsage=&quot;2.50315550499324440681E-02&quot;&gt;&lt;m_msothmcolidx val=&quot;0&quot;/&gt;&lt;m_rgb r=&quot;CD&quot; g=&quot;48&quot; b=&quot;48&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ACET"/>
</p:tagLst>
</file>

<file path=ppt/tags/tag1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SHAPENAME" val="Grid"/>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23.xml><?xml version="1.0" encoding="utf-8"?>
<p:tagLst xmlns:a="http://schemas.openxmlformats.org/drawingml/2006/main" xmlns:r="http://schemas.openxmlformats.org/officeDocument/2006/relationships" xmlns:p="http://schemas.openxmlformats.org/presentationml/2006/main">
  <p:tag name="NAME" val="ACET"/>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ANGLE" val="5"/>
</p:tagLst>
</file>

<file path=ppt/tags/tag131.xml><?xml version="1.0" encoding="utf-8"?>
<p:tagLst xmlns:a="http://schemas.openxmlformats.org/drawingml/2006/main" xmlns:r="http://schemas.openxmlformats.org/officeDocument/2006/relationships" xmlns:p="http://schemas.openxmlformats.org/presentationml/2006/main">
  <p:tag name="ANGLE" val="4"/>
</p:tagLst>
</file>

<file path=ppt/tags/tag132.xml><?xml version="1.0" encoding="utf-8"?>
<p:tagLst xmlns:a="http://schemas.openxmlformats.org/drawingml/2006/main" xmlns:r="http://schemas.openxmlformats.org/officeDocument/2006/relationships" xmlns:p="http://schemas.openxmlformats.org/presentationml/2006/main">
  <p:tag name="ANGLE" val="4"/>
</p:tagLst>
</file>

<file path=ppt/tags/tag133.xml><?xml version="1.0" encoding="utf-8"?>
<p:tagLst xmlns:a="http://schemas.openxmlformats.org/drawingml/2006/main" xmlns:r="http://schemas.openxmlformats.org/officeDocument/2006/relationships" xmlns:p="http://schemas.openxmlformats.org/presentationml/2006/main">
  <p:tag name="ANGLE" val="3"/>
</p:tagLst>
</file>

<file path=ppt/tags/tag134.xml><?xml version="1.0" encoding="utf-8"?>
<p:tagLst xmlns:a="http://schemas.openxmlformats.org/drawingml/2006/main" xmlns:r="http://schemas.openxmlformats.org/officeDocument/2006/relationships" xmlns:p="http://schemas.openxmlformats.org/presentationml/2006/main">
  <p:tag name="ANGLE" val="3"/>
</p:tagLst>
</file>

<file path=ppt/tags/tag135.xml><?xml version="1.0" encoding="utf-8"?>
<p:tagLst xmlns:a="http://schemas.openxmlformats.org/drawingml/2006/main" xmlns:r="http://schemas.openxmlformats.org/officeDocument/2006/relationships" xmlns:p="http://schemas.openxmlformats.org/presentationml/2006/main">
  <p:tag name="ANGLE" val="2"/>
</p:tagLst>
</file>

<file path=ppt/tags/tag136.xml><?xml version="1.0" encoding="utf-8"?>
<p:tagLst xmlns:a="http://schemas.openxmlformats.org/drawingml/2006/main" xmlns:r="http://schemas.openxmlformats.org/officeDocument/2006/relationships" xmlns:p="http://schemas.openxmlformats.org/presentationml/2006/main">
  <p:tag name="ANGLE" val="2"/>
</p:tagLst>
</file>

<file path=ppt/tags/tag137.xml><?xml version="1.0" encoding="utf-8"?>
<p:tagLst xmlns:a="http://schemas.openxmlformats.org/drawingml/2006/main" xmlns:r="http://schemas.openxmlformats.org/officeDocument/2006/relationships" xmlns:p="http://schemas.openxmlformats.org/presentationml/2006/main">
  <p:tag name="ANGLE" val="1"/>
</p:tagLst>
</file>

<file path=ppt/tags/tag138.xml><?xml version="1.0" encoding="utf-8"?>
<p:tagLst xmlns:a="http://schemas.openxmlformats.org/drawingml/2006/main" xmlns:r="http://schemas.openxmlformats.org/officeDocument/2006/relationships" xmlns:p="http://schemas.openxmlformats.org/presentationml/2006/main">
  <p:tag name="ANGLE" val="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xml><?xml version="1.0" encoding="utf-8"?>
<p:tagLst xmlns:a="http://schemas.openxmlformats.org/drawingml/2006/main" xmlns:r="http://schemas.openxmlformats.org/officeDocument/2006/relationships" xmlns:p="http://schemas.openxmlformats.org/presentationml/2006/main">
  <p:tag name="SHAPENAME" val="Titl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5"/>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8.xml><?xml version="1.0" encoding="utf-8"?>
<p:tagLst xmlns:a="http://schemas.openxmlformats.org/drawingml/2006/main" xmlns:r="http://schemas.openxmlformats.org/officeDocument/2006/relationships" xmlns:p="http://schemas.openxmlformats.org/presentationml/2006/main">
  <p:tag name="ANGLE" val="5"/>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8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4"/>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9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9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4"/>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xml><?xml version="1.0" encoding="utf-8"?>
<p:tagLst xmlns:a="http://schemas.openxmlformats.org/drawingml/2006/main" xmlns:r="http://schemas.openxmlformats.org/officeDocument/2006/relationships" xmlns:p="http://schemas.openxmlformats.org/presentationml/2006/main">
  <p:tag name="ANGLE" val="3"/>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1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NGLE" val="3"/>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2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xml><?xml version="1.0" encoding="utf-8"?>
<p:tagLst xmlns:a="http://schemas.openxmlformats.org/drawingml/2006/main" xmlns:r="http://schemas.openxmlformats.org/officeDocument/2006/relationships" xmlns:p="http://schemas.openxmlformats.org/presentationml/2006/main">
  <p:tag name="ANGLE" val="2"/>
</p:tagLst>
</file>

<file path=ppt/tags/tag2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NGLE" val="2"/>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4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ANGLE" val="1"/>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25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SHAPENAME" val="Grid"/>
</p:tagLst>
</file>

<file path=ppt/tags/tag26.xml><?xml version="1.0" encoding="utf-8"?>
<p:tagLst xmlns:a="http://schemas.openxmlformats.org/drawingml/2006/main" xmlns:r="http://schemas.openxmlformats.org/officeDocument/2006/relationships" xmlns:p="http://schemas.openxmlformats.org/presentationml/2006/main">
  <p:tag name="ANGLE" val="1"/>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6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NAME" val="ACET"/>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
</p:tagLst>
</file>

<file path=ppt/tags/tag267.xml><?xml version="1.0" encoding="utf-8"?>
<p:tagLst xmlns:a="http://schemas.openxmlformats.org/drawingml/2006/main" xmlns:r="http://schemas.openxmlformats.org/officeDocument/2006/relationships" xmlns:p="http://schemas.openxmlformats.org/presentationml/2006/main">
  <p:tag name="NAME" val="Moon"/>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ANGLE" val="5"/>
</p:tagLst>
</file>

<file path=ppt/tags/tag271.xml><?xml version="1.0" encoding="utf-8"?>
<p:tagLst xmlns:a="http://schemas.openxmlformats.org/drawingml/2006/main" xmlns:r="http://schemas.openxmlformats.org/officeDocument/2006/relationships" xmlns:p="http://schemas.openxmlformats.org/presentationml/2006/main">
  <p:tag name="ANGLE" val="4"/>
</p:tagLst>
</file>

<file path=ppt/tags/tag272.xml><?xml version="1.0" encoding="utf-8"?>
<p:tagLst xmlns:a="http://schemas.openxmlformats.org/drawingml/2006/main" xmlns:r="http://schemas.openxmlformats.org/officeDocument/2006/relationships" xmlns:p="http://schemas.openxmlformats.org/presentationml/2006/main">
  <p:tag name="ANGLE" val="4"/>
</p:tagLst>
</file>

<file path=ppt/tags/tag273.xml><?xml version="1.0" encoding="utf-8"?>
<p:tagLst xmlns:a="http://schemas.openxmlformats.org/drawingml/2006/main" xmlns:r="http://schemas.openxmlformats.org/officeDocument/2006/relationships" xmlns:p="http://schemas.openxmlformats.org/presentationml/2006/main">
  <p:tag name="ANGLE" val="3"/>
</p:tagLst>
</file>

<file path=ppt/tags/tag274.xml><?xml version="1.0" encoding="utf-8"?>
<p:tagLst xmlns:a="http://schemas.openxmlformats.org/drawingml/2006/main" xmlns:r="http://schemas.openxmlformats.org/officeDocument/2006/relationships" xmlns:p="http://schemas.openxmlformats.org/presentationml/2006/main">
  <p:tag name="ANGLE" val="3"/>
</p:tagLst>
</file>

<file path=ppt/tags/tag275.xml><?xml version="1.0" encoding="utf-8"?>
<p:tagLst xmlns:a="http://schemas.openxmlformats.org/drawingml/2006/main" xmlns:r="http://schemas.openxmlformats.org/officeDocument/2006/relationships" xmlns:p="http://schemas.openxmlformats.org/presentationml/2006/main">
  <p:tag name="ANGLE" val="2"/>
</p:tagLst>
</file>

<file path=ppt/tags/tag276.xml><?xml version="1.0" encoding="utf-8"?>
<p:tagLst xmlns:a="http://schemas.openxmlformats.org/drawingml/2006/main" xmlns:r="http://schemas.openxmlformats.org/officeDocument/2006/relationships" xmlns:p="http://schemas.openxmlformats.org/presentationml/2006/main">
  <p:tag name="ANGLE" val="2"/>
</p:tagLst>
</file>

<file path=ppt/tags/tag277.xml><?xml version="1.0" encoding="utf-8"?>
<p:tagLst xmlns:a="http://schemas.openxmlformats.org/drawingml/2006/main" xmlns:r="http://schemas.openxmlformats.org/officeDocument/2006/relationships" xmlns:p="http://schemas.openxmlformats.org/presentationml/2006/main">
  <p:tag name="ANGLE" val="1"/>
</p:tagLst>
</file>

<file path=ppt/tags/tag278.xml><?xml version="1.0" encoding="utf-8"?>
<p:tagLst xmlns:a="http://schemas.openxmlformats.org/drawingml/2006/main" xmlns:r="http://schemas.openxmlformats.org/officeDocument/2006/relationships" xmlns:p="http://schemas.openxmlformats.org/presentationml/2006/main">
  <p:tag name="ANGLE" val="1"/>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2.xml><?xml version="1.0" encoding="utf-8"?>
<p:tagLst xmlns:a="http://schemas.openxmlformats.org/drawingml/2006/main" xmlns:r="http://schemas.openxmlformats.org/officeDocument/2006/relationships" xmlns:p="http://schemas.openxmlformats.org/presentationml/2006/main">
  <p:tag name="SHAPENAME" val="Subtitle"/>
</p:tagLst>
</file>

<file path=ppt/tags/tag283.xml><?xml version="1.0" encoding="utf-8"?>
<p:tagLst xmlns:a="http://schemas.openxmlformats.org/drawingml/2006/main" xmlns:r="http://schemas.openxmlformats.org/officeDocument/2006/relationships" xmlns:p="http://schemas.openxmlformats.org/presentationml/2006/main">
  <p:tag name="SHAPENAME" val="Titl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Please add a presentation title;"/>
  <p:tag name="MIO_USER_INPUT_OPTIONAL" val=" "/>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6.xml><?xml version="1.0" encoding="utf-8"?>
<p:tagLst xmlns:a="http://schemas.openxmlformats.org/drawingml/2006/main" xmlns:r="http://schemas.openxmlformats.org/officeDocument/2006/relationships" xmlns:p="http://schemas.openxmlformats.org/presentationml/2006/main">
  <p:tag name="SHAPENAME" val="5. Sourc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8.xml><?xml version="1.0" encoding="utf-8"?>
<p:tagLst xmlns:a="http://schemas.openxmlformats.org/drawingml/2006/main" xmlns:r="http://schemas.openxmlformats.org/officeDocument/2006/relationships" xmlns:p="http://schemas.openxmlformats.org/presentationml/2006/main">
  <p:tag name="SHAPENAME" val="5. Source"/>
</p:tagLst>
</file>

<file path=ppt/tags/tag3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5. Sourc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SHAPENAME" val="5. Sourc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SHAPENAME" val="5. Sourc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0.xml><?xml version="1.0" encoding="utf-8"?>
<p:tagLst xmlns:a="http://schemas.openxmlformats.org/drawingml/2006/main" xmlns:r="http://schemas.openxmlformats.org/officeDocument/2006/relationships" xmlns:p="http://schemas.openxmlformats.org/presentationml/2006/main">
  <p:tag name="SHAPENAME" val="5. Source"/>
</p:tagLst>
</file>

<file path=ppt/tags/tag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SHAPENAME" val="5. Source"/>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2.xml><?xml version="1.0" encoding="utf-8"?>
<p:tagLst xmlns:a="http://schemas.openxmlformats.org/drawingml/2006/main" xmlns:r="http://schemas.openxmlformats.org/officeDocument/2006/relationships" xmlns:p="http://schemas.openxmlformats.org/presentationml/2006/main">
  <p:tag name="SHAPENAME" val="5. Source"/>
</p:tagLst>
</file>

<file path=ppt/tags/tag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379.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8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8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8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8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8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39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9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9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9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9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9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97.xml><?xml version="1.0" encoding="utf-8"?>
<p:tagLst xmlns:a="http://schemas.openxmlformats.org/drawingml/2006/main" xmlns:r="http://schemas.openxmlformats.org/officeDocument/2006/relationships" xmlns:p="http://schemas.openxmlformats.org/presentationml/2006/main">
  <p:tag name="SHAPENAME" val="5. Source"/>
</p:tagLst>
</file>

<file path=ppt/tags/tag398.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Member firms and DTTL;Insert appropriate copyright (do not change or delete)"/>
  <p:tag name="MIO_USER_INPUT_OPTIONAL" val=" "/>
  <p:tag name="MIO_USER_INPUT_TEXT" val=" "/>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0.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01.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40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0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0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0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0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0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12.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41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1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1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1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1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1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19.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23.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42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2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2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2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2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2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30.xml><?xml version="1.0" encoding="utf-8"?>
<p:tagLst xmlns:a="http://schemas.openxmlformats.org/drawingml/2006/main" xmlns:r="http://schemas.openxmlformats.org/officeDocument/2006/relationships" xmlns:p="http://schemas.openxmlformats.org/presentationml/2006/main">
  <p:tag name="SHAPENAME" val="5. Source"/>
</p:tagLst>
</file>

<file path=ppt/tags/tag43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34.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43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41.xml><?xml version="1.0" encoding="utf-8"?>
<p:tagLst xmlns:a="http://schemas.openxmlformats.org/drawingml/2006/main" xmlns:r="http://schemas.openxmlformats.org/officeDocument/2006/relationships" xmlns:p="http://schemas.openxmlformats.org/presentationml/2006/main">
  <p:tag name="SHAPENAME" val="5. Source"/>
</p:tagLst>
</file>

<file path=ppt/tags/tag442.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45.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44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4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4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4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5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52.xml><?xml version="1.0" encoding="utf-8"?>
<p:tagLst xmlns:a="http://schemas.openxmlformats.org/drawingml/2006/main" xmlns:r="http://schemas.openxmlformats.org/officeDocument/2006/relationships" xmlns:p="http://schemas.openxmlformats.org/presentationml/2006/main">
  <p:tag name="SHAPENAME" val="5. Source"/>
</p:tagLst>
</file>

<file path=ppt/tags/tag453.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56.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45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5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5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6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6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63.xml><?xml version="1.0" encoding="utf-8"?>
<p:tagLst xmlns:a="http://schemas.openxmlformats.org/drawingml/2006/main" xmlns:r="http://schemas.openxmlformats.org/officeDocument/2006/relationships" xmlns:p="http://schemas.openxmlformats.org/presentationml/2006/main">
  <p:tag name="SHAPENAME" val="5. Source"/>
</p:tagLst>
</file>

<file path=ppt/tags/tag464.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67.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46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6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7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7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7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74.xml><?xml version="1.0" encoding="utf-8"?>
<p:tagLst xmlns:a="http://schemas.openxmlformats.org/drawingml/2006/main" xmlns:r="http://schemas.openxmlformats.org/officeDocument/2006/relationships" xmlns:p="http://schemas.openxmlformats.org/presentationml/2006/main">
  <p:tag name="SHAPENAME" val="5. Source"/>
</p:tagLst>
</file>

<file path=ppt/tags/tag47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78.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47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8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8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8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8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84.xml><?xml version="1.0" encoding="utf-8"?>
<p:tagLst xmlns:a="http://schemas.openxmlformats.org/drawingml/2006/main" xmlns:r="http://schemas.openxmlformats.org/officeDocument/2006/relationships" xmlns:p="http://schemas.openxmlformats.org/presentationml/2006/main">
  <p:tag name="SHAPENAME" val="5. Source"/>
</p:tagLst>
</file>

<file path=ppt/tags/tag48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88.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48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49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0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0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0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0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0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0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07.xml><?xml version="1.0" encoding="utf-8"?>
<p:tagLst xmlns:a="http://schemas.openxmlformats.org/drawingml/2006/main" xmlns:r="http://schemas.openxmlformats.org/officeDocument/2006/relationships" xmlns:p="http://schemas.openxmlformats.org/presentationml/2006/main">
  <p:tag name="SHAPENAME" val="5. Source"/>
</p:tagLst>
</file>

<file path=ppt/tags/tag508.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11.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1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1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1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1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1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1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18.xml><?xml version="1.0" encoding="utf-8"?>
<p:tagLst xmlns:a="http://schemas.openxmlformats.org/drawingml/2006/main" xmlns:r="http://schemas.openxmlformats.org/officeDocument/2006/relationships" xmlns:p="http://schemas.openxmlformats.org/presentationml/2006/main">
  <p:tag name="SHAPENAME" val="5. Source"/>
</p:tagLst>
</file>

<file path=ppt/tags/tag51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22.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2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2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2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2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2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2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29.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33.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3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3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3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3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3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3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44.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4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4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4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4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4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51.xml><?xml version="1.0" encoding="utf-8"?>
<p:tagLst xmlns:a="http://schemas.openxmlformats.org/drawingml/2006/main" xmlns:r="http://schemas.openxmlformats.org/officeDocument/2006/relationships" xmlns:p="http://schemas.openxmlformats.org/presentationml/2006/main">
  <p:tag name="SHAPENAME" val="5. Source"/>
</p:tagLst>
</file>

<file path=ppt/tags/tag552.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55.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5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5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5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5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6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6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62.xml><?xml version="1.0" encoding="utf-8"?>
<p:tagLst xmlns:a="http://schemas.openxmlformats.org/drawingml/2006/main" xmlns:r="http://schemas.openxmlformats.org/officeDocument/2006/relationships" xmlns:p="http://schemas.openxmlformats.org/presentationml/2006/main">
  <p:tag name="SHAPENAME" val="5. Source"/>
</p:tagLst>
</file>

<file path=ppt/tags/tag563.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66.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6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6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6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7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7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73.xml><?xml version="1.0" encoding="utf-8"?>
<p:tagLst xmlns:a="http://schemas.openxmlformats.org/drawingml/2006/main" xmlns:r="http://schemas.openxmlformats.org/officeDocument/2006/relationships" xmlns:p="http://schemas.openxmlformats.org/presentationml/2006/main">
  <p:tag name="SHAPENAME" val="5. Source"/>
</p:tagLst>
</file>

<file path=ppt/tags/tag574.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77.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7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7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8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82.xml><?xml version="1.0" encoding="utf-8"?>
<p:tagLst xmlns:a="http://schemas.openxmlformats.org/drawingml/2006/main" xmlns:r="http://schemas.openxmlformats.org/officeDocument/2006/relationships" xmlns:p="http://schemas.openxmlformats.org/presentationml/2006/main">
  <p:tag name="SHAPENAME" val="5. Source"/>
</p:tagLst>
</file>

<file path=ppt/tags/tag583.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86.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8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8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8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9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9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93.xml><?xml version="1.0" encoding="utf-8"?>
<p:tagLst xmlns:a="http://schemas.openxmlformats.org/drawingml/2006/main" xmlns:r="http://schemas.openxmlformats.org/officeDocument/2006/relationships" xmlns:p="http://schemas.openxmlformats.org/presentationml/2006/main">
  <p:tag name="SHAPENAME" val="5. Source"/>
</p:tagLst>
</file>

<file path=ppt/tags/tag594.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597.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59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59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0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0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0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0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04.xml><?xml version="1.0" encoding="utf-8"?>
<p:tagLst xmlns:a="http://schemas.openxmlformats.org/drawingml/2006/main" xmlns:r="http://schemas.openxmlformats.org/officeDocument/2006/relationships" xmlns:p="http://schemas.openxmlformats.org/presentationml/2006/main">
  <p:tag name="SHAPENAME" val="5. Source"/>
</p:tagLst>
</file>

<file path=ppt/tags/tag60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0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0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1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1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1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1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15.xml><?xml version="1.0" encoding="utf-8"?>
<p:tagLst xmlns:a="http://schemas.openxmlformats.org/drawingml/2006/main" xmlns:r="http://schemas.openxmlformats.org/officeDocument/2006/relationships" xmlns:p="http://schemas.openxmlformats.org/presentationml/2006/main">
  <p:tag name="SHAPENAME" val="5. Source"/>
</p:tagLst>
</file>

<file path=ppt/tags/tag616.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19.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2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2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2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24.xml><?xml version="1.0" encoding="utf-8"?>
<p:tagLst xmlns:a="http://schemas.openxmlformats.org/drawingml/2006/main" xmlns:r="http://schemas.openxmlformats.org/officeDocument/2006/relationships" xmlns:p="http://schemas.openxmlformats.org/presentationml/2006/main">
  <p:tag name="SHAPENAME" val="5. Source"/>
</p:tagLst>
</file>

<file path=ppt/tags/tag62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28.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2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3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3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3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3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35.xml><?xml version="1.0" encoding="utf-8"?>
<p:tagLst xmlns:a="http://schemas.openxmlformats.org/drawingml/2006/main" xmlns:r="http://schemas.openxmlformats.org/officeDocument/2006/relationships" xmlns:p="http://schemas.openxmlformats.org/presentationml/2006/main">
  <p:tag name="SHAPENAME" val="5. Source"/>
</p:tagLst>
</file>

<file path=ppt/tags/tag636.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39.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4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4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43.xml><?xml version="1.0" encoding="utf-8"?>
<p:tagLst xmlns:a="http://schemas.openxmlformats.org/drawingml/2006/main" xmlns:r="http://schemas.openxmlformats.org/officeDocument/2006/relationships" xmlns:p="http://schemas.openxmlformats.org/presentationml/2006/main">
  <p:tag name="SHAPENAME" val="5. Source"/>
</p:tagLst>
</file>

<file path=ppt/tags/tag644.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47.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4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4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5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5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52.xml><?xml version="1.0" encoding="utf-8"?>
<p:tagLst xmlns:a="http://schemas.openxmlformats.org/drawingml/2006/main" xmlns:r="http://schemas.openxmlformats.org/officeDocument/2006/relationships" xmlns:p="http://schemas.openxmlformats.org/presentationml/2006/main">
  <p:tag name="SHAPENAME" val="5. Sourc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55.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5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5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5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59.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0.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63.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6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6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6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6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68.xml><?xml version="1.0" encoding="utf-8"?>
<p:tagLst xmlns:a="http://schemas.openxmlformats.org/drawingml/2006/main" xmlns:r="http://schemas.openxmlformats.org/officeDocument/2006/relationships" xmlns:p="http://schemas.openxmlformats.org/presentationml/2006/main">
  <p:tag name="SHAPENAME" val="5. Source"/>
</p:tagLst>
</file>

<file path=ppt/tags/tag66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72.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7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7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7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7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7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78.xml><?xml version="1.0" encoding="utf-8"?>
<p:tagLst xmlns:a="http://schemas.openxmlformats.org/drawingml/2006/main" xmlns:r="http://schemas.openxmlformats.org/officeDocument/2006/relationships" xmlns:p="http://schemas.openxmlformats.org/presentationml/2006/main">
  <p:tag name="SHAPENAME" val="5. Source"/>
</p:tagLst>
</file>

<file path=ppt/tags/tag67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82.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8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8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8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8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8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88.xml><?xml version="1.0" encoding="utf-8"?>
<p:tagLst xmlns:a="http://schemas.openxmlformats.org/drawingml/2006/main" xmlns:r="http://schemas.openxmlformats.org/officeDocument/2006/relationships" xmlns:p="http://schemas.openxmlformats.org/presentationml/2006/main">
  <p:tag name="SHAPENAME" val="5. Source"/>
</p:tagLst>
</file>

<file path=ppt/tags/tag68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9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92.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695.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69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9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9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9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01.xml><?xml version="1.0" encoding="utf-8"?>
<p:tagLst xmlns:a="http://schemas.openxmlformats.org/drawingml/2006/main" xmlns:r="http://schemas.openxmlformats.org/officeDocument/2006/relationships" xmlns:p="http://schemas.openxmlformats.org/presentationml/2006/main">
  <p:tag name="SHAPENAME" val="5. Source"/>
</p:tagLst>
</file>

<file path=ppt/tags/tag702.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06.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0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0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0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1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1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12.xml><?xml version="1.0" encoding="utf-8"?>
<p:tagLst xmlns:a="http://schemas.openxmlformats.org/drawingml/2006/main" xmlns:r="http://schemas.openxmlformats.org/officeDocument/2006/relationships" xmlns:p="http://schemas.openxmlformats.org/presentationml/2006/main">
  <p:tag name="SHAPENAME" val="5. Source"/>
</p:tagLst>
</file>

<file path=ppt/tags/tag713.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1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15.xml><?xml version="1.0" encoding="utf-8"?>
<p:tagLst xmlns:a="http://schemas.openxmlformats.org/drawingml/2006/main" xmlns:r="http://schemas.openxmlformats.org/officeDocument/2006/relationships" xmlns:p="http://schemas.openxmlformats.org/presentationml/2006/main">
  <p:tag name="SHAPENAME" val="4. Footno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18.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1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2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22.xml><?xml version="1.0" encoding="utf-8"?>
<p:tagLst xmlns:a="http://schemas.openxmlformats.org/drawingml/2006/main" xmlns:r="http://schemas.openxmlformats.org/officeDocument/2006/relationships" xmlns:p="http://schemas.openxmlformats.org/presentationml/2006/main">
  <p:tag name="SHAPENAME" val="5. Source"/>
</p:tagLst>
</file>

<file path=ppt/tags/tag723.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26.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2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2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2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0.xml><?xml version="1.0" encoding="utf-8"?>
<p:tagLst xmlns:a="http://schemas.openxmlformats.org/drawingml/2006/main" xmlns:r="http://schemas.openxmlformats.org/officeDocument/2006/relationships" xmlns:p="http://schemas.openxmlformats.org/presentationml/2006/main">
  <p:tag name="SHAPENAME" val="5. Source"/>
</p:tagLst>
</file>

<file path=ppt/tags/tag73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34.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3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3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3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38.xml><?xml version="1.0" encoding="utf-8"?>
<p:tagLst xmlns:a="http://schemas.openxmlformats.org/drawingml/2006/main" xmlns:r="http://schemas.openxmlformats.org/officeDocument/2006/relationships" xmlns:p="http://schemas.openxmlformats.org/presentationml/2006/main">
  <p:tag name="SHAPENAME" val="5. Source"/>
</p:tagLst>
</file>

<file path=ppt/tags/tag73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NAME" val="4. Footno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43.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4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4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4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47.xml><?xml version="1.0" encoding="utf-8"?>
<p:tagLst xmlns:a="http://schemas.openxmlformats.org/drawingml/2006/main" xmlns:r="http://schemas.openxmlformats.org/officeDocument/2006/relationships" xmlns:p="http://schemas.openxmlformats.org/presentationml/2006/main">
  <p:tag name="SHAPENAME" val="5. Source"/>
</p:tagLst>
</file>

<file path=ppt/tags/tag748.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49.xml><?xml version="1.0" encoding="utf-8"?>
<p:tagLst xmlns:a="http://schemas.openxmlformats.org/drawingml/2006/main" xmlns:r="http://schemas.openxmlformats.org/officeDocument/2006/relationships" xmlns:p="http://schemas.openxmlformats.org/presentationml/2006/main">
  <p:tag name="NAME" val="4. Footnote"/>
</p:tagLst>
</file>

<file path=ppt/tags/tag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52.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5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5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55.xml><?xml version="1.0" encoding="utf-8"?>
<p:tagLst xmlns:a="http://schemas.openxmlformats.org/drawingml/2006/main" xmlns:r="http://schemas.openxmlformats.org/officeDocument/2006/relationships" xmlns:p="http://schemas.openxmlformats.org/presentationml/2006/main">
  <p:tag name="SHAPENAME" val="5. Source"/>
</p:tagLst>
</file>

<file path=ppt/tags/tag756.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57.xml><?xml version="1.0" encoding="utf-8"?>
<p:tagLst xmlns:a="http://schemas.openxmlformats.org/drawingml/2006/main" xmlns:r="http://schemas.openxmlformats.org/officeDocument/2006/relationships" xmlns:p="http://schemas.openxmlformats.org/presentationml/2006/main">
  <p:tag name="NAME" val="4. Footno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6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6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6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64.xml><?xml version="1.0" encoding="utf-8"?>
<p:tagLst xmlns:a="http://schemas.openxmlformats.org/drawingml/2006/main" xmlns:r="http://schemas.openxmlformats.org/officeDocument/2006/relationships" xmlns:p="http://schemas.openxmlformats.org/presentationml/2006/main">
  <p:tag name="SHAPENAME" val="5. Source"/>
</p:tagLst>
</file>

<file path=ppt/tags/tag765.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68.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6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71.xml><?xml version="1.0" encoding="utf-8"?>
<p:tagLst xmlns:a="http://schemas.openxmlformats.org/drawingml/2006/main" xmlns:r="http://schemas.openxmlformats.org/officeDocument/2006/relationships" xmlns:p="http://schemas.openxmlformats.org/presentationml/2006/main">
  <p:tag name="SHAPENAME" val="5. Source"/>
</p:tagLst>
</file>

<file path=ppt/tags/tag772.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75.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7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7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78.xml><?xml version="1.0" encoding="utf-8"?>
<p:tagLst xmlns:a="http://schemas.openxmlformats.org/drawingml/2006/main" xmlns:r="http://schemas.openxmlformats.org/officeDocument/2006/relationships" xmlns:p="http://schemas.openxmlformats.org/presentationml/2006/main">
  <p:tag name="SHAPENAME" val="5. Source"/>
</p:tagLst>
</file>

<file path=ppt/tags/tag77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82.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8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8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8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86.xml><?xml version="1.0" encoding="utf-8"?>
<p:tagLst xmlns:a="http://schemas.openxmlformats.org/drawingml/2006/main" xmlns:r="http://schemas.openxmlformats.org/officeDocument/2006/relationships" xmlns:p="http://schemas.openxmlformats.org/presentationml/2006/main">
  <p:tag name="SHAPENAME" val="5. Source"/>
</p:tagLst>
</file>

<file path=ppt/tags/tag787.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0.xml><?xml version="1.0" encoding="utf-8"?>
<p:tagLst xmlns:a="http://schemas.openxmlformats.org/drawingml/2006/main" xmlns:r="http://schemas.openxmlformats.org/officeDocument/2006/relationships" xmlns:p="http://schemas.openxmlformats.org/presentationml/2006/main">
  <p:tag name="MTTABLE" val="HTitleDiv"/>
  <p:tag name="MTNUMBER" val="0.604248695822548"/>
</p:tagLst>
</file>

<file path=ppt/tags/tag79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9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93.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9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795.xml><?xml version="1.0" encoding="utf-8"?>
<p:tagLst xmlns:a="http://schemas.openxmlformats.org/drawingml/2006/main" xmlns:r="http://schemas.openxmlformats.org/officeDocument/2006/relationships" xmlns:p="http://schemas.openxmlformats.org/presentationml/2006/main">
  <p:tag name="SHAPENAME" val="5. Source"/>
</p:tagLst>
</file>

<file path=ppt/tags/tag796.xml><?xml version="1.0" encoding="utf-8"?>
<p:tagLst xmlns:a="http://schemas.openxmlformats.org/drawingml/2006/main" xmlns:r="http://schemas.openxmlformats.org/officeDocument/2006/relationships" xmlns:p="http://schemas.openxmlformats.org/presentationml/2006/main">
  <p:tag name="MTTABLE" val="Cell"/>
  <p:tag name="MTNUMBER" val="0.604248695822548"/>
  <p:tag name="LEFT" val="45"/>
  <p:tag name="WIDTH" val="202.5"/>
  <p:tag name="HEIGHT" val="19.38748"/>
  <p:tag name="TOP" val="110"/>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xml><?xml version="1.0" encoding="utf-8"?>
<p:tagLst xmlns:a="http://schemas.openxmlformats.org/drawingml/2006/main" xmlns:r="http://schemas.openxmlformats.org/officeDocument/2006/relationships" xmlns:p="http://schemas.openxmlformats.org/presentationml/2006/main">
  <p:tag name="SHAPENAME" val="4. Footnote"/>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5. Sourc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R_Slide Design_additional">
  <a:themeElements>
    <a:clrScheme name="Custom 24">
      <a:dk1>
        <a:srgbClr val="000000"/>
      </a:dk1>
      <a:lt1>
        <a:srgbClr val="FFFFFF"/>
      </a:lt1>
      <a:dk2>
        <a:srgbClr val="535659"/>
      </a:dk2>
      <a:lt2>
        <a:srgbClr val="E7E6E6"/>
      </a:lt2>
      <a:accent1>
        <a:srgbClr val="009A44"/>
      </a:accent1>
      <a:accent2>
        <a:srgbClr val="007CB0"/>
      </a:accent2>
      <a:accent3>
        <a:srgbClr val="00ABAB"/>
      </a:accent3>
      <a:accent4>
        <a:srgbClr val="FF0000"/>
      </a:accent4>
      <a:accent5>
        <a:srgbClr val="FFC000"/>
      </a:accent5>
      <a:accent6>
        <a:srgbClr val="86BC24"/>
      </a:accent6>
      <a:hlink>
        <a:srgbClr val="000000"/>
      </a:hlink>
      <a:folHlink>
        <a:srgbClr val="53565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PR_Slide Design">
  <a:themeElements>
    <a:clrScheme name="Scheme1">
      <a:dk1>
        <a:srgbClr val="000000"/>
      </a:dk1>
      <a:lt1>
        <a:srgbClr val="FFFFFF"/>
      </a:lt1>
      <a:dk2>
        <a:srgbClr val="44546A"/>
      </a:dk2>
      <a:lt2>
        <a:srgbClr val="E7E6E6"/>
      </a:lt2>
      <a:accent1>
        <a:srgbClr val="00BFD5"/>
      </a:accent1>
      <a:accent2>
        <a:srgbClr val="009FE3"/>
      </a:accent2>
      <a:accent3>
        <a:srgbClr val="51AE32"/>
      </a:accent3>
      <a:accent4>
        <a:srgbClr val="007CB0"/>
      </a:accent4>
      <a:accent5>
        <a:srgbClr val="C6C6C6"/>
      </a:accent5>
      <a:accent6>
        <a:srgbClr val="D0495F"/>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44546A"/>
        </a:dk2>
        <a:lt2>
          <a:srgbClr val="E7E6E6"/>
        </a:lt2>
        <a:accent1>
          <a:srgbClr val="00BFD5"/>
        </a:accent1>
        <a:accent2>
          <a:srgbClr val="009FE3"/>
        </a:accent2>
        <a:accent3>
          <a:srgbClr val="51AE32"/>
        </a:accent3>
        <a:accent4>
          <a:srgbClr val="007CB0"/>
        </a:accent4>
        <a:accent5>
          <a:srgbClr val="C6C6C6"/>
        </a:accent5>
        <a:accent6>
          <a:srgbClr val="D0495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LO7074_CF_16x9_ENG_V1.potx" id="{51744F2F-ADD4-4788-92AA-FC0DF7ACA3B7}" vid="{9FD5B075-A300-41BB-8406-F10B2942517C}"/>
    </a:ext>
  </a:extLst>
</a:theme>
</file>

<file path=ppt/theme/theme3.xml><?xml version="1.0" encoding="utf-8"?>
<a:theme xmlns:a="http://schemas.openxmlformats.org/drawingml/2006/main" name="4_Contrast">
  <a:themeElements>
    <a:clrScheme name="Scheme2">
      <a:dk1>
        <a:srgbClr val="FFFFFF"/>
      </a:dk1>
      <a:lt1>
        <a:srgbClr val="007CB0"/>
      </a:lt1>
      <a:dk2>
        <a:srgbClr val="000000"/>
      </a:dk2>
      <a:lt2>
        <a:srgbClr val="000000"/>
      </a:lt2>
      <a:accent1>
        <a:srgbClr val="FFFFFF"/>
      </a:accent1>
      <a:accent2>
        <a:srgbClr val="00BFD5"/>
      </a:accent2>
      <a:accent3>
        <a:srgbClr val="009FE3"/>
      </a:accent3>
      <a:accent4>
        <a:srgbClr val="51AE32"/>
      </a:accent4>
      <a:accent5>
        <a:srgbClr val="C6C6C6"/>
      </a:accent5>
      <a:accent6>
        <a:srgbClr val="D0495F"/>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7CB0"/>
        </a:lt1>
        <a:dk2>
          <a:srgbClr val="000000"/>
        </a:dk2>
        <a:lt2>
          <a:srgbClr val="000000"/>
        </a:lt2>
        <a:accent1>
          <a:srgbClr val="FFFFFF"/>
        </a:accent1>
        <a:accent2>
          <a:srgbClr val="00BFD5"/>
        </a:accent2>
        <a:accent3>
          <a:srgbClr val="009FE3"/>
        </a:accent3>
        <a:accent4>
          <a:srgbClr val="51AE32"/>
        </a:accent4>
        <a:accent5>
          <a:srgbClr val="C6C6C6"/>
        </a:accent5>
        <a:accent6>
          <a:srgbClr val="D0495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44546A"/>
    </a:custClr>
  </a:custClrLst>
  <a:extLst>
    <a:ext uri="{05A4C25C-085E-4340-85A3-A5531E510DB2}">
      <thm15:themeFamily xmlns:thm15="http://schemas.microsoft.com/office/thememl/2012/main" name="230524_master_v1.potx" id="{0A516CF0-616A-4BB8-B00C-67CDDFC11511}" vid="{A15CCFB6-BE69-4B68-8498-349ECF1E7556}"/>
    </a:ext>
  </a:extLst>
</a:theme>
</file>

<file path=ppt/theme/theme4.xml><?xml version="1.0" encoding="utf-8"?>
<a:theme xmlns:a="http://schemas.openxmlformats.org/drawingml/2006/main" name="1_IPR_Slide Design_additional">
  <a:themeElements>
    <a:clrScheme name="Custom 24">
      <a:dk1>
        <a:srgbClr val="000000"/>
      </a:dk1>
      <a:lt1>
        <a:srgbClr val="FFFFFF"/>
      </a:lt1>
      <a:dk2>
        <a:srgbClr val="535659"/>
      </a:dk2>
      <a:lt2>
        <a:srgbClr val="E7E6E6"/>
      </a:lt2>
      <a:accent1>
        <a:srgbClr val="009A44"/>
      </a:accent1>
      <a:accent2>
        <a:srgbClr val="007CB0"/>
      </a:accent2>
      <a:accent3>
        <a:srgbClr val="00ABAB"/>
      </a:accent3>
      <a:accent4>
        <a:srgbClr val="FF0000"/>
      </a:accent4>
      <a:accent5>
        <a:srgbClr val="FFC000"/>
      </a:accent5>
      <a:accent6>
        <a:srgbClr val="86BC24"/>
      </a:accent6>
      <a:hlink>
        <a:srgbClr val="000000"/>
      </a:hlink>
      <a:folHlink>
        <a:srgbClr val="53565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IPR_Slide Design">
  <a:themeElements>
    <a:clrScheme name="Scheme1">
      <a:dk1>
        <a:srgbClr val="000000"/>
      </a:dk1>
      <a:lt1>
        <a:srgbClr val="FFFFFF"/>
      </a:lt1>
      <a:dk2>
        <a:srgbClr val="44546A"/>
      </a:dk2>
      <a:lt2>
        <a:srgbClr val="E7E6E6"/>
      </a:lt2>
      <a:accent1>
        <a:srgbClr val="00BFD5"/>
      </a:accent1>
      <a:accent2>
        <a:srgbClr val="009FE3"/>
      </a:accent2>
      <a:accent3>
        <a:srgbClr val="51AE32"/>
      </a:accent3>
      <a:accent4>
        <a:srgbClr val="007CB0"/>
      </a:accent4>
      <a:accent5>
        <a:srgbClr val="C6C6C6"/>
      </a:accent5>
      <a:accent6>
        <a:srgbClr val="D0495F"/>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44546A"/>
        </a:dk2>
        <a:lt2>
          <a:srgbClr val="E7E6E6"/>
        </a:lt2>
        <a:accent1>
          <a:srgbClr val="00BFD5"/>
        </a:accent1>
        <a:accent2>
          <a:srgbClr val="009FE3"/>
        </a:accent2>
        <a:accent3>
          <a:srgbClr val="51AE32"/>
        </a:accent3>
        <a:accent4>
          <a:srgbClr val="007CB0"/>
        </a:accent4>
        <a:accent5>
          <a:srgbClr val="C6C6C6"/>
        </a:accent5>
        <a:accent6>
          <a:srgbClr val="D0495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LO7074_CF_16x9_ENG_V1.potx" id="{51744F2F-ADD4-4788-92AA-FC0DF7ACA3B7}" vid="{9FD5B075-A300-41BB-8406-F10B2942517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3f11bfb-e5c1-4b0f-b6d6-1a4015773252">
      <UserInfo>
        <DisplayName>Nordmeyer, Magdalena</DisplayName>
        <AccountId>36</AccountId>
        <AccountType/>
      </UserInfo>
      <UserInfo>
        <DisplayName>Roettmer, Nicole</DisplayName>
        <AccountId>14</AccountId>
        <AccountType/>
      </UserInfo>
      <UserInfo>
        <DisplayName>Denfeld, Paul Justus</DisplayName>
        <AccountId>21</AccountId>
        <AccountType/>
      </UserInfo>
      <UserInfo>
        <DisplayName>Hermeyer, Arthur</DisplayName>
        <AccountId>9</AccountId>
        <AccountType/>
      </UserInfo>
      <UserInfo>
        <DisplayName>Asam, Jolina Katharina</DisplayName>
        <AccountId>26</AccountId>
        <AccountType/>
      </UserInfo>
      <UserInfo>
        <DisplayName>Wille, Jacqueline</DisplayName>
        <AccountId>30</AccountId>
        <AccountType/>
      </UserInfo>
    </SharedWithUsers>
    <lcf76f155ced4ddcb4097134ff3c332f xmlns="571f169c-ede4-4664-a454-d8475c23b773">
      <Terms xmlns="http://schemas.microsoft.com/office/infopath/2007/PartnerControls"/>
    </lcf76f155ced4ddcb4097134ff3c332f>
    <TaxCatchAll xmlns="b3f11bfb-e5c1-4b0f-b6d6-1a401577325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637303CF69B264CAB10C720F9916CB6" ma:contentTypeVersion="13" ma:contentTypeDescription="Create a new document." ma:contentTypeScope="" ma:versionID="310b6c4293ee6847932f095c82c52c73">
  <xsd:schema xmlns:xsd="http://www.w3.org/2001/XMLSchema" xmlns:xs="http://www.w3.org/2001/XMLSchema" xmlns:p="http://schemas.microsoft.com/office/2006/metadata/properties" xmlns:ns2="571f169c-ede4-4664-a454-d8475c23b773" xmlns:ns3="b3f11bfb-e5c1-4b0f-b6d6-1a4015773252" targetNamespace="http://schemas.microsoft.com/office/2006/metadata/properties" ma:root="true" ma:fieldsID="9ae3a92c1198dd708c2e28c246d7de77" ns2:_="" ns3:_="">
    <xsd:import namespace="571f169c-ede4-4664-a454-d8475c23b773"/>
    <xsd:import namespace="b3f11bfb-e5c1-4b0f-b6d6-1a401577325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1f169c-ede4-4664-a454-d8475c23b7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f11bfb-e5c1-4b0f-b6d6-1a401577325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527a136e-70dc-4c08-ab3e-98e1663f2f3e}" ma:internalName="TaxCatchAll" ma:showField="CatchAllData" ma:web="b3f11bfb-e5c1-4b0f-b6d6-1a401577325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3CCC946-1D67-45B3-835D-53250A7443B6}">
  <ds:schemaRefs>
    <ds:schemaRef ds:uri="http://schemas.microsoft.com/sharepoint/v3/contenttype/forms"/>
  </ds:schemaRefs>
</ds:datastoreItem>
</file>

<file path=customXml/itemProps2.xml><?xml version="1.0" encoding="utf-8"?>
<ds:datastoreItem xmlns:ds="http://schemas.openxmlformats.org/officeDocument/2006/customXml" ds:itemID="{D12A7F36-92C3-4056-B5E4-A025C9C1F4A5}">
  <ds:schemaRefs>
    <ds:schemaRef ds:uri="http://schemas.openxmlformats.org/package/2006/metadata/core-properties"/>
    <ds:schemaRef ds:uri="b3f11bfb-e5c1-4b0f-b6d6-1a4015773252"/>
    <ds:schemaRef ds:uri="http://purl.org/dc/elements/1.1/"/>
    <ds:schemaRef ds:uri="http://www.w3.org/XML/1998/namespace"/>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571f169c-ede4-4664-a454-d8475c23b773"/>
  </ds:schemaRefs>
</ds:datastoreItem>
</file>

<file path=customXml/itemProps3.xml><?xml version="1.0" encoding="utf-8"?>
<ds:datastoreItem xmlns:ds="http://schemas.openxmlformats.org/officeDocument/2006/customXml" ds:itemID="{AA035AEA-F549-442F-950C-30A904679D04}">
  <ds:schemaRefs>
    <ds:schemaRef ds:uri="571f169c-ede4-4664-a454-d8475c23b773"/>
    <ds:schemaRef ds:uri="b3f11bfb-e5c1-4b0f-b6d6-1a40157732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otalTime>0</TotalTime>
  <Words>18717</Words>
  <Application>Microsoft Office PowerPoint</Application>
  <PresentationFormat>Widescreen</PresentationFormat>
  <Paragraphs>725</Paragraphs>
  <Slides>46</Slides>
  <Notes>4</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46</vt:i4>
      </vt:variant>
    </vt:vector>
  </HeadingPairs>
  <TitlesOfParts>
    <vt:vector size="58" baseType="lpstr">
      <vt:lpstr>Arial</vt:lpstr>
      <vt:lpstr>Calibri</vt:lpstr>
      <vt:lpstr>Calibri Light</vt:lpstr>
      <vt:lpstr>Segoe UI</vt:lpstr>
      <vt:lpstr>Slack-Lato</vt:lpstr>
      <vt:lpstr>Wingdings</vt:lpstr>
      <vt:lpstr>IPR_Slide Design_additional</vt:lpstr>
      <vt:lpstr>IPR_Slide Design</vt:lpstr>
      <vt:lpstr>4_Contrast</vt:lpstr>
      <vt:lpstr>1_IPR_Slide Design_additional</vt:lpstr>
      <vt:lpstr>1_IPR_Slide Design</vt:lpstr>
      <vt:lpstr>think-cell Slide</vt:lpstr>
      <vt:lpstr>PowerPoint Presentation</vt:lpstr>
      <vt:lpstr>Net Zero targets: Policy evidence base</vt:lpstr>
      <vt:lpstr>Net Zero Targets: Policy evidence base</vt:lpstr>
      <vt:lpstr>Net Zero Targets: Policy evidence base</vt:lpstr>
      <vt:lpstr>Carbon pricing: Policy evidence base</vt:lpstr>
      <vt:lpstr>Carbon pricing: Policy evidence base</vt:lpstr>
      <vt:lpstr>Carbon pricing: Policy evidence base</vt:lpstr>
      <vt:lpstr>All coal phase-out: Policy evidence base</vt:lpstr>
      <vt:lpstr>All coal phase-out: Policy evidence base</vt:lpstr>
      <vt:lpstr>All coal phase-out: Policy evidence base</vt:lpstr>
      <vt:lpstr>clean power: Policy evidence base</vt:lpstr>
      <vt:lpstr>clean power: Policy evidence base</vt:lpstr>
      <vt:lpstr>clean power: Policy evidence base</vt:lpstr>
      <vt:lpstr>Light-duty vehicle 100% ZEV sales: Policy evidence base</vt:lpstr>
      <vt:lpstr>Light-duty vehicle 100% ZEV sales: Policy evidence base</vt:lpstr>
      <vt:lpstr>Light-duty vehicle 100% ZEV sales: Policy evidence base</vt:lpstr>
      <vt:lpstr>Phase out of heavy-duty CO2 vehicles: Policy evidence base</vt:lpstr>
      <vt:lpstr>Phase out of heavy-duty CO2 vehicles: Policy evidence base</vt:lpstr>
      <vt:lpstr>Phase out of heavy-duty CO2 vehicles: Policy evidence base</vt:lpstr>
      <vt:lpstr>Phase out of fossil fuel heating: Policy evidence base</vt:lpstr>
      <vt:lpstr>Phase out of fossil fuel heating: Policy evidence base</vt:lpstr>
      <vt:lpstr>Phase out of fossil fuel heating: Policy evidence base</vt:lpstr>
      <vt:lpstr>Industry emissions reduction: Policy evidence base</vt:lpstr>
      <vt:lpstr>Industry emissions reduction: Policy evidence base</vt:lpstr>
      <vt:lpstr>Industry emissions reduction: Policy evidence base</vt:lpstr>
      <vt:lpstr>Industry emissions reduction: Policy evidence base</vt:lpstr>
      <vt:lpstr>Low-carbon agriculture: Policy evidence base</vt:lpstr>
      <vt:lpstr>Low-carbon agriculture: Policy evidence base</vt:lpstr>
      <vt:lpstr>Low-carbon agriculture: Policy evidence base</vt:lpstr>
      <vt:lpstr>Low-carbon agriculture: Policy evidence base</vt:lpstr>
      <vt:lpstr>Net deforestation1: Policy evidence base</vt:lpstr>
      <vt:lpstr>Net deforestation1: Policy evidence base</vt:lpstr>
      <vt:lpstr>Net deforestation1: Policy evidence base</vt:lpstr>
      <vt:lpstr>Land Protection: Policy evidence base</vt:lpstr>
      <vt:lpstr>Land Protection: Policy evidence base</vt:lpstr>
      <vt:lpstr>Land Protection: Policy evidence base</vt:lpstr>
      <vt:lpstr>Land Protection: Policy evidence base</vt:lpstr>
      <vt:lpstr>Land Protection: Policy evidence base</vt:lpstr>
      <vt:lpstr>Nature incentives: Policy evidence base</vt:lpstr>
      <vt:lpstr>Nature incentives: Policy evidence base</vt:lpstr>
      <vt:lpstr>Nature incentives: Policy evidence base</vt:lpstr>
      <vt:lpstr>Nature incentives: Policy evidence base</vt:lpstr>
      <vt:lpstr>Nature incentives: Policy evidence base</vt:lpstr>
      <vt:lpstr>Disclaimer</vt:lpstr>
      <vt:lpstr>IPR Contac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 breakdown of IPR QFT Slides</dc:title>
  <dc:creator>Hermeyer, Arthur</dc:creator>
  <cp:lastModifiedBy>Sönke Weirich</cp:lastModifiedBy>
  <cp:revision>4</cp:revision>
  <dcterms:created xsi:type="dcterms:W3CDTF">2024-01-25T08:57:21Z</dcterms:created>
  <dcterms:modified xsi:type="dcterms:W3CDTF">2025-04-23T12:0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1-25T11:55: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0186b9f-9b6b-4ffb-babc-d9d80e89607e</vt:lpwstr>
  </property>
  <property fmtid="{D5CDD505-2E9C-101B-9397-08002B2CF9AE}" pid="8" name="MSIP_Label_ea60d57e-af5b-4752-ac57-3e4f28ca11dc_ContentBits">
    <vt:lpwstr>0</vt:lpwstr>
  </property>
  <property fmtid="{D5CDD505-2E9C-101B-9397-08002B2CF9AE}" pid="9" name="ContentTypeId">
    <vt:lpwstr>0x0101007637303CF69B264CAB10C720F9916CB6</vt:lpwstr>
  </property>
  <property fmtid="{D5CDD505-2E9C-101B-9397-08002B2CF9AE}" pid="10" name="MediaServiceImageTags">
    <vt:lpwstr/>
  </property>
</Properties>
</file>